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1"/>
  </p:notesMasterIdLst>
  <p:handoutMasterIdLst>
    <p:handoutMasterId r:id="rId22"/>
  </p:handoutMasterIdLst>
  <p:sldIdLst>
    <p:sldId id="272" r:id="rId2"/>
    <p:sldId id="273" r:id="rId3"/>
    <p:sldId id="269" r:id="rId4"/>
    <p:sldId id="258" r:id="rId5"/>
    <p:sldId id="270" r:id="rId6"/>
    <p:sldId id="274" r:id="rId7"/>
    <p:sldId id="275" r:id="rId8"/>
    <p:sldId id="276" r:id="rId9"/>
    <p:sldId id="281" r:id="rId10"/>
    <p:sldId id="283" r:id="rId11"/>
    <p:sldId id="284" r:id="rId12"/>
    <p:sldId id="277" r:id="rId13"/>
    <p:sldId id="285" r:id="rId14"/>
    <p:sldId id="286" r:id="rId15"/>
    <p:sldId id="287" r:id="rId16"/>
    <p:sldId id="288" r:id="rId17"/>
    <p:sldId id="289" r:id="rId18"/>
    <p:sldId id="290" r:id="rId19"/>
    <p:sldId id="261" r:id="rId20"/>
  </p:sldIdLst>
  <p:sldSz cx="12192000" cy="6858000"/>
  <p:notesSz cx="7104063" cy="10234613"/>
  <p:custDataLst>
    <p:tags r:id="rId2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583D"/>
    <a:srgbClr val="307A97"/>
    <a:srgbClr val="2C706F"/>
    <a:srgbClr val="EBCE60"/>
    <a:srgbClr val="FBE673"/>
    <a:srgbClr val="D38A07"/>
    <a:srgbClr val="704E24"/>
    <a:srgbClr val="D12026"/>
    <a:srgbClr val="03C159"/>
    <a:srgbClr val="01AF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B42EE0-2BDF-4D65-8B4F-46F8F87F590F}" v="83" dt="2021-03-30T08:36:15.3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72" autoAdjust="0"/>
    <p:restoredTop sz="96182" autoAdjust="0"/>
  </p:normalViewPr>
  <p:slideViewPr>
    <p:cSldViewPr snapToGrid="0">
      <p:cViewPr varScale="1">
        <p:scale>
          <a:sx n="85" d="100"/>
          <a:sy n="85" d="100"/>
        </p:scale>
        <p:origin x="398" y="67"/>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3078427" cy="513508"/>
          </a:xfrm>
          <a:prstGeom prst="rect">
            <a:avLst/>
          </a:prstGeom>
        </p:spPr>
        <p:txBody>
          <a:bodyPr vert="horz" lIns="99048" tIns="49524" rIns="99048" bIns="49524" rtlCol="0"/>
          <a:lstStyle>
            <a:lvl1pPr algn="l">
              <a:defRPr sz="13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4023992" y="0"/>
            <a:ext cx="3078427" cy="513508"/>
          </a:xfrm>
          <a:prstGeom prst="rect">
            <a:avLst/>
          </a:prstGeom>
        </p:spPr>
        <p:txBody>
          <a:bodyPr vert="horz" lIns="99048" tIns="49524" rIns="99048" bIns="49524" rtlCol="0"/>
          <a:lstStyle>
            <a:lvl1pPr algn="r">
              <a:defRPr sz="1300"/>
            </a:lvl1pPr>
          </a:lstStyle>
          <a:p>
            <a:fld id="{B478E0E4-DC06-4041-AFA7-BB6F527FFA3F}" type="datetimeFigureOut">
              <a:rPr lang="zh-CN" altLang="en-US" smtClean="0"/>
              <a:t>2021/4/6</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9721108"/>
            <a:ext cx="3078427" cy="513507"/>
          </a:xfrm>
          <a:prstGeom prst="rect">
            <a:avLst/>
          </a:prstGeom>
        </p:spPr>
        <p:txBody>
          <a:bodyPr vert="horz" lIns="99048" tIns="49524" rIns="99048" bIns="49524" rtlCol="0" anchor="b"/>
          <a:lstStyle>
            <a:lvl1pPr algn="l">
              <a:defRPr sz="13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4023992" y="9721108"/>
            <a:ext cx="3078427" cy="513507"/>
          </a:xfrm>
          <a:prstGeom prst="rect">
            <a:avLst/>
          </a:prstGeom>
        </p:spPr>
        <p:txBody>
          <a:bodyPr vert="horz" lIns="99048" tIns="49524" rIns="99048" bIns="49524" rtlCol="0" anchor="b"/>
          <a:lstStyle>
            <a:lvl1pPr algn="r">
              <a:defRPr sz="13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427" cy="513508"/>
          </a:xfrm>
          <a:prstGeom prst="rect">
            <a:avLst/>
          </a:prstGeom>
        </p:spPr>
        <p:txBody>
          <a:bodyPr vert="horz" lIns="99048" tIns="49524" rIns="99048" bIns="49524" rtlCol="0"/>
          <a:lstStyle>
            <a:lvl1pPr algn="l">
              <a:defRPr sz="1300"/>
            </a:lvl1pPr>
          </a:lstStyle>
          <a:p>
            <a:endParaRPr lang="zh-CN" altLang="en-US"/>
          </a:p>
        </p:txBody>
      </p:sp>
      <p:sp>
        <p:nvSpPr>
          <p:cNvPr id="3" name="日期占位符 2"/>
          <p:cNvSpPr>
            <a:spLocks noGrp="1"/>
          </p:cNvSpPr>
          <p:nvPr>
            <p:ph type="dt" idx="1"/>
          </p:nvPr>
        </p:nvSpPr>
        <p:spPr>
          <a:xfrm>
            <a:off x="4023992" y="0"/>
            <a:ext cx="3078427" cy="513508"/>
          </a:xfrm>
          <a:prstGeom prst="rect">
            <a:avLst/>
          </a:prstGeom>
        </p:spPr>
        <p:txBody>
          <a:bodyPr vert="horz" lIns="99048" tIns="49524" rIns="99048" bIns="49524" rtlCol="0"/>
          <a:lstStyle>
            <a:lvl1pPr algn="r">
              <a:defRPr sz="1300"/>
            </a:lvl1pPr>
          </a:lstStyle>
          <a:p>
            <a:fld id="{E86D8963-CFCD-4740-AF60-049850373CDF}" type="datetimeFigureOut">
              <a:rPr lang="zh-CN" altLang="en-US" smtClean="0"/>
              <a:t>2021/4/6</a:t>
            </a:fld>
            <a:endParaRPr lang="zh-CN" altLang="en-US"/>
          </a:p>
        </p:txBody>
      </p:sp>
      <p:sp>
        <p:nvSpPr>
          <p:cNvPr id="4" name="幻灯片图像占位符 3"/>
          <p:cNvSpPr>
            <a:spLocks noGrp="1" noRot="1" noChangeAspect="1"/>
          </p:cNvSpPr>
          <p:nvPr>
            <p:ph type="sldImg" idx="2"/>
          </p:nvPr>
        </p:nvSpPr>
        <p:spPr>
          <a:xfrm>
            <a:off x="481013" y="1279525"/>
            <a:ext cx="6142037" cy="3454400"/>
          </a:xfrm>
          <a:prstGeom prst="rect">
            <a:avLst/>
          </a:prstGeom>
          <a:noFill/>
          <a:ln w="12700">
            <a:solidFill>
              <a:prstClr val="black"/>
            </a:solidFill>
          </a:ln>
        </p:spPr>
        <p:txBody>
          <a:bodyPr vert="horz" lIns="99048" tIns="49524" rIns="99048" bIns="49524" rtlCol="0" anchor="ctr"/>
          <a:lstStyle/>
          <a:p>
            <a:endParaRPr lang="zh-CN" altLang="en-US"/>
          </a:p>
        </p:txBody>
      </p:sp>
      <p:sp>
        <p:nvSpPr>
          <p:cNvPr id="5" name="备注占位符 4"/>
          <p:cNvSpPr>
            <a:spLocks noGrp="1"/>
          </p:cNvSpPr>
          <p:nvPr>
            <p:ph type="body" sz="quarter" idx="3"/>
          </p:nvPr>
        </p:nvSpPr>
        <p:spPr>
          <a:xfrm>
            <a:off x="710407" y="4925408"/>
            <a:ext cx="5683250" cy="4029879"/>
          </a:xfrm>
          <a:prstGeom prst="rect">
            <a:avLst/>
          </a:prstGeom>
        </p:spPr>
        <p:txBody>
          <a:bodyPr vert="horz" lIns="99048" tIns="49524" rIns="99048" bIns="49524"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1108"/>
            <a:ext cx="3078427" cy="513507"/>
          </a:xfrm>
          <a:prstGeom prst="rect">
            <a:avLst/>
          </a:prstGeom>
        </p:spPr>
        <p:txBody>
          <a:bodyPr vert="horz" lIns="99048" tIns="49524" rIns="99048" bIns="49524"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4023992" y="9721108"/>
            <a:ext cx="3078427" cy="513507"/>
          </a:xfrm>
          <a:prstGeom prst="rect">
            <a:avLst/>
          </a:prstGeom>
        </p:spPr>
        <p:txBody>
          <a:bodyPr vert="horz" lIns="99048" tIns="49524" rIns="99048" bIns="49524" rtlCol="0" anchor="b"/>
          <a:lstStyle>
            <a:lvl1pPr algn="r">
              <a:defRPr sz="13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EA4FA9CC-5ECE-40CD-9487-E4E46BE59DB1}"/>
              </a:ext>
            </a:extLst>
          </p:cNvPr>
          <p:cNvPicPr>
            <a:picLocks noChangeAspect="1"/>
          </p:cNvPicPr>
          <p:nvPr userDrawn="1"/>
        </p:nvPicPr>
        <p:blipFill>
          <a:blip r:embed="rId2"/>
          <a:stretch>
            <a:fillRect/>
          </a:stretch>
        </p:blipFill>
        <p:spPr>
          <a:xfrm>
            <a:off x="1911" y="2216"/>
            <a:ext cx="12190090" cy="6856925"/>
          </a:xfrm>
          <a:prstGeom prst="rect">
            <a:avLst/>
          </a:prstGeom>
        </p:spPr>
      </p:pic>
      <p:sp>
        <p:nvSpPr>
          <p:cNvPr id="4" name="文本占位符 3">
            <a:extLst>
              <a:ext uri="{FF2B5EF4-FFF2-40B4-BE49-F238E27FC236}">
                <a16:creationId xmlns:a16="http://schemas.microsoft.com/office/drawing/2014/main" id="{F1BECD76-B51F-4D6A-9702-4C00A15FA07B}"/>
              </a:ext>
            </a:extLst>
          </p:cNvPr>
          <p:cNvSpPr>
            <a:spLocks noGrp="1"/>
          </p:cNvSpPr>
          <p:nvPr>
            <p:ph type="body" sz="quarter" idx="10" hasCustomPrompt="1"/>
          </p:nvPr>
        </p:nvSpPr>
        <p:spPr>
          <a:xfrm>
            <a:off x="4103370" y="2295524"/>
            <a:ext cx="7438597" cy="1474043"/>
          </a:xfrm>
        </p:spPr>
        <p:txBody>
          <a:bodyPr anchor="b" anchorCtr="0">
            <a:noAutofit/>
          </a:bodyPr>
          <a:lstStyle>
            <a:lvl1pPr marL="0" indent="0" algn="r">
              <a:buNone/>
              <a:defRPr sz="4000"/>
            </a:lvl1pPr>
          </a:lstStyle>
          <a:p>
            <a:pPr lvl="0"/>
            <a:r>
              <a:rPr lang="en-US" altLang="zh-CN" dirty="0"/>
              <a:t>Click to edit Master title style</a:t>
            </a:r>
          </a:p>
        </p:txBody>
      </p:sp>
      <p:sp>
        <p:nvSpPr>
          <p:cNvPr id="5" name="文本占位符 3">
            <a:extLst>
              <a:ext uri="{FF2B5EF4-FFF2-40B4-BE49-F238E27FC236}">
                <a16:creationId xmlns:a16="http://schemas.microsoft.com/office/drawing/2014/main" id="{4999724E-690E-47CA-AE72-73BDB0696814}"/>
              </a:ext>
            </a:extLst>
          </p:cNvPr>
          <p:cNvSpPr>
            <a:spLocks noGrp="1"/>
          </p:cNvSpPr>
          <p:nvPr>
            <p:ph type="body" sz="quarter" idx="11" hasCustomPrompt="1"/>
          </p:nvPr>
        </p:nvSpPr>
        <p:spPr>
          <a:xfrm>
            <a:off x="4103370" y="3895297"/>
            <a:ext cx="7438597" cy="425243"/>
          </a:xfrm>
        </p:spPr>
        <p:txBody>
          <a:bodyPr anchor="b" anchorCtr="0">
            <a:noAutofit/>
          </a:bodyPr>
          <a:lstStyle>
            <a:lvl1pPr marL="0" indent="0" algn="r">
              <a:buNone/>
              <a:defRPr sz="2000"/>
            </a:lvl1pPr>
          </a:lstStyle>
          <a:p>
            <a:pPr lvl="0"/>
            <a:r>
              <a:rPr lang="en-US" altLang="zh-CN" dirty="0"/>
              <a:t>Click to edit Master subtitle style</a:t>
            </a:r>
          </a:p>
        </p:txBody>
      </p:sp>
      <p:sp>
        <p:nvSpPr>
          <p:cNvPr id="6" name="文本占位符 62">
            <a:extLst>
              <a:ext uri="{FF2B5EF4-FFF2-40B4-BE49-F238E27FC236}">
                <a16:creationId xmlns:a16="http://schemas.microsoft.com/office/drawing/2014/main" id="{DA3D233F-EAE9-4775-846D-BF470B37613E}"/>
              </a:ext>
            </a:extLst>
          </p:cNvPr>
          <p:cNvSpPr>
            <a:spLocks noGrp="1"/>
          </p:cNvSpPr>
          <p:nvPr>
            <p:ph type="body" sz="quarter" idx="18" hasCustomPrompt="1"/>
          </p:nvPr>
        </p:nvSpPr>
        <p:spPr>
          <a:xfrm>
            <a:off x="704850" y="5832014"/>
            <a:ext cx="2061210" cy="310871"/>
          </a:xfrm>
        </p:spPr>
        <p:txBody>
          <a:bodyPr vert="horz" lIns="91440" tIns="45720" rIns="91440" bIns="45720" rtlCol="0">
            <a:normAutofit/>
          </a:bodyPr>
          <a:lstStyle>
            <a:lvl1pPr marL="0" indent="0" algn="l">
              <a:buNone/>
              <a:defRPr lang="zh-CN" altLang="en-US" sz="1200" smtClean="0">
                <a:solidFill>
                  <a:schemeClr val="tx1">
                    <a:lumMod val="65000"/>
                    <a:lumOff val="35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Signature</a:t>
            </a:r>
          </a:p>
        </p:txBody>
      </p:sp>
      <p:sp>
        <p:nvSpPr>
          <p:cNvPr id="7" name="文本占位符 13">
            <a:extLst>
              <a:ext uri="{FF2B5EF4-FFF2-40B4-BE49-F238E27FC236}">
                <a16:creationId xmlns:a16="http://schemas.microsoft.com/office/drawing/2014/main" id="{F50E90FD-CCDA-44FD-AC6E-8235F835FF56}"/>
              </a:ext>
            </a:extLst>
          </p:cNvPr>
          <p:cNvSpPr>
            <a:spLocks noGrp="1"/>
          </p:cNvSpPr>
          <p:nvPr>
            <p:ph type="body" sz="quarter" idx="19" hasCustomPrompt="1"/>
          </p:nvPr>
        </p:nvSpPr>
        <p:spPr>
          <a:xfrm>
            <a:off x="8721090" y="5846614"/>
            <a:ext cx="2747010" cy="296271"/>
          </a:xfrm>
        </p:spPr>
        <p:txBody>
          <a:bodyPr vert="horz" anchor="ctr">
            <a:noAutofit/>
          </a:bodyPr>
          <a:lstStyle>
            <a:lvl1pPr marL="0" indent="0" algn="r">
              <a:buNone/>
              <a:defRPr sz="1200" b="0">
                <a:solidFill>
                  <a:schemeClr val="tx1">
                    <a:lumMod val="65000"/>
                    <a:lumOff val="35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B25DD119-4403-4360-91FE-9C5C76E18242}"/>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20" name="标题 1"/>
          <p:cNvSpPr>
            <a:spLocks noGrp="1"/>
          </p:cNvSpPr>
          <p:nvPr userDrawn="1">
            <p:ph type="title" hasCustomPrompt="1"/>
          </p:nvPr>
        </p:nvSpPr>
        <p:spPr>
          <a:xfrm>
            <a:off x="5730298" y="2765879"/>
            <a:ext cx="5419185" cy="895350"/>
          </a:xfrm>
        </p:spPr>
        <p:txBody>
          <a:bodyPr anchor="b">
            <a:normAutofit/>
          </a:bodyPr>
          <a:lstStyle>
            <a:lvl1pPr algn="l">
              <a:defRPr sz="2400" b="1">
                <a:solidFill>
                  <a:schemeClr val="tx1">
                    <a:lumMod val="85000"/>
                    <a:lumOff val="15000"/>
                  </a:schemeClr>
                </a:solidFill>
              </a:defRPr>
            </a:lvl1pPr>
          </a:lstStyle>
          <a:p>
            <a:r>
              <a:rPr lang="en-US" altLang="zh-CN" dirty="0"/>
              <a:t>Click to edit Master title style</a:t>
            </a:r>
            <a:endParaRPr lang="zh-CN" altLang="en-US" dirty="0"/>
          </a:p>
        </p:txBody>
      </p:sp>
      <p:sp>
        <p:nvSpPr>
          <p:cNvPr id="21" name="文本占位符 2"/>
          <p:cNvSpPr>
            <a:spLocks noGrp="1"/>
          </p:cNvSpPr>
          <p:nvPr userDrawn="1">
            <p:ph type="body" idx="1" hasCustomPrompt="1"/>
          </p:nvPr>
        </p:nvSpPr>
        <p:spPr>
          <a:xfrm>
            <a:off x="5731414" y="3661229"/>
            <a:ext cx="5419185" cy="1015623"/>
          </a:xfrm>
        </p:spPr>
        <p:txBody>
          <a:bodyPr anchor="t">
            <a:normAutofit/>
          </a:bodyPr>
          <a:lstStyle>
            <a:lvl1pPr marL="0" indent="0" algn="l">
              <a:lnSpc>
                <a:spcPct val="150000"/>
              </a:lnSpc>
              <a:spcBef>
                <a:spcPts val="0"/>
              </a:spcBef>
              <a:buNone/>
              <a:defRPr sz="1100">
                <a:solidFill>
                  <a:schemeClr val="tx1">
                    <a:lumMod val="65000"/>
                    <a:lumOff val="3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ltLang="zh-CN" dirty="0"/>
              <a:t>Edit Master text styles</a:t>
            </a:r>
          </a:p>
        </p:txBody>
      </p:sp>
      <p:sp>
        <p:nvSpPr>
          <p:cNvPr id="5" name="任意多边形: 形状 4">
            <a:extLst>
              <a:ext uri="{FF2B5EF4-FFF2-40B4-BE49-F238E27FC236}">
                <a16:creationId xmlns:a16="http://schemas.microsoft.com/office/drawing/2014/main" id="{0DE003A7-2272-4F79-835B-A1EA12697563}"/>
              </a:ext>
            </a:extLst>
          </p:cNvPr>
          <p:cNvSpPr/>
          <p:nvPr userDrawn="1"/>
        </p:nvSpPr>
        <p:spPr>
          <a:xfrm flipH="1">
            <a:off x="641350" y="2429235"/>
            <a:ext cx="1652482" cy="1619437"/>
          </a:xfrm>
          <a:custGeom>
            <a:avLst/>
            <a:gdLst>
              <a:gd name="connsiteX0" fmla="*/ 3070456 w 3070954"/>
              <a:gd name="connsiteY0" fmla="*/ 953445 h 3009544"/>
              <a:gd name="connsiteX1" fmla="*/ 3061656 w 3070954"/>
              <a:gd name="connsiteY1" fmla="*/ 915045 h 3009544"/>
              <a:gd name="connsiteX2" fmla="*/ 3023416 w 3070954"/>
              <a:gd name="connsiteY2" fmla="*/ 914885 h 3009544"/>
              <a:gd name="connsiteX3" fmla="*/ 2919736 w 3070954"/>
              <a:gd name="connsiteY3" fmla="*/ 993445 h 3009544"/>
              <a:gd name="connsiteX4" fmla="*/ 2853816 w 3070954"/>
              <a:gd name="connsiteY4" fmla="*/ 1034885 h 3009544"/>
              <a:gd name="connsiteX5" fmla="*/ 2784376 w 3070954"/>
              <a:gd name="connsiteY5" fmla="*/ 1078085 h 3009544"/>
              <a:gd name="connsiteX6" fmla="*/ 2687576 w 3070954"/>
              <a:gd name="connsiteY6" fmla="*/ 1098725 h 3009544"/>
              <a:gd name="connsiteX7" fmla="*/ 2743416 w 3070954"/>
              <a:gd name="connsiteY7" fmla="*/ 1049285 h 3009544"/>
              <a:gd name="connsiteX8" fmla="*/ 2845496 w 3070954"/>
              <a:gd name="connsiteY8" fmla="*/ 934885 h 3009544"/>
              <a:gd name="connsiteX9" fmla="*/ 2915097 w 3070954"/>
              <a:gd name="connsiteY9" fmla="*/ 808645 h 3009544"/>
              <a:gd name="connsiteX10" fmla="*/ 2978776 w 3070954"/>
              <a:gd name="connsiteY10" fmla="*/ 658405 h 3009544"/>
              <a:gd name="connsiteX11" fmla="*/ 3020696 w 3070954"/>
              <a:gd name="connsiteY11" fmla="*/ 500325 h 3009544"/>
              <a:gd name="connsiteX12" fmla="*/ 3049977 w 3070954"/>
              <a:gd name="connsiteY12" fmla="*/ 349765 h 3009544"/>
              <a:gd name="connsiteX13" fmla="*/ 3063257 w 3070954"/>
              <a:gd name="connsiteY13" fmla="*/ 196165 h 3009544"/>
              <a:gd name="connsiteX14" fmla="*/ 3063416 w 3070954"/>
              <a:gd name="connsiteY14" fmla="*/ 76965 h 3009544"/>
              <a:gd name="connsiteX15" fmla="*/ 3059576 w 3070954"/>
              <a:gd name="connsiteY15" fmla="*/ 2885 h 3009544"/>
              <a:gd name="connsiteX16" fmla="*/ 3042616 w 3070954"/>
              <a:gd name="connsiteY16" fmla="*/ 2885 h 3009544"/>
              <a:gd name="connsiteX17" fmla="*/ 3016696 w 3070954"/>
              <a:gd name="connsiteY17" fmla="*/ 24645 h 3009544"/>
              <a:gd name="connsiteX18" fmla="*/ 2976217 w 3070954"/>
              <a:gd name="connsiteY18" fmla="*/ 49605 h 3009544"/>
              <a:gd name="connsiteX19" fmla="*/ 2875097 w 3070954"/>
              <a:gd name="connsiteY19" fmla="*/ 108645 h 3009544"/>
              <a:gd name="connsiteX20" fmla="*/ 2824376 w 3070954"/>
              <a:gd name="connsiteY20" fmla="*/ 125925 h 3009544"/>
              <a:gd name="connsiteX21" fmla="*/ 2778776 w 3070954"/>
              <a:gd name="connsiteY21" fmla="*/ 147205 h 3009544"/>
              <a:gd name="connsiteX22" fmla="*/ 2695416 w 3070954"/>
              <a:gd name="connsiteY22" fmla="*/ 207685 h 3009544"/>
              <a:gd name="connsiteX23" fmla="*/ 2614296 w 3070954"/>
              <a:gd name="connsiteY23" fmla="*/ 288005 h 3009544"/>
              <a:gd name="connsiteX24" fmla="*/ 2539416 w 3070954"/>
              <a:gd name="connsiteY24" fmla="*/ 376165 h 3009544"/>
              <a:gd name="connsiteX25" fmla="*/ 2485336 w 3070954"/>
              <a:gd name="connsiteY25" fmla="*/ 476965 h 3009544"/>
              <a:gd name="connsiteX26" fmla="*/ 2477336 w 3070954"/>
              <a:gd name="connsiteY26" fmla="*/ 498885 h 3009544"/>
              <a:gd name="connsiteX27" fmla="*/ 2471257 w 3070954"/>
              <a:gd name="connsiteY27" fmla="*/ 448165 h 3009544"/>
              <a:gd name="connsiteX28" fmla="*/ 2455416 w 3070954"/>
              <a:gd name="connsiteY28" fmla="*/ 370245 h 3009544"/>
              <a:gd name="connsiteX29" fmla="*/ 2434776 w 3070954"/>
              <a:gd name="connsiteY29" fmla="*/ 291205 h 3009544"/>
              <a:gd name="connsiteX30" fmla="*/ 2419416 w 3070954"/>
              <a:gd name="connsiteY30" fmla="*/ 237445 h 3009544"/>
              <a:gd name="connsiteX31" fmla="*/ 2389177 w 3070954"/>
              <a:gd name="connsiteY31" fmla="*/ 180805 h 3009544"/>
              <a:gd name="connsiteX32" fmla="*/ 2317816 w 3070954"/>
              <a:gd name="connsiteY32" fmla="*/ 51845 h 3009544"/>
              <a:gd name="connsiteX33" fmla="*/ 2293977 w 3070954"/>
              <a:gd name="connsiteY33" fmla="*/ 58245 h 3009544"/>
              <a:gd name="connsiteX34" fmla="*/ 2268857 w 3070954"/>
              <a:gd name="connsiteY34" fmla="*/ 102565 h 3009544"/>
              <a:gd name="connsiteX35" fmla="*/ 2238937 w 3070954"/>
              <a:gd name="connsiteY35" fmla="*/ 144485 h 3009544"/>
              <a:gd name="connsiteX36" fmla="*/ 2169496 w 3070954"/>
              <a:gd name="connsiteY36" fmla="*/ 232645 h 3009544"/>
              <a:gd name="connsiteX37" fmla="*/ 2090456 w 3070954"/>
              <a:gd name="connsiteY37" fmla="*/ 292485 h 3009544"/>
              <a:gd name="connsiteX38" fmla="*/ 2052057 w 3070954"/>
              <a:gd name="connsiteY38" fmla="*/ 311685 h 3009544"/>
              <a:gd name="connsiteX39" fmla="*/ 2011257 w 3070954"/>
              <a:gd name="connsiteY39" fmla="*/ 342245 h 3009544"/>
              <a:gd name="connsiteX40" fmla="*/ 1978937 w 3070954"/>
              <a:gd name="connsiteY40" fmla="*/ 365445 h 3009544"/>
              <a:gd name="connsiteX41" fmla="*/ 1944696 w 3070954"/>
              <a:gd name="connsiteY41" fmla="*/ 396645 h 3009544"/>
              <a:gd name="connsiteX42" fmla="*/ 1931416 w 3070954"/>
              <a:gd name="connsiteY42" fmla="*/ 357605 h 3009544"/>
              <a:gd name="connsiteX43" fmla="*/ 1893816 w 3070954"/>
              <a:gd name="connsiteY43" fmla="*/ 288325 h 3009544"/>
              <a:gd name="connsiteX44" fmla="*/ 1776536 w 3070954"/>
              <a:gd name="connsiteY44" fmla="*/ 180645 h 3009544"/>
              <a:gd name="connsiteX45" fmla="*/ 1618137 w 3070954"/>
              <a:gd name="connsiteY45" fmla="*/ 93285 h 3009544"/>
              <a:gd name="connsiteX46" fmla="*/ 1581336 w 3070954"/>
              <a:gd name="connsiteY46" fmla="*/ 76485 h 3009544"/>
              <a:gd name="connsiteX47" fmla="*/ 1545496 w 3070954"/>
              <a:gd name="connsiteY47" fmla="*/ 64165 h 3009544"/>
              <a:gd name="connsiteX48" fmla="*/ 1474937 w 3070954"/>
              <a:gd name="connsiteY48" fmla="*/ 22405 h 3009544"/>
              <a:gd name="connsiteX49" fmla="*/ 1466616 w 3070954"/>
              <a:gd name="connsiteY49" fmla="*/ 21445 h 3009544"/>
              <a:gd name="connsiteX50" fmla="*/ 1458137 w 3070954"/>
              <a:gd name="connsiteY50" fmla="*/ 25445 h 3009544"/>
              <a:gd name="connsiteX51" fmla="*/ 1410776 w 3070954"/>
              <a:gd name="connsiteY51" fmla="*/ 98405 h 3009544"/>
              <a:gd name="connsiteX52" fmla="*/ 1345656 w 3070954"/>
              <a:gd name="connsiteY52" fmla="*/ 169125 h 3009544"/>
              <a:gd name="connsiteX53" fmla="*/ 1284057 w 3070954"/>
              <a:gd name="connsiteY53" fmla="*/ 226085 h 3009544"/>
              <a:gd name="connsiteX54" fmla="*/ 1257017 w 3070954"/>
              <a:gd name="connsiteY54" fmla="*/ 256005 h 3009544"/>
              <a:gd name="connsiteX55" fmla="*/ 1225497 w 3070954"/>
              <a:gd name="connsiteY55" fmla="*/ 232645 h 3009544"/>
              <a:gd name="connsiteX56" fmla="*/ 1144216 w 3070954"/>
              <a:gd name="connsiteY56" fmla="*/ 176805 h 3009544"/>
              <a:gd name="connsiteX57" fmla="*/ 1101656 w 3070954"/>
              <a:gd name="connsiteY57" fmla="*/ 159685 h 3009544"/>
              <a:gd name="connsiteX58" fmla="*/ 1051096 w 3070954"/>
              <a:gd name="connsiteY58" fmla="*/ 143205 h 3009544"/>
              <a:gd name="connsiteX59" fmla="*/ 999096 w 3070954"/>
              <a:gd name="connsiteY59" fmla="*/ 128485 h 3009544"/>
              <a:gd name="connsiteX60" fmla="*/ 953656 w 3070954"/>
              <a:gd name="connsiteY60" fmla="*/ 117285 h 3009544"/>
              <a:gd name="connsiteX61" fmla="*/ 949497 w 3070954"/>
              <a:gd name="connsiteY61" fmla="*/ 117765 h 3009544"/>
              <a:gd name="connsiteX62" fmla="*/ 940376 w 3070954"/>
              <a:gd name="connsiteY62" fmla="*/ 121925 h 3009544"/>
              <a:gd name="connsiteX63" fmla="*/ 945977 w 3070954"/>
              <a:gd name="connsiteY63" fmla="*/ 155205 h 3009544"/>
              <a:gd name="connsiteX64" fmla="*/ 954457 w 3070954"/>
              <a:gd name="connsiteY64" fmla="*/ 220165 h 3009544"/>
              <a:gd name="connsiteX65" fmla="*/ 928856 w 3070954"/>
              <a:gd name="connsiteY65" fmla="*/ 357285 h 3009544"/>
              <a:gd name="connsiteX66" fmla="*/ 879736 w 3070954"/>
              <a:gd name="connsiteY66" fmla="*/ 474885 h 3009544"/>
              <a:gd name="connsiteX67" fmla="*/ 858296 w 3070954"/>
              <a:gd name="connsiteY67" fmla="*/ 530405 h 3009544"/>
              <a:gd name="connsiteX68" fmla="*/ 851576 w 3070954"/>
              <a:gd name="connsiteY68" fmla="*/ 546405 h 3009544"/>
              <a:gd name="connsiteX69" fmla="*/ 848376 w 3070954"/>
              <a:gd name="connsiteY69" fmla="*/ 550085 h 3009544"/>
              <a:gd name="connsiteX70" fmla="*/ 845977 w 3070954"/>
              <a:gd name="connsiteY70" fmla="*/ 563205 h 3009544"/>
              <a:gd name="connsiteX71" fmla="*/ 844376 w 3070954"/>
              <a:gd name="connsiteY71" fmla="*/ 570565 h 3009544"/>
              <a:gd name="connsiteX72" fmla="*/ 813977 w 3070954"/>
              <a:gd name="connsiteY72" fmla="*/ 567205 h 3009544"/>
              <a:gd name="connsiteX73" fmla="*/ 748696 w 3070954"/>
              <a:gd name="connsiteY73" fmla="*/ 551845 h 3009544"/>
              <a:gd name="connsiteX74" fmla="*/ 621497 w 3070954"/>
              <a:gd name="connsiteY74" fmla="*/ 531045 h 3009544"/>
              <a:gd name="connsiteX75" fmla="*/ 494937 w 3070954"/>
              <a:gd name="connsiteY75" fmla="*/ 510725 h 3009544"/>
              <a:gd name="connsiteX76" fmla="*/ 485336 w 3070954"/>
              <a:gd name="connsiteY76" fmla="*/ 507045 h 3009544"/>
              <a:gd name="connsiteX77" fmla="*/ 481176 w 3070954"/>
              <a:gd name="connsiteY77" fmla="*/ 505445 h 3009544"/>
              <a:gd name="connsiteX78" fmla="*/ 444536 w 3070954"/>
              <a:gd name="connsiteY78" fmla="*/ 489125 h 3009544"/>
              <a:gd name="connsiteX79" fmla="*/ 436696 w 3070954"/>
              <a:gd name="connsiteY79" fmla="*/ 485765 h 3009544"/>
              <a:gd name="connsiteX80" fmla="*/ 415576 w 3070954"/>
              <a:gd name="connsiteY80" fmla="*/ 468005 h 3009544"/>
              <a:gd name="connsiteX81" fmla="*/ 410937 w 3070954"/>
              <a:gd name="connsiteY81" fmla="*/ 463365 h 3009544"/>
              <a:gd name="connsiteX82" fmla="*/ 410937 w 3070954"/>
              <a:gd name="connsiteY82" fmla="*/ 463365 h 3009544"/>
              <a:gd name="connsiteX83" fmla="*/ 405017 w 3070954"/>
              <a:gd name="connsiteY83" fmla="*/ 456805 h 3009544"/>
              <a:gd name="connsiteX84" fmla="*/ 400696 w 3070954"/>
              <a:gd name="connsiteY84" fmla="*/ 454565 h 3009544"/>
              <a:gd name="connsiteX85" fmla="*/ 398616 w 3070954"/>
              <a:gd name="connsiteY85" fmla="*/ 453285 h 3009544"/>
              <a:gd name="connsiteX86" fmla="*/ 392056 w 3070954"/>
              <a:gd name="connsiteY86" fmla="*/ 455045 h 3009544"/>
              <a:gd name="connsiteX87" fmla="*/ 387576 w 3070954"/>
              <a:gd name="connsiteY87" fmla="*/ 461445 h 3009544"/>
              <a:gd name="connsiteX88" fmla="*/ 381336 w 3070954"/>
              <a:gd name="connsiteY88" fmla="*/ 490565 h 3009544"/>
              <a:gd name="connsiteX89" fmla="*/ 380056 w 3070954"/>
              <a:gd name="connsiteY89" fmla="*/ 508805 h 3009544"/>
              <a:gd name="connsiteX90" fmla="*/ 367576 w 3070954"/>
              <a:gd name="connsiteY90" fmla="*/ 780485 h 3009544"/>
              <a:gd name="connsiteX91" fmla="*/ 388536 w 3070954"/>
              <a:gd name="connsiteY91" fmla="*/ 847685 h 3009544"/>
              <a:gd name="connsiteX92" fmla="*/ 427416 w 3070954"/>
              <a:gd name="connsiteY92" fmla="*/ 921765 h 3009544"/>
              <a:gd name="connsiteX93" fmla="*/ 514296 w 3070954"/>
              <a:gd name="connsiteY93" fmla="*/ 1048165 h 3009544"/>
              <a:gd name="connsiteX94" fmla="*/ 611096 w 3070954"/>
              <a:gd name="connsiteY94" fmla="*/ 1162245 h 3009544"/>
              <a:gd name="connsiteX95" fmla="*/ 733816 w 3070954"/>
              <a:gd name="connsiteY95" fmla="*/ 1264485 h 3009544"/>
              <a:gd name="connsiteX96" fmla="*/ 875736 w 3070954"/>
              <a:gd name="connsiteY96" fmla="*/ 1335045 h 3009544"/>
              <a:gd name="connsiteX97" fmla="*/ 1035096 w 3070954"/>
              <a:gd name="connsiteY97" fmla="*/ 1378085 h 3009544"/>
              <a:gd name="connsiteX98" fmla="*/ 1118136 w 3070954"/>
              <a:gd name="connsiteY98" fmla="*/ 1382725 h 3009544"/>
              <a:gd name="connsiteX99" fmla="*/ 1183256 w 3070954"/>
              <a:gd name="connsiteY99" fmla="*/ 1380485 h 3009544"/>
              <a:gd name="connsiteX100" fmla="*/ 1220216 w 3070954"/>
              <a:gd name="connsiteY100" fmla="*/ 1376485 h 3009544"/>
              <a:gd name="connsiteX101" fmla="*/ 1265177 w 3070954"/>
              <a:gd name="connsiteY101" fmla="*/ 1370405 h 3009544"/>
              <a:gd name="connsiteX102" fmla="*/ 1340217 w 3070954"/>
              <a:gd name="connsiteY102" fmla="*/ 1368325 h 3009544"/>
              <a:gd name="connsiteX103" fmla="*/ 1352696 w 3070954"/>
              <a:gd name="connsiteY103" fmla="*/ 1374085 h 3009544"/>
              <a:gd name="connsiteX104" fmla="*/ 1314137 w 3070954"/>
              <a:gd name="connsiteY104" fmla="*/ 1396965 h 3009544"/>
              <a:gd name="connsiteX105" fmla="*/ 1236536 w 3070954"/>
              <a:gd name="connsiteY105" fmla="*/ 1417445 h 3009544"/>
              <a:gd name="connsiteX106" fmla="*/ 1076856 w 3070954"/>
              <a:gd name="connsiteY106" fmla="*/ 1427685 h 3009544"/>
              <a:gd name="connsiteX107" fmla="*/ 912696 w 3070954"/>
              <a:gd name="connsiteY107" fmla="*/ 1420325 h 3009544"/>
              <a:gd name="connsiteX108" fmla="*/ 831096 w 3070954"/>
              <a:gd name="connsiteY108" fmla="*/ 1419685 h 3009544"/>
              <a:gd name="connsiteX109" fmla="*/ 737656 w 3070954"/>
              <a:gd name="connsiteY109" fmla="*/ 1421445 h 3009544"/>
              <a:gd name="connsiteX110" fmla="*/ 573656 w 3070954"/>
              <a:gd name="connsiteY110" fmla="*/ 1430085 h 3009544"/>
              <a:gd name="connsiteX111" fmla="*/ 417176 w 3070954"/>
              <a:gd name="connsiteY111" fmla="*/ 1460325 h 3009544"/>
              <a:gd name="connsiteX112" fmla="*/ 276696 w 3070954"/>
              <a:gd name="connsiteY112" fmla="*/ 1516165 h 3009544"/>
              <a:gd name="connsiteX113" fmla="*/ 168536 w 3070954"/>
              <a:gd name="connsiteY113" fmla="*/ 1578245 h 3009544"/>
              <a:gd name="connsiteX114" fmla="*/ 119256 w 3070954"/>
              <a:gd name="connsiteY114" fmla="*/ 1601925 h 3009544"/>
              <a:gd name="connsiteX115" fmla="*/ 102776 w 3070954"/>
              <a:gd name="connsiteY115" fmla="*/ 1617125 h 3009544"/>
              <a:gd name="connsiteX116" fmla="*/ 91576 w 3070954"/>
              <a:gd name="connsiteY116" fmla="*/ 1622885 h 3009544"/>
              <a:gd name="connsiteX117" fmla="*/ 88696 w 3070954"/>
              <a:gd name="connsiteY117" fmla="*/ 1624325 h 3009544"/>
              <a:gd name="connsiteX118" fmla="*/ 79096 w 3070954"/>
              <a:gd name="connsiteY118" fmla="*/ 1637605 h 3009544"/>
              <a:gd name="connsiteX119" fmla="*/ 45977 w 3070954"/>
              <a:gd name="connsiteY119" fmla="*/ 1672485 h 3009544"/>
              <a:gd name="connsiteX120" fmla="*/ 48216 w 3070954"/>
              <a:gd name="connsiteY120" fmla="*/ 1673445 h 3009544"/>
              <a:gd name="connsiteX121" fmla="*/ 40536 w 3070954"/>
              <a:gd name="connsiteY121" fmla="*/ 1683045 h 3009544"/>
              <a:gd name="connsiteX122" fmla="*/ 6136 w 3070954"/>
              <a:gd name="connsiteY122" fmla="*/ 1716165 h 3009544"/>
              <a:gd name="connsiteX123" fmla="*/ 8856 w 3070954"/>
              <a:gd name="connsiteY123" fmla="*/ 1735845 h 3009544"/>
              <a:gd name="connsiteX124" fmla="*/ 72216 w 3070954"/>
              <a:gd name="connsiteY124" fmla="*/ 1735045 h 3009544"/>
              <a:gd name="connsiteX125" fmla="*/ 106136 w 3070954"/>
              <a:gd name="connsiteY125" fmla="*/ 1738405 h 3009544"/>
              <a:gd name="connsiteX126" fmla="*/ 146296 w 3070954"/>
              <a:gd name="connsiteY126" fmla="*/ 1741925 h 3009544"/>
              <a:gd name="connsiteX127" fmla="*/ 220056 w 3070954"/>
              <a:gd name="connsiteY127" fmla="*/ 1765125 h 3009544"/>
              <a:gd name="connsiteX128" fmla="*/ 301176 w 3070954"/>
              <a:gd name="connsiteY128" fmla="*/ 1786885 h 3009544"/>
              <a:gd name="connsiteX129" fmla="*/ 468056 w 3070954"/>
              <a:gd name="connsiteY129" fmla="*/ 1821445 h 3009544"/>
              <a:gd name="connsiteX130" fmla="*/ 539736 w 3070954"/>
              <a:gd name="connsiteY130" fmla="*/ 1839205 h 3009544"/>
              <a:gd name="connsiteX131" fmla="*/ 627416 w 3070954"/>
              <a:gd name="connsiteY131" fmla="*/ 1850725 h 3009544"/>
              <a:gd name="connsiteX132" fmla="*/ 781176 w 3070954"/>
              <a:gd name="connsiteY132" fmla="*/ 1857285 h 3009544"/>
              <a:gd name="connsiteX133" fmla="*/ 933497 w 3070954"/>
              <a:gd name="connsiteY133" fmla="*/ 1832325 h 3009544"/>
              <a:gd name="connsiteX134" fmla="*/ 1001017 w 3070954"/>
              <a:gd name="connsiteY134" fmla="*/ 1816325 h 3009544"/>
              <a:gd name="connsiteX135" fmla="*/ 1077017 w 3070954"/>
              <a:gd name="connsiteY135" fmla="*/ 1798885 h 3009544"/>
              <a:gd name="connsiteX136" fmla="*/ 1147096 w 3070954"/>
              <a:gd name="connsiteY136" fmla="*/ 1777605 h 3009544"/>
              <a:gd name="connsiteX137" fmla="*/ 1212696 w 3070954"/>
              <a:gd name="connsiteY137" fmla="*/ 1748165 h 3009544"/>
              <a:gd name="connsiteX138" fmla="*/ 1260696 w 3070954"/>
              <a:gd name="connsiteY138" fmla="*/ 1722245 h 3009544"/>
              <a:gd name="connsiteX139" fmla="*/ 1266616 w 3070954"/>
              <a:gd name="connsiteY139" fmla="*/ 1711045 h 3009544"/>
              <a:gd name="connsiteX140" fmla="*/ 1268057 w 3070954"/>
              <a:gd name="connsiteY140" fmla="*/ 1710245 h 3009544"/>
              <a:gd name="connsiteX141" fmla="*/ 1279097 w 3070954"/>
              <a:gd name="connsiteY141" fmla="*/ 1702885 h 3009544"/>
              <a:gd name="connsiteX142" fmla="*/ 1248376 w 3070954"/>
              <a:gd name="connsiteY142" fmla="*/ 1736485 h 3009544"/>
              <a:gd name="connsiteX143" fmla="*/ 1211256 w 3070954"/>
              <a:gd name="connsiteY143" fmla="*/ 1794565 h 3009544"/>
              <a:gd name="connsiteX144" fmla="*/ 1171417 w 3070954"/>
              <a:gd name="connsiteY144" fmla="*/ 1854885 h 3009544"/>
              <a:gd name="connsiteX145" fmla="*/ 1097176 w 3070954"/>
              <a:gd name="connsiteY145" fmla="*/ 1995845 h 3009544"/>
              <a:gd name="connsiteX146" fmla="*/ 1042296 w 3070954"/>
              <a:gd name="connsiteY146" fmla="*/ 2142565 h 3009544"/>
              <a:gd name="connsiteX147" fmla="*/ 1024056 w 3070954"/>
              <a:gd name="connsiteY147" fmla="*/ 2218565 h 3009544"/>
              <a:gd name="connsiteX148" fmla="*/ 1014937 w 3070954"/>
              <a:gd name="connsiteY148" fmla="*/ 2292165 h 3009544"/>
              <a:gd name="connsiteX149" fmla="*/ 1025497 w 3070954"/>
              <a:gd name="connsiteY149" fmla="*/ 2354085 h 3009544"/>
              <a:gd name="connsiteX150" fmla="*/ 1034616 w 3070954"/>
              <a:gd name="connsiteY150" fmla="*/ 2388645 h 3009544"/>
              <a:gd name="connsiteX151" fmla="*/ 1030457 w 3070954"/>
              <a:gd name="connsiteY151" fmla="*/ 2424485 h 3009544"/>
              <a:gd name="connsiteX152" fmla="*/ 1042616 w 3070954"/>
              <a:gd name="connsiteY152" fmla="*/ 2436485 h 3009544"/>
              <a:gd name="connsiteX153" fmla="*/ 1110616 w 3070954"/>
              <a:gd name="connsiteY153" fmla="*/ 2432965 h 3009544"/>
              <a:gd name="connsiteX154" fmla="*/ 1188376 w 3070954"/>
              <a:gd name="connsiteY154" fmla="*/ 2427365 h 3009544"/>
              <a:gd name="connsiteX155" fmla="*/ 1319897 w 3070954"/>
              <a:gd name="connsiteY155" fmla="*/ 2380965 h 3009544"/>
              <a:gd name="connsiteX156" fmla="*/ 1385656 w 3070954"/>
              <a:gd name="connsiteY156" fmla="*/ 2348325 h 3009544"/>
              <a:gd name="connsiteX157" fmla="*/ 1448217 w 3070954"/>
              <a:gd name="connsiteY157" fmla="*/ 2305765 h 3009544"/>
              <a:gd name="connsiteX158" fmla="*/ 1569177 w 3070954"/>
              <a:gd name="connsiteY158" fmla="*/ 2197925 h 3009544"/>
              <a:gd name="connsiteX159" fmla="*/ 1677656 w 3070954"/>
              <a:gd name="connsiteY159" fmla="*/ 2075845 h 3009544"/>
              <a:gd name="connsiteX160" fmla="*/ 1699097 w 3070954"/>
              <a:gd name="connsiteY160" fmla="*/ 2046405 h 3009544"/>
              <a:gd name="connsiteX161" fmla="*/ 1701017 w 3070954"/>
              <a:gd name="connsiteY161" fmla="*/ 2057605 h 3009544"/>
              <a:gd name="connsiteX162" fmla="*/ 1705816 w 3070954"/>
              <a:gd name="connsiteY162" fmla="*/ 2083525 h 3009544"/>
              <a:gd name="connsiteX163" fmla="*/ 1704696 w 3070954"/>
              <a:gd name="connsiteY163" fmla="*/ 2135205 h 3009544"/>
              <a:gd name="connsiteX164" fmla="*/ 1706776 w 3070954"/>
              <a:gd name="connsiteY164" fmla="*/ 2197285 h 3009544"/>
              <a:gd name="connsiteX165" fmla="*/ 1707736 w 3070954"/>
              <a:gd name="connsiteY165" fmla="*/ 2259525 h 3009544"/>
              <a:gd name="connsiteX166" fmla="*/ 1705977 w 3070954"/>
              <a:gd name="connsiteY166" fmla="*/ 2318405 h 3009544"/>
              <a:gd name="connsiteX167" fmla="*/ 1700376 w 3070954"/>
              <a:gd name="connsiteY167" fmla="*/ 2379525 h 3009544"/>
              <a:gd name="connsiteX168" fmla="*/ 1697177 w 3070954"/>
              <a:gd name="connsiteY168" fmla="*/ 2511685 h 3009544"/>
              <a:gd name="connsiteX169" fmla="*/ 1668376 w 3070954"/>
              <a:gd name="connsiteY169" fmla="*/ 2777765 h 3009544"/>
              <a:gd name="connsiteX170" fmla="*/ 1644536 w 3070954"/>
              <a:gd name="connsiteY170" fmla="*/ 2893445 h 3009544"/>
              <a:gd name="connsiteX171" fmla="*/ 1617816 w 3070954"/>
              <a:gd name="connsiteY171" fmla="*/ 2978085 h 3009544"/>
              <a:gd name="connsiteX172" fmla="*/ 1609017 w 3070954"/>
              <a:gd name="connsiteY172" fmla="*/ 2988965 h 3009544"/>
              <a:gd name="connsiteX173" fmla="*/ 1608057 w 3070954"/>
              <a:gd name="connsiteY173" fmla="*/ 2994245 h 3009544"/>
              <a:gd name="connsiteX174" fmla="*/ 1633496 w 3070954"/>
              <a:gd name="connsiteY174" fmla="*/ 3004805 h 3009544"/>
              <a:gd name="connsiteX175" fmla="*/ 1668217 w 3070954"/>
              <a:gd name="connsiteY175" fmla="*/ 2920645 h 3009544"/>
              <a:gd name="connsiteX176" fmla="*/ 1681017 w 3070954"/>
              <a:gd name="connsiteY176" fmla="*/ 2862565 h 3009544"/>
              <a:gd name="connsiteX177" fmla="*/ 1693816 w 3070954"/>
              <a:gd name="connsiteY177" fmla="*/ 2801445 h 3009544"/>
              <a:gd name="connsiteX178" fmla="*/ 1709496 w 3070954"/>
              <a:gd name="connsiteY178" fmla="*/ 2662565 h 3009544"/>
              <a:gd name="connsiteX179" fmla="*/ 1724376 w 3070954"/>
              <a:gd name="connsiteY179" fmla="*/ 2522565 h 3009544"/>
              <a:gd name="connsiteX180" fmla="*/ 1728057 w 3070954"/>
              <a:gd name="connsiteY180" fmla="*/ 2392645 h 3009544"/>
              <a:gd name="connsiteX181" fmla="*/ 1735576 w 3070954"/>
              <a:gd name="connsiteY181" fmla="*/ 2268005 h 3009544"/>
              <a:gd name="connsiteX182" fmla="*/ 1734456 w 3070954"/>
              <a:gd name="connsiteY182" fmla="*/ 2207685 h 3009544"/>
              <a:gd name="connsiteX183" fmla="*/ 1729816 w 3070954"/>
              <a:gd name="connsiteY183" fmla="*/ 2138725 h 3009544"/>
              <a:gd name="connsiteX184" fmla="*/ 1722937 w 3070954"/>
              <a:gd name="connsiteY184" fmla="*/ 2013765 h 3009544"/>
              <a:gd name="connsiteX185" fmla="*/ 1722616 w 3070954"/>
              <a:gd name="connsiteY185" fmla="*/ 2012805 h 3009544"/>
              <a:gd name="connsiteX186" fmla="*/ 1771097 w 3070954"/>
              <a:gd name="connsiteY186" fmla="*/ 1943205 h 3009544"/>
              <a:gd name="connsiteX187" fmla="*/ 1797336 w 3070954"/>
              <a:gd name="connsiteY187" fmla="*/ 1904645 h 3009544"/>
              <a:gd name="connsiteX188" fmla="*/ 1798296 w 3070954"/>
              <a:gd name="connsiteY188" fmla="*/ 1921445 h 3009544"/>
              <a:gd name="connsiteX189" fmla="*/ 1800696 w 3070954"/>
              <a:gd name="connsiteY189" fmla="*/ 1995205 h 3009544"/>
              <a:gd name="connsiteX190" fmla="*/ 1806296 w 3070954"/>
              <a:gd name="connsiteY190" fmla="*/ 2142725 h 3009544"/>
              <a:gd name="connsiteX191" fmla="*/ 1806616 w 3070954"/>
              <a:gd name="connsiteY191" fmla="*/ 2278245 h 3009544"/>
              <a:gd name="connsiteX192" fmla="*/ 1806937 w 3070954"/>
              <a:gd name="connsiteY192" fmla="*/ 2352805 h 3009544"/>
              <a:gd name="connsiteX193" fmla="*/ 1800856 w 3070954"/>
              <a:gd name="connsiteY193" fmla="*/ 2425765 h 3009544"/>
              <a:gd name="connsiteX194" fmla="*/ 1796536 w 3070954"/>
              <a:gd name="connsiteY194" fmla="*/ 2490085 h 3009544"/>
              <a:gd name="connsiteX195" fmla="*/ 1781336 w 3070954"/>
              <a:gd name="connsiteY195" fmla="*/ 2563845 h 3009544"/>
              <a:gd name="connsiteX196" fmla="*/ 1762937 w 3070954"/>
              <a:gd name="connsiteY196" fmla="*/ 2711365 h 3009544"/>
              <a:gd name="connsiteX197" fmla="*/ 1736696 w 3070954"/>
              <a:gd name="connsiteY197" fmla="*/ 2849925 h 3009544"/>
              <a:gd name="connsiteX198" fmla="*/ 1717496 w 3070954"/>
              <a:gd name="connsiteY198" fmla="*/ 2918085 h 3009544"/>
              <a:gd name="connsiteX199" fmla="*/ 1711097 w 3070954"/>
              <a:gd name="connsiteY199" fmla="*/ 2942405 h 3009544"/>
              <a:gd name="connsiteX200" fmla="*/ 1705496 w 3070954"/>
              <a:gd name="connsiteY200" fmla="*/ 2952485 h 3009544"/>
              <a:gd name="connsiteX201" fmla="*/ 1704536 w 3070954"/>
              <a:gd name="connsiteY201" fmla="*/ 2963205 h 3009544"/>
              <a:gd name="connsiteX202" fmla="*/ 1716696 w 3070954"/>
              <a:gd name="connsiteY202" fmla="*/ 2978405 h 3009544"/>
              <a:gd name="connsiteX203" fmla="*/ 1732376 w 3070954"/>
              <a:gd name="connsiteY203" fmla="*/ 2966885 h 3009544"/>
              <a:gd name="connsiteX204" fmla="*/ 1737656 w 3070954"/>
              <a:gd name="connsiteY204" fmla="*/ 2953445 h 3009544"/>
              <a:gd name="connsiteX205" fmla="*/ 1744057 w 3070954"/>
              <a:gd name="connsiteY205" fmla="*/ 2929125 h 3009544"/>
              <a:gd name="connsiteX206" fmla="*/ 1762456 w 3070954"/>
              <a:gd name="connsiteY206" fmla="*/ 2866405 h 3009544"/>
              <a:gd name="connsiteX207" fmla="*/ 1790137 w 3070954"/>
              <a:gd name="connsiteY207" fmla="*/ 2721285 h 3009544"/>
              <a:gd name="connsiteX208" fmla="*/ 1808856 w 3070954"/>
              <a:gd name="connsiteY208" fmla="*/ 2574405 h 3009544"/>
              <a:gd name="connsiteX209" fmla="*/ 1824536 w 3070954"/>
              <a:gd name="connsiteY209" fmla="*/ 2500325 h 3009544"/>
              <a:gd name="connsiteX210" fmla="*/ 1829496 w 3070954"/>
              <a:gd name="connsiteY210" fmla="*/ 2429445 h 3009544"/>
              <a:gd name="connsiteX211" fmla="*/ 1835097 w 3070954"/>
              <a:gd name="connsiteY211" fmla="*/ 2293605 h 3009544"/>
              <a:gd name="connsiteX212" fmla="*/ 1834456 w 3070954"/>
              <a:gd name="connsiteY212" fmla="*/ 2152005 h 3009544"/>
              <a:gd name="connsiteX213" fmla="*/ 1827897 w 3070954"/>
              <a:gd name="connsiteY213" fmla="*/ 2004325 h 3009544"/>
              <a:gd name="connsiteX214" fmla="*/ 1817336 w 3070954"/>
              <a:gd name="connsiteY214" fmla="*/ 1871045 h 3009544"/>
              <a:gd name="connsiteX215" fmla="*/ 1835576 w 3070954"/>
              <a:gd name="connsiteY215" fmla="*/ 1804485 h 3009544"/>
              <a:gd name="connsiteX216" fmla="*/ 1841177 w 3070954"/>
              <a:gd name="connsiteY216" fmla="*/ 1776165 h 3009544"/>
              <a:gd name="connsiteX217" fmla="*/ 1857816 w 3070954"/>
              <a:gd name="connsiteY217" fmla="*/ 1795205 h 3009544"/>
              <a:gd name="connsiteX218" fmla="*/ 1906456 w 3070954"/>
              <a:gd name="connsiteY218" fmla="*/ 1825445 h 3009544"/>
              <a:gd name="connsiteX219" fmla="*/ 2022616 w 3070954"/>
              <a:gd name="connsiteY219" fmla="*/ 1861285 h 3009544"/>
              <a:gd name="connsiteX220" fmla="*/ 2155897 w 3070954"/>
              <a:gd name="connsiteY220" fmla="*/ 1868005 h 3009544"/>
              <a:gd name="connsiteX221" fmla="*/ 2275257 w 3070954"/>
              <a:gd name="connsiteY221" fmla="*/ 1893605 h 3009544"/>
              <a:gd name="connsiteX222" fmla="*/ 2294616 w 3070954"/>
              <a:gd name="connsiteY222" fmla="*/ 1878725 h 3009544"/>
              <a:gd name="connsiteX223" fmla="*/ 2254296 w 3070954"/>
              <a:gd name="connsiteY223" fmla="*/ 1794565 h 3009544"/>
              <a:gd name="connsiteX224" fmla="*/ 2217656 w 3070954"/>
              <a:gd name="connsiteY224" fmla="*/ 1703685 h 3009544"/>
              <a:gd name="connsiteX225" fmla="*/ 2173496 w 3070954"/>
              <a:gd name="connsiteY225" fmla="*/ 1612325 h 3009544"/>
              <a:gd name="connsiteX226" fmla="*/ 2157656 w 3070954"/>
              <a:gd name="connsiteY226" fmla="*/ 1593765 h 3009544"/>
              <a:gd name="connsiteX227" fmla="*/ 2371097 w 3070954"/>
              <a:gd name="connsiteY227" fmla="*/ 1617125 h 3009544"/>
              <a:gd name="connsiteX228" fmla="*/ 2677656 w 3070954"/>
              <a:gd name="connsiteY228" fmla="*/ 1560165 h 3009544"/>
              <a:gd name="connsiteX229" fmla="*/ 2794776 w 3070954"/>
              <a:gd name="connsiteY229" fmla="*/ 1483205 h 3009544"/>
              <a:gd name="connsiteX230" fmla="*/ 2838937 w 3070954"/>
              <a:gd name="connsiteY230" fmla="*/ 1430565 h 3009544"/>
              <a:gd name="connsiteX231" fmla="*/ 2857336 w 3070954"/>
              <a:gd name="connsiteY231" fmla="*/ 1402565 h 3009544"/>
              <a:gd name="connsiteX232" fmla="*/ 2886776 w 3070954"/>
              <a:gd name="connsiteY232" fmla="*/ 1368005 h 3009544"/>
              <a:gd name="connsiteX233" fmla="*/ 2974456 w 3070954"/>
              <a:gd name="connsiteY233" fmla="*/ 1244805 h 3009544"/>
              <a:gd name="connsiteX234" fmla="*/ 3044857 w 3070954"/>
              <a:gd name="connsiteY234" fmla="*/ 1104485 h 3009544"/>
              <a:gd name="connsiteX235" fmla="*/ 3066137 w 3070954"/>
              <a:gd name="connsiteY235" fmla="*/ 1031205 h 3009544"/>
              <a:gd name="connsiteX236" fmla="*/ 3070456 w 3070954"/>
              <a:gd name="connsiteY236" fmla="*/ 953445 h 3009544"/>
              <a:gd name="connsiteX237" fmla="*/ 3032536 w 3070954"/>
              <a:gd name="connsiteY237" fmla="*/ 945445 h 3009544"/>
              <a:gd name="connsiteX238" fmla="*/ 3030137 w 3070954"/>
              <a:gd name="connsiteY238" fmla="*/ 951045 h 3009544"/>
              <a:gd name="connsiteX239" fmla="*/ 3015736 w 3070954"/>
              <a:gd name="connsiteY239" fmla="*/ 982085 h 3009544"/>
              <a:gd name="connsiteX240" fmla="*/ 2974296 w 3070954"/>
              <a:gd name="connsiteY240" fmla="*/ 1057445 h 3009544"/>
              <a:gd name="connsiteX241" fmla="*/ 2880217 w 3070954"/>
              <a:gd name="connsiteY241" fmla="*/ 1187205 h 3009544"/>
              <a:gd name="connsiteX242" fmla="*/ 2762776 w 3070954"/>
              <a:gd name="connsiteY242" fmla="*/ 1300005 h 3009544"/>
              <a:gd name="connsiteX243" fmla="*/ 2629496 w 3070954"/>
              <a:gd name="connsiteY243" fmla="*/ 1384965 h 3009544"/>
              <a:gd name="connsiteX244" fmla="*/ 2557017 w 3070954"/>
              <a:gd name="connsiteY244" fmla="*/ 1405765 h 3009544"/>
              <a:gd name="connsiteX245" fmla="*/ 2477177 w 3070954"/>
              <a:gd name="connsiteY245" fmla="*/ 1431685 h 3009544"/>
              <a:gd name="connsiteX246" fmla="*/ 2313177 w 3070954"/>
              <a:gd name="connsiteY246" fmla="*/ 1443845 h 3009544"/>
              <a:gd name="connsiteX247" fmla="*/ 2143576 w 3070954"/>
              <a:gd name="connsiteY247" fmla="*/ 1431525 h 3009544"/>
              <a:gd name="connsiteX248" fmla="*/ 1972696 w 3070954"/>
              <a:gd name="connsiteY248" fmla="*/ 1409765 h 3009544"/>
              <a:gd name="connsiteX249" fmla="*/ 1887257 w 3070954"/>
              <a:gd name="connsiteY249" fmla="*/ 1393605 h 3009544"/>
              <a:gd name="connsiteX250" fmla="*/ 1836536 w 3070954"/>
              <a:gd name="connsiteY250" fmla="*/ 1382725 h 3009544"/>
              <a:gd name="connsiteX251" fmla="*/ 1838616 w 3070954"/>
              <a:gd name="connsiteY251" fmla="*/ 1381285 h 3009544"/>
              <a:gd name="connsiteX252" fmla="*/ 1860057 w 3070954"/>
              <a:gd name="connsiteY252" fmla="*/ 1378725 h 3009544"/>
              <a:gd name="connsiteX253" fmla="*/ 1907097 w 3070954"/>
              <a:gd name="connsiteY253" fmla="*/ 1374245 h 3009544"/>
              <a:gd name="connsiteX254" fmla="*/ 1977336 w 3070954"/>
              <a:gd name="connsiteY254" fmla="*/ 1375685 h 3009544"/>
              <a:gd name="connsiteX255" fmla="*/ 2142616 w 3070954"/>
              <a:gd name="connsiteY255" fmla="*/ 1383045 h 3009544"/>
              <a:gd name="connsiteX256" fmla="*/ 2222776 w 3070954"/>
              <a:gd name="connsiteY256" fmla="*/ 1395205 h 3009544"/>
              <a:gd name="connsiteX257" fmla="*/ 2312217 w 3070954"/>
              <a:gd name="connsiteY257" fmla="*/ 1397285 h 3009544"/>
              <a:gd name="connsiteX258" fmla="*/ 2475097 w 3070954"/>
              <a:gd name="connsiteY258" fmla="*/ 1388485 h 3009544"/>
              <a:gd name="connsiteX259" fmla="*/ 2625496 w 3070954"/>
              <a:gd name="connsiteY259" fmla="*/ 1334085 h 3009544"/>
              <a:gd name="connsiteX260" fmla="*/ 2754296 w 3070954"/>
              <a:gd name="connsiteY260" fmla="*/ 1243365 h 3009544"/>
              <a:gd name="connsiteX261" fmla="*/ 2863897 w 3070954"/>
              <a:gd name="connsiteY261" fmla="*/ 1141605 h 3009544"/>
              <a:gd name="connsiteX262" fmla="*/ 2960376 w 3070954"/>
              <a:gd name="connsiteY262" fmla="*/ 1030725 h 3009544"/>
              <a:gd name="connsiteX263" fmla="*/ 3032536 w 3070954"/>
              <a:gd name="connsiteY263" fmla="*/ 945445 h 3009544"/>
              <a:gd name="connsiteX264" fmla="*/ 1798776 w 3070954"/>
              <a:gd name="connsiteY264" fmla="*/ 1327845 h 3009544"/>
              <a:gd name="connsiteX265" fmla="*/ 1800217 w 3070954"/>
              <a:gd name="connsiteY265" fmla="*/ 1217925 h 3009544"/>
              <a:gd name="connsiteX266" fmla="*/ 1795416 w 3070954"/>
              <a:gd name="connsiteY266" fmla="*/ 1159525 h 3009544"/>
              <a:gd name="connsiteX267" fmla="*/ 1793177 w 3070954"/>
              <a:gd name="connsiteY267" fmla="*/ 1101445 h 3009544"/>
              <a:gd name="connsiteX268" fmla="*/ 1778776 w 3070954"/>
              <a:gd name="connsiteY268" fmla="*/ 986245 h 3009544"/>
              <a:gd name="connsiteX269" fmla="*/ 1747576 w 3070954"/>
              <a:gd name="connsiteY269" fmla="*/ 878405 h 3009544"/>
              <a:gd name="connsiteX270" fmla="*/ 1723736 w 3070954"/>
              <a:gd name="connsiteY270" fmla="*/ 826565 h 3009544"/>
              <a:gd name="connsiteX271" fmla="*/ 1700376 w 3070954"/>
              <a:gd name="connsiteY271" fmla="*/ 772965 h 3009544"/>
              <a:gd name="connsiteX272" fmla="*/ 1648217 w 3070954"/>
              <a:gd name="connsiteY272" fmla="*/ 679525 h 3009544"/>
              <a:gd name="connsiteX273" fmla="*/ 1611897 w 3070954"/>
              <a:gd name="connsiteY273" fmla="*/ 639525 h 3009544"/>
              <a:gd name="connsiteX274" fmla="*/ 1727257 w 3070954"/>
              <a:gd name="connsiteY274" fmla="*/ 668325 h 3009544"/>
              <a:gd name="connsiteX275" fmla="*/ 1730937 w 3070954"/>
              <a:gd name="connsiteY275" fmla="*/ 669285 h 3009544"/>
              <a:gd name="connsiteX276" fmla="*/ 1753656 w 3070954"/>
              <a:gd name="connsiteY276" fmla="*/ 684645 h 3009544"/>
              <a:gd name="connsiteX277" fmla="*/ 1829977 w 3070954"/>
              <a:gd name="connsiteY277" fmla="*/ 755845 h 3009544"/>
              <a:gd name="connsiteX278" fmla="*/ 1920217 w 3070954"/>
              <a:gd name="connsiteY278" fmla="*/ 934565 h 3009544"/>
              <a:gd name="connsiteX279" fmla="*/ 1935736 w 3070954"/>
              <a:gd name="connsiteY279" fmla="*/ 1035045 h 3009544"/>
              <a:gd name="connsiteX280" fmla="*/ 1940536 w 3070954"/>
              <a:gd name="connsiteY280" fmla="*/ 1084005 h 3009544"/>
              <a:gd name="connsiteX281" fmla="*/ 1937177 w 3070954"/>
              <a:gd name="connsiteY281" fmla="*/ 1138565 h 3009544"/>
              <a:gd name="connsiteX282" fmla="*/ 1924536 w 3070954"/>
              <a:gd name="connsiteY282" fmla="*/ 1239045 h 3009544"/>
              <a:gd name="connsiteX283" fmla="*/ 1913816 w 3070954"/>
              <a:gd name="connsiteY283" fmla="*/ 1281125 h 3009544"/>
              <a:gd name="connsiteX284" fmla="*/ 1900217 w 3070954"/>
              <a:gd name="connsiteY284" fmla="*/ 1301765 h 3009544"/>
              <a:gd name="connsiteX285" fmla="*/ 1815576 w 3070954"/>
              <a:gd name="connsiteY285" fmla="*/ 1360165 h 3009544"/>
              <a:gd name="connsiteX286" fmla="*/ 1801177 w 3070954"/>
              <a:gd name="connsiteY286" fmla="*/ 1369125 h 3009544"/>
              <a:gd name="connsiteX287" fmla="*/ 1791897 w 3070954"/>
              <a:gd name="connsiteY287" fmla="*/ 1372805 h 3009544"/>
              <a:gd name="connsiteX288" fmla="*/ 1795097 w 3070954"/>
              <a:gd name="connsiteY288" fmla="*/ 1360005 h 3009544"/>
              <a:gd name="connsiteX289" fmla="*/ 1798776 w 3070954"/>
              <a:gd name="connsiteY289" fmla="*/ 1327845 h 3009544"/>
              <a:gd name="connsiteX290" fmla="*/ 1474456 w 3070954"/>
              <a:gd name="connsiteY290" fmla="*/ 1366885 h 3009544"/>
              <a:gd name="connsiteX291" fmla="*/ 1389496 w 3070954"/>
              <a:gd name="connsiteY291" fmla="*/ 1299685 h 3009544"/>
              <a:gd name="connsiteX292" fmla="*/ 1322296 w 3070954"/>
              <a:gd name="connsiteY292" fmla="*/ 1221925 h 3009544"/>
              <a:gd name="connsiteX293" fmla="*/ 1276217 w 3070954"/>
              <a:gd name="connsiteY293" fmla="*/ 1129925 h 3009544"/>
              <a:gd name="connsiteX294" fmla="*/ 1261336 w 3070954"/>
              <a:gd name="connsiteY294" fmla="*/ 1021445 h 3009544"/>
              <a:gd name="connsiteX295" fmla="*/ 1255257 w 3070954"/>
              <a:gd name="connsiteY295" fmla="*/ 903685 h 3009544"/>
              <a:gd name="connsiteX296" fmla="*/ 1282937 w 3070954"/>
              <a:gd name="connsiteY296" fmla="*/ 798565 h 3009544"/>
              <a:gd name="connsiteX297" fmla="*/ 1301656 w 3070954"/>
              <a:gd name="connsiteY297" fmla="*/ 749605 h 3009544"/>
              <a:gd name="connsiteX298" fmla="*/ 1306456 w 3070954"/>
              <a:gd name="connsiteY298" fmla="*/ 738725 h 3009544"/>
              <a:gd name="connsiteX299" fmla="*/ 1344696 w 3070954"/>
              <a:gd name="connsiteY299" fmla="*/ 701765 h 3009544"/>
              <a:gd name="connsiteX300" fmla="*/ 1377336 w 3070954"/>
              <a:gd name="connsiteY300" fmla="*/ 664005 h 3009544"/>
              <a:gd name="connsiteX301" fmla="*/ 1384376 w 3070954"/>
              <a:gd name="connsiteY301" fmla="*/ 661605 h 3009544"/>
              <a:gd name="connsiteX302" fmla="*/ 1413336 w 3070954"/>
              <a:gd name="connsiteY302" fmla="*/ 630565 h 3009544"/>
              <a:gd name="connsiteX303" fmla="*/ 1401656 w 3070954"/>
              <a:gd name="connsiteY303" fmla="*/ 662405 h 3009544"/>
              <a:gd name="connsiteX304" fmla="*/ 1378296 w 3070954"/>
              <a:gd name="connsiteY304" fmla="*/ 797445 h 3009544"/>
              <a:gd name="connsiteX305" fmla="*/ 1377977 w 3070954"/>
              <a:gd name="connsiteY305" fmla="*/ 936965 h 3009544"/>
              <a:gd name="connsiteX306" fmla="*/ 1387897 w 3070954"/>
              <a:gd name="connsiteY306" fmla="*/ 1082405 h 3009544"/>
              <a:gd name="connsiteX307" fmla="*/ 1435257 w 3070954"/>
              <a:gd name="connsiteY307" fmla="*/ 1199845 h 3009544"/>
              <a:gd name="connsiteX308" fmla="*/ 1464696 w 3070954"/>
              <a:gd name="connsiteY308" fmla="*/ 1252005 h 3009544"/>
              <a:gd name="connsiteX309" fmla="*/ 1504696 w 3070954"/>
              <a:gd name="connsiteY309" fmla="*/ 1304645 h 3009544"/>
              <a:gd name="connsiteX310" fmla="*/ 1553656 w 3070954"/>
              <a:gd name="connsiteY310" fmla="*/ 1348325 h 3009544"/>
              <a:gd name="connsiteX311" fmla="*/ 1602137 w 3070954"/>
              <a:gd name="connsiteY311" fmla="*/ 1383205 h 3009544"/>
              <a:gd name="connsiteX312" fmla="*/ 1655897 w 3070954"/>
              <a:gd name="connsiteY312" fmla="*/ 1403525 h 3009544"/>
              <a:gd name="connsiteX313" fmla="*/ 1679576 w 3070954"/>
              <a:gd name="connsiteY313" fmla="*/ 1409765 h 3009544"/>
              <a:gd name="connsiteX314" fmla="*/ 1639416 w 3070954"/>
              <a:gd name="connsiteY314" fmla="*/ 1410725 h 3009544"/>
              <a:gd name="connsiteX315" fmla="*/ 1513496 w 3070954"/>
              <a:gd name="connsiteY315" fmla="*/ 1388805 h 3009544"/>
              <a:gd name="connsiteX316" fmla="*/ 1474456 w 3070954"/>
              <a:gd name="connsiteY316" fmla="*/ 1366885 h 3009544"/>
              <a:gd name="connsiteX317" fmla="*/ 1665816 w 3070954"/>
              <a:gd name="connsiteY317" fmla="*/ 1389285 h 3009544"/>
              <a:gd name="connsiteX318" fmla="*/ 1640057 w 3070954"/>
              <a:gd name="connsiteY318" fmla="*/ 1383525 h 3009544"/>
              <a:gd name="connsiteX319" fmla="*/ 1613496 w 3070954"/>
              <a:gd name="connsiteY319" fmla="*/ 1371045 h 3009544"/>
              <a:gd name="connsiteX320" fmla="*/ 1563576 w 3070954"/>
              <a:gd name="connsiteY320" fmla="*/ 1336005 h 3009544"/>
              <a:gd name="connsiteX321" fmla="*/ 1513816 w 3070954"/>
              <a:gd name="connsiteY321" fmla="*/ 1290085 h 3009544"/>
              <a:gd name="connsiteX322" fmla="*/ 1480536 w 3070954"/>
              <a:gd name="connsiteY322" fmla="*/ 1247525 h 3009544"/>
              <a:gd name="connsiteX323" fmla="*/ 1449656 w 3070954"/>
              <a:gd name="connsiteY323" fmla="*/ 1193765 h 3009544"/>
              <a:gd name="connsiteX324" fmla="*/ 1401496 w 3070954"/>
              <a:gd name="connsiteY324" fmla="*/ 1073925 h 3009544"/>
              <a:gd name="connsiteX325" fmla="*/ 1393177 w 3070954"/>
              <a:gd name="connsiteY325" fmla="*/ 948005 h 3009544"/>
              <a:gd name="connsiteX326" fmla="*/ 1390296 w 3070954"/>
              <a:gd name="connsiteY326" fmla="*/ 811845 h 3009544"/>
              <a:gd name="connsiteX327" fmla="*/ 1408536 w 3070954"/>
              <a:gd name="connsiteY327" fmla="*/ 681445 h 3009544"/>
              <a:gd name="connsiteX328" fmla="*/ 1422776 w 3070954"/>
              <a:gd name="connsiteY328" fmla="*/ 630565 h 3009544"/>
              <a:gd name="connsiteX329" fmla="*/ 1427257 w 3070954"/>
              <a:gd name="connsiteY329" fmla="*/ 615365 h 3009544"/>
              <a:gd name="connsiteX330" fmla="*/ 1432536 w 3070954"/>
              <a:gd name="connsiteY330" fmla="*/ 608805 h 3009544"/>
              <a:gd name="connsiteX331" fmla="*/ 1439257 w 3070954"/>
              <a:gd name="connsiteY331" fmla="*/ 598405 h 3009544"/>
              <a:gd name="connsiteX332" fmla="*/ 1444856 w 3070954"/>
              <a:gd name="connsiteY332" fmla="*/ 594245 h 3009544"/>
              <a:gd name="connsiteX333" fmla="*/ 1455097 w 3070954"/>
              <a:gd name="connsiteY333" fmla="*/ 573925 h 3009544"/>
              <a:gd name="connsiteX334" fmla="*/ 1469496 w 3070954"/>
              <a:gd name="connsiteY334" fmla="*/ 590245 h 3009544"/>
              <a:gd name="connsiteX335" fmla="*/ 1480856 w 3070954"/>
              <a:gd name="connsiteY335" fmla="*/ 597605 h 3009544"/>
              <a:gd name="connsiteX336" fmla="*/ 1509816 w 3070954"/>
              <a:gd name="connsiteY336" fmla="*/ 647365 h 3009544"/>
              <a:gd name="connsiteX337" fmla="*/ 1561336 w 3070954"/>
              <a:gd name="connsiteY337" fmla="*/ 751365 h 3009544"/>
              <a:gd name="connsiteX338" fmla="*/ 1605656 w 3070954"/>
              <a:gd name="connsiteY338" fmla="*/ 860325 h 3009544"/>
              <a:gd name="connsiteX339" fmla="*/ 1651257 w 3070954"/>
              <a:gd name="connsiteY339" fmla="*/ 971205 h 3009544"/>
              <a:gd name="connsiteX340" fmla="*/ 1666456 w 3070954"/>
              <a:gd name="connsiteY340" fmla="*/ 1084325 h 3009544"/>
              <a:gd name="connsiteX341" fmla="*/ 1690296 w 3070954"/>
              <a:gd name="connsiteY341" fmla="*/ 1188005 h 3009544"/>
              <a:gd name="connsiteX342" fmla="*/ 1708376 w 3070954"/>
              <a:gd name="connsiteY342" fmla="*/ 1299365 h 3009544"/>
              <a:gd name="connsiteX343" fmla="*/ 1713977 w 3070954"/>
              <a:gd name="connsiteY343" fmla="*/ 1355525 h 3009544"/>
              <a:gd name="connsiteX344" fmla="*/ 1717656 w 3070954"/>
              <a:gd name="connsiteY344" fmla="*/ 1387685 h 3009544"/>
              <a:gd name="connsiteX345" fmla="*/ 1717017 w 3070954"/>
              <a:gd name="connsiteY345" fmla="*/ 1400965 h 3009544"/>
              <a:gd name="connsiteX346" fmla="*/ 1716856 w 3070954"/>
              <a:gd name="connsiteY346" fmla="*/ 1401125 h 3009544"/>
              <a:gd name="connsiteX347" fmla="*/ 1709336 w 3070954"/>
              <a:gd name="connsiteY347" fmla="*/ 1402885 h 3009544"/>
              <a:gd name="connsiteX348" fmla="*/ 1665816 w 3070954"/>
              <a:gd name="connsiteY348" fmla="*/ 1389285 h 3009544"/>
              <a:gd name="connsiteX349" fmla="*/ 1722616 w 3070954"/>
              <a:gd name="connsiteY349" fmla="*/ 1279045 h 3009544"/>
              <a:gd name="connsiteX350" fmla="*/ 1713496 w 3070954"/>
              <a:gd name="connsiteY350" fmla="*/ 1216485 h 3009544"/>
              <a:gd name="connsiteX351" fmla="*/ 1689177 w 3070954"/>
              <a:gd name="connsiteY351" fmla="*/ 1106725 h 3009544"/>
              <a:gd name="connsiteX352" fmla="*/ 1669977 w 3070954"/>
              <a:gd name="connsiteY352" fmla="*/ 981445 h 3009544"/>
              <a:gd name="connsiteX353" fmla="*/ 1627897 w 3070954"/>
              <a:gd name="connsiteY353" fmla="*/ 871845 h 3009544"/>
              <a:gd name="connsiteX354" fmla="*/ 1577336 w 3070954"/>
              <a:gd name="connsiteY354" fmla="*/ 751845 h 3009544"/>
              <a:gd name="connsiteX355" fmla="*/ 1518616 w 3070954"/>
              <a:gd name="connsiteY355" fmla="*/ 636645 h 3009544"/>
              <a:gd name="connsiteX356" fmla="*/ 1502296 w 3070954"/>
              <a:gd name="connsiteY356" fmla="*/ 608965 h 3009544"/>
              <a:gd name="connsiteX357" fmla="*/ 1573816 w 3070954"/>
              <a:gd name="connsiteY357" fmla="*/ 630565 h 3009544"/>
              <a:gd name="connsiteX358" fmla="*/ 1578137 w 3070954"/>
              <a:gd name="connsiteY358" fmla="*/ 631525 h 3009544"/>
              <a:gd name="connsiteX359" fmla="*/ 1648376 w 3070954"/>
              <a:gd name="connsiteY359" fmla="*/ 704485 h 3009544"/>
              <a:gd name="connsiteX360" fmla="*/ 1693977 w 3070954"/>
              <a:gd name="connsiteY360" fmla="*/ 796005 h 3009544"/>
              <a:gd name="connsiteX361" fmla="*/ 1734776 w 3070954"/>
              <a:gd name="connsiteY361" fmla="*/ 890725 h 3009544"/>
              <a:gd name="connsiteX362" fmla="*/ 1763097 w 3070954"/>
              <a:gd name="connsiteY362" fmla="*/ 994885 h 3009544"/>
              <a:gd name="connsiteX363" fmla="*/ 1781336 w 3070954"/>
              <a:gd name="connsiteY363" fmla="*/ 1200645 h 3009544"/>
              <a:gd name="connsiteX364" fmla="*/ 1783576 w 3070954"/>
              <a:gd name="connsiteY364" fmla="*/ 1253765 h 3009544"/>
              <a:gd name="connsiteX365" fmla="*/ 1781656 w 3070954"/>
              <a:gd name="connsiteY365" fmla="*/ 1303205 h 3009544"/>
              <a:gd name="connsiteX366" fmla="*/ 1776696 w 3070954"/>
              <a:gd name="connsiteY366" fmla="*/ 1358085 h 3009544"/>
              <a:gd name="connsiteX367" fmla="*/ 1771576 w 3070954"/>
              <a:gd name="connsiteY367" fmla="*/ 1379205 h 3009544"/>
              <a:gd name="connsiteX368" fmla="*/ 1771257 w 3070954"/>
              <a:gd name="connsiteY368" fmla="*/ 1380325 h 3009544"/>
              <a:gd name="connsiteX369" fmla="*/ 1768217 w 3070954"/>
              <a:gd name="connsiteY369" fmla="*/ 1383045 h 3009544"/>
              <a:gd name="connsiteX370" fmla="*/ 1767576 w 3070954"/>
              <a:gd name="connsiteY370" fmla="*/ 1383365 h 3009544"/>
              <a:gd name="connsiteX371" fmla="*/ 1750456 w 3070954"/>
              <a:gd name="connsiteY371" fmla="*/ 1390085 h 3009544"/>
              <a:gd name="connsiteX372" fmla="*/ 1736057 w 3070954"/>
              <a:gd name="connsiteY372" fmla="*/ 1393285 h 3009544"/>
              <a:gd name="connsiteX373" fmla="*/ 1734296 w 3070954"/>
              <a:gd name="connsiteY373" fmla="*/ 1385125 h 3009544"/>
              <a:gd name="connsiteX374" fmla="*/ 1730456 w 3070954"/>
              <a:gd name="connsiteY374" fmla="*/ 1340965 h 3009544"/>
              <a:gd name="connsiteX375" fmla="*/ 1722616 w 3070954"/>
              <a:gd name="connsiteY375" fmla="*/ 1279045 h 3009544"/>
              <a:gd name="connsiteX376" fmla="*/ 1949816 w 3070954"/>
              <a:gd name="connsiteY376" fmla="*/ 1187205 h 3009544"/>
              <a:gd name="connsiteX377" fmla="*/ 1958616 w 3070954"/>
              <a:gd name="connsiteY377" fmla="*/ 1081605 h 3009544"/>
              <a:gd name="connsiteX378" fmla="*/ 1947576 w 3070954"/>
              <a:gd name="connsiteY378" fmla="*/ 972965 h 3009544"/>
              <a:gd name="connsiteX379" fmla="*/ 1916856 w 3070954"/>
              <a:gd name="connsiteY379" fmla="*/ 874085 h 3009544"/>
              <a:gd name="connsiteX380" fmla="*/ 1869656 w 3070954"/>
              <a:gd name="connsiteY380" fmla="*/ 780485 h 3009544"/>
              <a:gd name="connsiteX381" fmla="*/ 1800057 w 3070954"/>
              <a:gd name="connsiteY381" fmla="*/ 705925 h 3009544"/>
              <a:gd name="connsiteX382" fmla="*/ 1771257 w 3070954"/>
              <a:gd name="connsiteY382" fmla="*/ 681765 h 3009544"/>
              <a:gd name="connsiteX383" fmla="*/ 1861977 w 3070954"/>
              <a:gd name="connsiteY383" fmla="*/ 732965 h 3009544"/>
              <a:gd name="connsiteX384" fmla="*/ 1960376 w 3070954"/>
              <a:gd name="connsiteY384" fmla="*/ 837285 h 3009544"/>
              <a:gd name="connsiteX385" fmla="*/ 1993177 w 3070954"/>
              <a:gd name="connsiteY385" fmla="*/ 903845 h 3009544"/>
              <a:gd name="connsiteX386" fmla="*/ 2007097 w 3070954"/>
              <a:gd name="connsiteY386" fmla="*/ 984965 h 3009544"/>
              <a:gd name="connsiteX387" fmla="*/ 1998296 w 3070954"/>
              <a:gd name="connsiteY387" fmla="*/ 1142085 h 3009544"/>
              <a:gd name="connsiteX388" fmla="*/ 1938776 w 3070954"/>
              <a:gd name="connsiteY388" fmla="*/ 1262725 h 3009544"/>
              <a:gd name="connsiteX389" fmla="*/ 1949816 w 3070954"/>
              <a:gd name="connsiteY389" fmla="*/ 1187205 h 3009544"/>
              <a:gd name="connsiteX390" fmla="*/ 2968857 w 3070954"/>
              <a:gd name="connsiteY390" fmla="*/ 994885 h 3009544"/>
              <a:gd name="connsiteX391" fmla="*/ 2963736 w 3070954"/>
              <a:gd name="connsiteY391" fmla="*/ 1000645 h 3009544"/>
              <a:gd name="connsiteX392" fmla="*/ 2962616 w 3070954"/>
              <a:gd name="connsiteY392" fmla="*/ 999205 h 3009544"/>
              <a:gd name="connsiteX393" fmla="*/ 2968857 w 3070954"/>
              <a:gd name="connsiteY393" fmla="*/ 994885 h 3009544"/>
              <a:gd name="connsiteX394" fmla="*/ 2943416 w 3070954"/>
              <a:gd name="connsiteY394" fmla="*/ 1024165 h 3009544"/>
              <a:gd name="connsiteX395" fmla="*/ 2918296 w 3070954"/>
              <a:gd name="connsiteY395" fmla="*/ 1053125 h 3009544"/>
              <a:gd name="connsiteX396" fmla="*/ 2873177 w 3070954"/>
              <a:gd name="connsiteY396" fmla="*/ 1106725 h 3009544"/>
              <a:gd name="connsiteX397" fmla="*/ 2815257 w 3070954"/>
              <a:gd name="connsiteY397" fmla="*/ 1163365 h 3009544"/>
              <a:gd name="connsiteX398" fmla="*/ 2764857 w 3070954"/>
              <a:gd name="connsiteY398" fmla="*/ 1213125 h 3009544"/>
              <a:gd name="connsiteX399" fmla="*/ 2697656 w 3070954"/>
              <a:gd name="connsiteY399" fmla="*/ 1265765 h 3009544"/>
              <a:gd name="connsiteX400" fmla="*/ 2631097 w 3070954"/>
              <a:gd name="connsiteY400" fmla="*/ 1312005 h 3009544"/>
              <a:gd name="connsiteX401" fmla="*/ 2552057 w 3070954"/>
              <a:gd name="connsiteY401" fmla="*/ 1348645 h 3009544"/>
              <a:gd name="connsiteX402" fmla="*/ 2387097 w 3070954"/>
              <a:gd name="connsiteY402" fmla="*/ 1379845 h 3009544"/>
              <a:gd name="connsiteX403" fmla="*/ 2211736 w 3070954"/>
              <a:gd name="connsiteY403" fmla="*/ 1378405 h 3009544"/>
              <a:gd name="connsiteX404" fmla="*/ 2045336 w 3070954"/>
              <a:gd name="connsiteY404" fmla="*/ 1359845 h 3009544"/>
              <a:gd name="connsiteX405" fmla="*/ 1975897 w 3070954"/>
              <a:gd name="connsiteY405" fmla="*/ 1363045 h 3009544"/>
              <a:gd name="connsiteX406" fmla="*/ 1910456 w 3070954"/>
              <a:gd name="connsiteY406" fmla="*/ 1362885 h 3009544"/>
              <a:gd name="connsiteX407" fmla="*/ 1874456 w 3070954"/>
              <a:gd name="connsiteY407" fmla="*/ 1366565 h 3009544"/>
              <a:gd name="connsiteX408" fmla="*/ 1858776 w 3070954"/>
              <a:gd name="connsiteY408" fmla="*/ 1369605 h 3009544"/>
              <a:gd name="connsiteX409" fmla="*/ 1855736 w 3070954"/>
              <a:gd name="connsiteY409" fmla="*/ 1369445 h 3009544"/>
              <a:gd name="connsiteX410" fmla="*/ 1866137 w 3070954"/>
              <a:gd name="connsiteY410" fmla="*/ 1362085 h 3009544"/>
              <a:gd name="connsiteX411" fmla="*/ 1915097 w 3070954"/>
              <a:gd name="connsiteY411" fmla="*/ 1325925 h 3009544"/>
              <a:gd name="connsiteX412" fmla="*/ 1917017 w 3070954"/>
              <a:gd name="connsiteY412" fmla="*/ 1325125 h 3009544"/>
              <a:gd name="connsiteX413" fmla="*/ 1922137 w 3070954"/>
              <a:gd name="connsiteY413" fmla="*/ 1322725 h 3009544"/>
              <a:gd name="connsiteX414" fmla="*/ 1964536 w 3070954"/>
              <a:gd name="connsiteY414" fmla="*/ 1304005 h 3009544"/>
              <a:gd name="connsiteX415" fmla="*/ 2003576 w 3070954"/>
              <a:gd name="connsiteY415" fmla="*/ 1297605 h 3009544"/>
              <a:gd name="connsiteX416" fmla="*/ 2044057 w 3070954"/>
              <a:gd name="connsiteY416" fmla="*/ 1294085 h 3009544"/>
              <a:gd name="connsiteX417" fmla="*/ 2197656 w 3070954"/>
              <a:gd name="connsiteY417" fmla="*/ 1304165 h 3009544"/>
              <a:gd name="connsiteX418" fmla="*/ 2267576 w 3070954"/>
              <a:gd name="connsiteY418" fmla="*/ 1307365 h 3009544"/>
              <a:gd name="connsiteX419" fmla="*/ 2341177 w 3070954"/>
              <a:gd name="connsiteY419" fmla="*/ 1313285 h 3009544"/>
              <a:gd name="connsiteX420" fmla="*/ 2492057 w 3070954"/>
              <a:gd name="connsiteY420" fmla="*/ 1313445 h 3009544"/>
              <a:gd name="connsiteX421" fmla="*/ 2623576 w 3070954"/>
              <a:gd name="connsiteY421" fmla="*/ 1272005 h 3009544"/>
              <a:gd name="connsiteX422" fmla="*/ 2684857 w 3070954"/>
              <a:gd name="connsiteY422" fmla="*/ 1239045 h 3009544"/>
              <a:gd name="connsiteX423" fmla="*/ 2742296 w 3070954"/>
              <a:gd name="connsiteY423" fmla="*/ 1190885 h 3009544"/>
              <a:gd name="connsiteX424" fmla="*/ 2850937 w 3070954"/>
              <a:gd name="connsiteY424" fmla="*/ 1095205 h 3009544"/>
              <a:gd name="connsiteX425" fmla="*/ 2943416 w 3070954"/>
              <a:gd name="connsiteY425" fmla="*/ 1024165 h 3009544"/>
              <a:gd name="connsiteX426" fmla="*/ 2777977 w 3070954"/>
              <a:gd name="connsiteY426" fmla="*/ 1113925 h 3009544"/>
              <a:gd name="connsiteX427" fmla="*/ 2802296 w 3070954"/>
              <a:gd name="connsiteY427" fmla="*/ 1100485 h 3009544"/>
              <a:gd name="connsiteX428" fmla="*/ 2831576 w 3070954"/>
              <a:gd name="connsiteY428" fmla="*/ 1085605 h 3009544"/>
              <a:gd name="connsiteX429" fmla="*/ 2893496 w 3070954"/>
              <a:gd name="connsiteY429" fmla="*/ 1043205 h 3009544"/>
              <a:gd name="connsiteX430" fmla="*/ 2903897 w 3070954"/>
              <a:gd name="connsiteY430" fmla="*/ 1036805 h 3009544"/>
              <a:gd name="connsiteX431" fmla="*/ 2901177 w 3070954"/>
              <a:gd name="connsiteY431" fmla="*/ 1038885 h 3009544"/>
              <a:gd name="connsiteX432" fmla="*/ 2846137 w 3070954"/>
              <a:gd name="connsiteY432" fmla="*/ 1078405 h 3009544"/>
              <a:gd name="connsiteX433" fmla="*/ 2791257 w 3070954"/>
              <a:gd name="connsiteY433" fmla="*/ 1123365 h 3009544"/>
              <a:gd name="connsiteX434" fmla="*/ 2737496 w 3070954"/>
              <a:gd name="connsiteY434" fmla="*/ 1173605 h 3009544"/>
              <a:gd name="connsiteX435" fmla="*/ 2686137 w 3070954"/>
              <a:gd name="connsiteY435" fmla="*/ 1218725 h 3009544"/>
              <a:gd name="connsiteX436" fmla="*/ 2623257 w 3070954"/>
              <a:gd name="connsiteY436" fmla="*/ 1254245 h 3009544"/>
              <a:gd name="connsiteX437" fmla="*/ 2484057 w 3070954"/>
              <a:gd name="connsiteY437" fmla="*/ 1298565 h 3009544"/>
              <a:gd name="connsiteX438" fmla="*/ 2337496 w 3070954"/>
              <a:gd name="connsiteY438" fmla="*/ 1298245 h 3009544"/>
              <a:gd name="connsiteX439" fmla="*/ 2269977 w 3070954"/>
              <a:gd name="connsiteY439" fmla="*/ 1293285 h 3009544"/>
              <a:gd name="connsiteX440" fmla="*/ 2193816 w 3070954"/>
              <a:gd name="connsiteY440" fmla="*/ 1290245 h 3009544"/>
              <a:gd name="connsiteX441" fmla="*/ 2049656 w 3070954"/>
              <a:gd name="connsiteY441" fmla="*/ 1281605 h 3009544"/>
              <a:gd name="connsiteX442" fmla="*/ 1977977 w 3070954"/>
              <a:gd name="connsiteY442" fmla="*/ 1288965 h 3009544"/>
              <a:gd name="connsiteX443" fmla="*/ 1950296 w 3070954"/>
              <a:gd name="connsiteY443" fmla="*/ 1298245 h 3009544"/>
              <a:gd name="connsiteX444" fmla="*/ 1938937 w 3070954"/>
              <a:gd name="connsiteY444" fmla="*/ 1305445 h 3009544"/>
              <a:gd name="connsiteX445" fmla="*/ 1968376 w 3070954"/>
              <a:gd name="connsiteY445" fmla="*/ 1272485 h 3009544"/>
              <a:gd name="connsiteX446" fmla="*/ 1978296 w 3070954"/>
              <a:gd name="connsiteY446" fmla="*/ 1258565 h 3009544"/>
              <a:gd name="connsiteX447" fmla="*/ 2009177 w 3070954"/>
              <a:gd name="connsiteY447" fmla="*/ 1249125 h 3009544"/>
              <a:gd name="connsiteX448" fmla="*/ 2063416 w 3070954"/>
              <a:gd name="connsiteY448" fmla="*/ 1237605 h 3009544"/>
              <a:gd name="connsiteX449" fmla="*/ 2123097 w 3070954"/>
              <a:gd name="connsiteY449" fmla="*/ 1237125 h 3009544"/>
              <a:gd name="connsiteX450" fmla="*/ 2173977 w 3070954"/>
              <a:gd name="connsiteY450" fmla="*/ 1235205 h 3009544"/>
              <a:gd name="connsiteX451" fmla="*/ 2295416 w 3070954"/>
              <a:gd name="connsiteY451" fmla="*/ 1238565 h 3009544"/>
              <a:gd name="connsiteX452" fmla="*/ 2349977 w 3070954"/>
              <a:gd name="connsiteY452" fmla="*/ 1236805 h 3009544"/>
              <a:gd name="connsiteX453" fmla="*/ 2412536 w 3070954"/>
              <a:gd name="connsiteY453" fmla="*/ 1237605 h 3009544"/>
              <a:gd name="connsiteX454" fmla="*/ 2640057 w 3070954"/>
              <a:gd name="connsiteY454" fmla="*/ 1180805 h 3009544"/>
              <a:gd name="connsiteX455" fmla="*/ 2683097 w 3070954"/>
              <a:gd name="connsiteY455" fmla="*/ 1158885 h 3009544"/>
              <a:gd name="connsiteX456" fmla="*/ 2738137 w 3070954"/>
              <a:gd name="connsiteY456" fmla="*/ 1130725 h 3009544"/>
              <a:gd name="connsiteX457" fmla="*/ 2777977 w 3070954"/>
              <a:gd name="connsiteY457" fmla="*/ 1113925 h 3009544"/>
              <a:gd name="connsiteX458" fmla="*/ 2695416 w 3070954"/>
              <a:gd name="connsiteY458" fmla="*/ 1125125 h 3009544"/>
              <a:gd name="connsiteX459" fmla="*/ 2714937 w 3070954"/>
              <a:gd name="connsiteY459" fmla="*/ 1122885 h 3009544"/>
              <a:gd name="connsiteX460" fmla="*/ 2628696 w 3070954"/>
              <a:gd name="connsiteY460" fmla="*/ 1168645 h 3009544"/>
              <a:gd name="connsiteX461" fmla="*/ 2380857 w 3070954"/>
              <a:gd name="connsiteY461" fmla="*/ 1223205 h 3009544"/>
              <a:gd name="connsiteX462" fmla="*/ 2328217 w 3070954"/>
              <a:gd name="connsiteY462" fmla="*/ 1224005 h 3009544"/>
              <a:gd name="connsiteX463" fmla="*/ 2262137 w 3070954"/>
              <a:gd name="connsiteY463" fmla="*/ 1223045 h 3009544"/>
              <a:gd name="connsiteX464" fmla="*/ 2144217 w 3070954"/>
              <a:gd name="connsiteY464" fmla="*/ 1224325 h 3009544"/>
              <a:gd name="connsiteX465" fmla="*/ 2050456 w 3070954"/>
              <a:gd name="connsiteY465" fmla="*/ 1227845 h 3009544"/>
              <a:gd name="connsiteX466" fmla="*/ 2071736 w 3070954"/>
              <a:gd name="connsiteY466" fmla="*/ 1217285 h 3009544"/>
              <a:gd name="connsiteX467" fmla="*/ 2081336 w 3070954"/>
              <a:gd name="connsiteY467" fmla="*/ 1212645 h 3009544"/>
              <a:gd name="connsiteX468" fmla="*/ 2096536 w 3070954"/>
              <a:gd name="connsiteY468" fmla="*/ 1208325 h 3009544"/>
              <a:gd name="connsiteX469" fmla="*/ 2170296 w 3070954"/>
              <a:gd name="connsiteY469" fmla="*/ 1196165 h 3009544"/>
              <a:gd name="connsiteX470" fmla="*/ 2242776 w 3070954"/>
              <a:gd name="connsiteY470" fmla="*/ 1184485 h 3009544"/>
              <a:gd name="connsiteX471" fmla="*/ 2394937 w 3070954"/>
              <a:gd name="connsiteY471" fmla="*/ 1168485 h 3009544"/>
              <a:gd name="connsiteX472" fmla="*/ 2466616 w 3070954"/>
              <a:gd name="connsiteY472" fmla="*/ 1159845 h 3009544"/>
              <a:gd name="connsiteX473" fmla="*/ 2540376 w 3070954"/>
              <a:gd name="connsiteY473" fmla="*/ 1144805 h 3009544"/>
              <a:gd name="connsiteX474" fmla="*/ 2560696 w 3070954"/>
              <a:gd name="connsiteY474" fmla="*/ 1143045 h 3009544"/>
              <a:gd name="connsiteX475" fmla="*/ 2578456 w 3070954"/>
              <a:gd name="connsiteY475" fmla="*/ 1138565 h 3009544"/>
              <a:gd name="connsiteX476" fmla="*/ 2646456 w 3070954"/>
              <a:gd name="connsiteY476" fmla="*/ 1130085 h 3009544"/>
              <a:gd name="connsiteX477" fmla="*/ 2660217 w 3070954"/>
              <a:gd name="connsiteY477" fmla="*/ 1130245 h 3009544"/>
              <a:gd name="connsiteX478" fmla="*/ 2695416 w 3070954"/>
              <a:gd name="connsiteY478" fmla="*/ 1125125 h 3009544"/>
              <a:gd name="connsiteX479" fmla="*/ 2908057 w 3070954"/>
              <a:gd name="connsiteY479" fmla="*/ 752165 h 3009544"/>
              <a:gd name="connsiteX480" fmla="*/ 2841816 w 3070954"/>
              <a:gd name="connsiteY480" fmla="*/ 887685 h 3009544"/>
              <a:gd name="connsiteX481" fmla="*/ 2744696 w 3070954"/>
              <a:gd name="connsiteY481" fmla="*/ 1006245 h 3009544"/>
              <a:gd name="connsiteX482" fmla="*/ 2626456 w 3070954"/>
              <a:gd name="connsiteY482" fmla="*/ 1107045 h 3009544"/>
              <a:gd name="connsiteX483" fmla="*/ 2578776 w 3070954"/>
              <a:gd name="connsiteY483" fmla="*/ 1113445 h 3009544"/>
              <a:gd name="connsiteX484" fmla="*/ 2611257 w 3070954"/>
              <a:gd name="connsiteY484" fmla="*/ 1094885 h 3009544"/>
              <a:gd name="connsiteX485" fmla="*/ 2656376 w 3070954"/>
              <a:gd name="connsiteY485" fmla="*/ 1057765 h 3009544"/>
              <a:gd name="connsiteX486" fmla="*/ 2702776 w 3070954"/>
              <a:gd name="connsiteY486" fmla="*/ 1016165 h 3009544"/>
              <a:gd name="connsiteX487" fmla="*/ 2791576 w 3070954"/>
              <a:gd name="connsiteY487" fmla="*/ 913605 h 3009544"/>
              <a:gd name="connsiteX488" fmla="*/ 2874776 w 3070954"/>
              <a:gd name="connsiteY488" fmla="*/ 792165 h 3009544"/>
              <a:gd name="connsiteX489" fmla="*/ 2910137 w 3070954"/>
              <a:gd name="connsiteY489" fmla="*/ 727525 h 3009544"/>
              <a:gd name="connsiteX490" fmla="*/ 2945017 w 3070954"/>
              <a:gd name="connsiteY490" fmla="*/ 666565 h 3009544"/>
              <a:gd name="connsiteX491" fmla="*/ 2945177 w 3070954"/>
              <a:gd name="connsiteY491" fmla="*/ 666405 h 3009544"/>
              <a:gd name="connsiteX492" fmla="*/ 2908057 w 3070954"/>
              <a:gd name="connsiteY492" fmla="*/ 752165 h 3009544"/>
              <a:gd name="connsiteX493" fmla="*/ 3033177 w 3070954"/>
              <a:gd name="connsiteY493" fmla="*/ 264645 h 3009544"/>
              <a:gd name="connsiteX494" fmla="*/ 3005336 w 3070954"/>
              <a:gd name="connsiteY494" fmla="*/ 442885 h 3009544"/>
              <a:gd name="connsiteX495" fmla="*/ 2979416 w 3070954"/>
              <a:gd name="connsiteY495" fmla="*/ 524645 h 3009544"/>
              <a:gd name="connsiteX496" fmla="*/ 2963576 w 3070954"/>
              <a:gd name="connsiteY496" fmla="*/ 587365 h 3009544"/>
              <a:gd name="connsiteX497" fmla="*/ 2950296 w 3070954"/>
              <a:gd name="connsiteY497" fmla="*/ 613765 h 3009544"/>
              <a:gd name="connsiteX498" fmla="*/ 2939257 w 3070954"/>
              <a:gd name="connsiteY498" fmla="*/ 644165 h 3009544"/>
              <a:gd name="connsiteX499" fmla="*/ 2907416 w 3070954"/>
              <a:gd name="connsiteY499" fmla="*/ 702405 h 3009544"/>
              <a:gd name="connsiteX500" fmla="*/ 2869977 w 3070954"/>
              <a:gd name="connsiteY500" fmla="*/ 773125 h 3009544"/>
              <a:gd name="connsiteX501" fmla="*/ 2711097 w 3070954"/>
              <a:gd name="connsiteY501" fmla="*/ 987525 h 3009544"/>
              <a:gd name="connsiteX502" fmla="*/ 2665017 w 3070954"/>
              <a:gd name="connsiteY502" fmla="*/ 1030405 h 3009544"/>
              <a:gd name="connsiteX503" fmla="*/ 2621496 w 3070954"/>
              <a:gd name="connsiteY503" fmla="*/ 1070885 h 3009544"/>
              <a:gd name="connsiteX504" fmla="*/ 2569816 w 3070954"/>
              <a:gd name="connsiteY504" fmla="*/ 1104005 h 3009544"/>
              <a:gd name="connsiteX505" fmla="*/ 2538137 w 3070954"/>
              <a:gd name="connsiteY505" fmla="*/ 1116965 h 3009544"/>
              <a:gd name="connsiteX506" fmla="*/ 2509816 w 3070954"/>
              <a:gd name="connsiteY506" fmla="*/ 1119685 h 3009544"/>
              <a:gd name="connsiteX507" fmla="*/ 2468536 w 3070954"/>
              <a:gd name="connsiteY507" fmla="*/ 1131045 h 3009544"/>
              <a:gd name="connsiteX508" fmla="*/ 2404217 w 3070954"/>
              <a:gd name="connsiteY508" fmla="*/ 1138885 h 3009544"/>
              <a:gd name="connsiteX509" fmla="*/ 2375736 w 3070954"/>
              <a:gd name="connsiteY509" fmla="*/ 1142085 h 3009544"/>
              <a:gd name="connsiteX510" fmla="*/ 2379416 w 3070954"/>
              <a:gd name="connsiteY510" fmla="*/ 1140645 h 3009544"/>
              <a:gd name="connsiteX511" fmla="*/ 2413656 w 3070954"/>
              <a:gd name="connsiteY511" fmla="*/ 1120165 h 3009544"/>
              <a:gd name="connsiteX512" fmla="*/ 2467257 w 3070954"/>
              <a:gd name="connsiteY512" fmla="*/ 1088485 h 3009544"/>
              <a:gd name="connsiteX513" fmla="*/ 2526296 w 3070954"/>
              <a:gd name="connsiteY513" fmla="*/ 1042405 h 3009544"/>
              <a:gd name="connsiteX514" fmla="*/ 2581977 w 3070954"/>
              <a:gd name="connsiteY514" fmla="*/ 991205 h 3009544"/>
              <a:gd name="connsiteX515" fmla="*/ 2636696 w 3070954"/>
              <a:gd name="connsiteY515" fmla="*/ 922725 h 3009544"/>
              <a:gd name="connsiteX516" fmla="*/ 2723097 w 3070954"/>
              <a:gd name="connsiteY516" fmla="*/ 784325 h 3009544"/>
              <a:gd name="connsiteX517" fmla="*/ 2805816 w 3070954"/>
              <a:gd name="connsiteY517" fmla="*/ 632965 h 3009544"/>
              <a:gd name="connsiteX518" fmla="*/ 2844696 w 3070954"/>
              <a:gd name="connsiteY518" fmla="*/ 562885 h 3009544"/>
              <a:gd name="connsiteX519" fmla="*/ 2880217 w 3070954"/>
              <a:gd name="connsiteY519" fmla="*/ 493125 h 3009544"/>
              <a:gd name="connsiteX520" fmla="*/ 2951897 w 3070954"/>
              <a:gd name="connsiteY520" fmla="*/ 341765 h 3009544"/>
              <a:gd name="connsiteX521" fmla="*/ 3012057 w 3070954"/>
              <a:gd name="connsiteY521" fmla="*/ 186085 h 3009544"/>
              <a:gd name="connsiteX522" fmla="*/ 3033496 w 3070954"/>
              <a:gd name="connsiteY522" fmla="*/ 120805 h 3009544"/>
              <a:gd name="connsiteX523" fmla="*/ 3033177 w 3070954"/>
              <a:gd name="connsiteY523" fmla="*/ 264645 h 3009544"/>
              <a:gd name="connsiteX524" fmla="*/ 3039097 w 3070954"/>
              <a:gd name="connsiteY524" fmla="*/ 49925 h 3009544"/>
              <a:gd name="connsiteX525" fmla="*/ 2930616 w 3070954"/>
              <a:gd name="connsiteY525" fmla="*/ 354245 h 3009544"/>
              <a:gd name="connsiteX526" fmla="*/ 2858296 w 3070954"/>
              <a:gd name="connsiteY526" fmla="*/ 505605 h 3009544"/>
              <a:gd name="connsiteX527" fmla="*/ 2820217 w 3070954"/>
              <a:gd name="connsiteY527" fmla="*/ 573925 h 3009544"/>
              <a:gd name="connsiteX528" fmla="*/ 2779736 w 3070954"/>
              <a:gd name="connsiteY528" fmla="*/ 647845 h 3009544"/>
              <a:gd name="connsiteX529" fmla="*/ 2696536 w 3070954"/>
              <a:gd name="connsiteY529" fmla="*/ 799365 h 3009544"/>
              <a:gd name="connsiteX530" fmla="*/ 2604536 w 3070954"/>
              <a:gd name="connsiteY530" fmla="*/ 939845 h 3009544"/>
              <a:gd name="connsiteX531" fmla="*/ 2485496 w 3070954"/>
              <a:gd name="connsiteY531" fmla="*/ 1056485 h 3009544"/>
              <a:gd name="connsiteX532" fmla="*/ 2430456 w 3070954"/>
              <a:gd name="connsiteY532" fmla="*/ 1092805 h 3009544"/>
              <a:gd name="connsiteX533" fmla="*/ 2401177 w 3070954"/>
              <a:gd name="connsiteY533" fmla="*/ 1109125 h 3009544"/>
              <a:gd name="connsiteX534" fmla="*/ 2363897 w 3070954"/>
              <a:gd name="connsiteY534" fmla="*/ 1130405 h 3009544"/>
              <a:gd name="connsiteX535" fmla="*/ 2323257 w 3070954"/>
              <a:gd name="connsiteY535" fmla="*/ 1146245 h 3009544"/>
              <a:gd name="connsiteX536" fmla="*/ 2313656 w 3070954"/>
              <a:gd name="connsiteY536" fmla="*/ 1150885 h 3009544"/>
              <a:gd name="connsiteX537" fmla="*/ 2258137 w 3070954"/>
              <a:gd name="connsiteY537" fmla="*/ 1154565 h 3009544"/>
              <a:gd name="connsiteX538" fmla="*/ 2184057 w 3070954"/>
              <a:gd name="connsiteY538" fmla="*/ 1166885 h 3009544"/>
              <a:gd name="connsiteX539" fmla="*/ 2151736 w 3070954"/>
              <a:gd name="connsiteY539" fmla="*/ 1171845 h 3009544"/>
              <a:gd name="connsiteX540" fmla="*/ 2192536 w 3070954"/>
              <a:gd name="connsiteY540" fmla="*/ 1138885 h 3009544"/>
              <a:gd name="connsiteX541" fmla="*/ 2246937 w 3070954"/>
              <a:gd name="connsiteY541" fmla="*/ 1089765 h 3009544"/>
              <a:gd name="connsiteX542" fmla="*/ 2294456 w 3070954"/>
              <a:gd name="connsiteY542" fmla="*/ 1043845 h 3009544"/>
              <a:gd name="connsiteX543" fmla="*/ 2354296 w 3070954"/>
              <a:gd name="connsiteY543" fmla="*/ 995525 h 3009544"/>
              <a:gd name="connsiteX544" fmla="*/ 2416857 w 3070954"/>
              <a:gd name="connsiteY544" fmla="*/ 945445 h 3009544"/>
              <a:gd name="connsiteX545" fmla="*/ 2513496 w 3070954"/>
              <a:gd name="connsiteY545" fmla="*/ 827045 h 3009544"/>
              <a:gd name="connsiteX546" fmla="*/ 2558137 w 3070954"/>
              <a:gd name="connsiteY546" fmla="*/ 773605 h 3009544"/>
              <a:gd name="connsiteX547" fmla="*/ 2611097 w 3070954"/>
              <a:gd name="connsiteY547" fmla="*/ 704805 h 3009544"/>
              <a:gd name="connsiteX548" fmla="*/ 2658137 w 3070954"/>
              <a:gd name="connsiteY548" fmla="*/ 644645 h 3009544"/>
              <a:gd name="connsiteX549" fmla="*/ 2702296 w 3070954"/>
              <a:gd name="connsiteY549" fmla="*/ 573765 h 3009544"/>
              <a:gd name="connsiteX550" fmla="*/ 2789496 w 3070954"/>
              <a:gd name="connsiteY550" fmla="*/ 437765 h 3009544"/>
              <a:gd name="connsiteX551" fmla="*/ 2884217 w 3070954"/>
              <a:gd name="connsiteY551" fmla="*/ 304165 h 3009544"/>
              <a:gd name="connsiteX552" fmla="*/ 2921336 w 3070954"/>
              <a:gd name="connsiteY552" fmla="*/ 241765 h 3009544"/>
              <a:gd name="connsiteX553" fmla="*/ 2960857 w 3070954"/>
              <a:gd name="connsiteY553" fmla="*/ 170725 h 3009544"/>
              <a:gd name="connsiteX554" fmla="*/ 2987097 w 3070954"/>
              <a:gd name="connsiteY554" fmla="*/ 134885 h 3009544"/>
              <a:gd name="connsiteX555" fmla="*/ 3016217 w 3070954"/>
              <a:gd name="connsiteY555" fmla="*/ 89605 h 3009544"/>
              <a:gd name="connsiteX556" fmla="*/ 3039097 w 3070954"/>
              <a:gd name="connsiteY556" fmla="*/ 49925 h 3009544"/>
              <a:gd name="connsiteX557" fmla="*/ 2490456 w 3070954"/>
              <a:gd name="connsiteY557" fmla="*/ 538885 h 3009544"/>
              <a:gd name="connsiteX558" fmla="*/ 2509656 w 3070954"/>
              <a:gd name="connsiteY558" fmla="*/ 479365 h 3009544"/>
              <a:gd name="connsiteX559" fmla="*/ 2566456 w 3070954"/>
              <a:gd name="connsiteY559" fmla="*/ 380805 h 3009544"/>
              <a:gd name="connsiteX560" fmla="*/ 2642296 w 3070954"/>
              <a:gd name="connsiteY560" fmla="*/ 296165 h 3009544"/>
              <a:gd name="connsiteX561" fmla="*/ 2721336 w 3070954"/>
              <a:gd name="connsiteY561" fmla="*/ 219845 h 3009544"/>
              <a:gd name="connsiteX562" fmla="*/ 2758296 w 3070954"/>
              <a:gd name="connsiteY562" fmla="*/ 189125 h 3009544"/>
              <a:gd name="connsiteX563" fmla="*/ 2804857 w 3070954"/>
              <a:gd name="connsiteY563" fmla="*/ 164005 h 3009544"/>
              <a:gd name="connsiteX564" fmla="*/ 2897656 w 3070954"/>
              <a:gd name="connsiteY564" fmla="*/ 127845 h 3009544"/>
              <a:gd name="connsiteX565" fmla="*/ 2919897 w 3070954"/>
              <a:gd name="connsiteY565" fmla="*/ 116485 h 3009544"/>
              <a:gd name="connsiteX566" fmla="*/ 2900376 w 3070954"/>
              <a:gd name="connsiteY566" fmla="*/ 129765 h 3009544"/>
              <a:gd name="connsiteX567" fmla="*/ 2850137 w 3070954"/>
              <a:gd name="connsiteY567" fmla="*/ 170245 h 3009544"/>
              <a:gd name="connsiteX568" fmla="*/ 2762776 w 3070954"/>
              <a:gd name="connsiteY568" fmla="*/ 258885 h 3009544"/>
              <a:gd name="connsiteX569" fmla="*/ 2683897 w 3070954"/>
              <a:gd name="connsiteY569" fmla="*/ 342885 h 3009544"/>
              <a:gd name="connsiteX570" fmla="*/ 2608857 w 3070954"/>
              <a:gd name="connsiteY570" fmla="*/ 439845 h 3009544"/>
              <a:gd name="connsiteX571" fmla="*/ 2546296 w 3070954"/>
              <a:gd name="connsiteY571" fmla="*/ 538565 h 3009544"/>
              <a:gd name="connsiteX572" fmla="*/ 2525816 w 3070954"/>
              <a:gd name="connsiteY572" fmla="*/ 578885 h 3009544"/>
              <a:gd name="connsiteX573" fmla="*/ 2501017 w 3070954"/>
              <a:gd name="connsiteY573" fmla="*/ 627205 h 3009544"/>
              <a:gd name="connsiteX574" fmla="*/ 2474616 w 3070954"/>
              <a:gd name="connsiteY574" fmla="*/ 678885 h 3009544"/>
              <a:gd name="connsiteX575" fmla="*/ 2479257 w 3070954"/>
              <a:gd name="connsiteY575" fmla="*/ 611525 h 3009544"/>
              <a:gd name="connsiteX576" fmla="*/ 2480217 w 3070954"/>
              <a:gd name="connsiteY576" fmla="*/ 569445 h 3009544"/>
              <a:gd name="connsiteX577" fmla="*/ 2490456 w 3070954"/>
              <a:gd name="connsiteY577" fmla="*/ 538885 h 3009544"/>
              <a:gd name="connsiteX578" fmla="*/ 2462616 w 3070954"/>
              <a:gd name="connsiteY578" fmla="*/ 777125 h 3009544"/>
              <a:gd name="connsiteX579" fmla="*/ 2471897 w 3070954"/>
              <a:gd name="connsiteY579" fmla="*/ 709125 h 3009544"/>
              <a:gd name="connsiteX580" fmla="*/ 2505816 w 3070954"/>
              <a:gd name="connsiteY580" fmla="*/ 649285 h 3009544"/>
              <a:gd name="connsiteX581" fmla="*/ 2531257 w 3070954"/>
              <a:gd name="connsiteY581" fmla="*/ 598885 h 3009544"/>
              <a:gd name="connsiteX582" fmla="*/ 2554137 w 3070954"/>
              <a:gd name="connsiteY582" fmla="*/ 551845 h 3009544"/>
              <a:gd name="connsiteX583" fmla="*/ 2581496 w 3070954"/>
              <a:gd name="connsiteY583" fmla="*/ 509765 h 3009544"/>
              <a:gd name="connsiteX584" fmla="*/ 2614137 w 3070954"/>
              <a:gd name="connsiteY584" fmla="*/ 457285 h 3009544"/>
              <a:gd name="connsiteX585" fmla="*/ 2686296 w 3070954"/>
              <a:gd name="connsiteY585" fmla="*/ 361285 h 3009544"/>
              <a:gd name="connsiteX586" fmla="*/ 2725496 w 3070954"/>
              <a:gd name="connsiteY586" fmla="*/ 317765 h 3009544"/>
              <a:gd name="connsiteX587" fmla="*/ 2766456 w 3070954"/>
              <a:gd name="connsiteY587" fmla="*/ 273765 h 3009544"/>
              <a:gd name="connsiteX588" fmla="*/ 2853177 w 3070954"/>
              <a:gd name="connsiteY588" fmla="*/ 184965 h 3009544"/>
              <a:gd name="connsiteX589" fmla="*/ 2950456 w 3070954"/>
              <a:gd name="connsiteY589" fmla="*/ 110405 h 3009544"/>
              <a:gd name="connsiteX590" fmla="*/ 3017816 w 3070954"/>
              <a:gd name="connsiteY590" fmla="*/ 57285 h 3009544"/>
              <a:gd name="connsiteX591" fmla="*/ 3004376 w 3070954"/>
              <a:gd name="connsiteY591" fmla="*/ 80805 h 3009544"/>
              <a:gd name="connsiteX592" fmla="*/ 2956057 w 3070954"/>
              <a:gd name="connsiteY592" fmla="*/ 151845 h 3009544"/>
              <a:gd name="connsiteX593" fmla="*/ 2918937 w 3070954"/>
              <a:gd name="connsiteY593" fmla="*/ 213605 h 3009544"/>
              <a:gd name="connsiteX594" fmla="*/ 2901816 w 3070954"/>
              <a:gd name="connsiteY594" fmla="*/ 245285 h 3009544"/>
              <a:gd name="connsiteX595" fmla="*/ 2879257 w 3070954"/>
              <a:gd name="connsiteY595" fmla="*/ 283525 h 3009544"/>
              <a:gd name="connsiteX596" fmla="*/ 2836057 w 3070954"/>
              <a:gd name="connsiteY596" fmla="*/ 349765 h 3009544"/>
              <a:gd name="connsiteX597" fmla="*/ 2785336 w 3070954"/>
              <a:gd name="connsiteY597" fmla="*/ 417765 h 3009544"/>
              <a:gd name="connsiteX598" fmla="*/ 2697496 w 3070954"/>
              <a:gd name="connsiteY598" fmla="*/ 553765 h 3009544"/>
              <a:gd name="connsiteX599" fmla="*/ 2509496 w 3070954"/>
              <a:gd name="connsiteY599" fmla="*/ 808805 h 3009544"/>
              <a:gd name="connsiteX600" fmla="*/ 2411576 w 3070954"/>
              <a:gd name="connsiteY600" fmla="*/ 931525 h 3009544"/>
              <a:gd name="connsiteX601" fmla="*/ 2350937 w 3070954"/>
              <a:gd name="connsiteY601" fmla="*/ 980965 h 3009544"/>
              <a:gd name="connsiteX602" fmla="*/ 2342296 w 3070954"/>
              <a:gd name="connsiteY602" fmla="*/ 988485 h 3009544"/>
              <a:gd name="connsiteX603" fmla="*/ 2395416 w 3070954"/>
              <a:gd name="connsiteY603" fmla="*/ 914405 h 3009544"/>
              <a:gd name="connsiteX604" fmla="*/ 2462616 w 3070954"/>
              <a:gd name="connsiteY604" fmla="*/ 777125 h 3009544"/>
              <a:gd name="connsiteX605" fmla="*/ 2446937 w 3070954"/>
              <a:gd name="connsiteY605" fmla="*/ 668005 h 3009544"/>
              <a:gd name="connsiteX606" fmla="*/ 2413336 w 3070954"/>
              <a:gd name="connsiteY606" fmla="*/ 829765 h 3009544"/>
              <a:gd name="connsiteX607" fmla="*/ 2324857 w 3070954"/>
              <a:gd name="connsiteY607" fmla="*/ 961285 h 3009544"/>
              <a:gd name="connsiteX608" fmla="*/ 2277656 w 3070954"/>
              <a:gd name="connsiteY608" fmla="*/ 1019685 h 3009544"/>
              <a:gd name="connsiteX609" fmla="*/ 2223736 w 3070954"/>
              <a:gd name="connsiteY609" fmla="*/ 1072005 h 3009544"/>
              <a:gd name="connsiteX610" fmla="*/ 2165017 w 3070954"/>
              <a:gd name="connsiteY610" fmla="*/ 1123205 h 3009544"/>
              <a:gd name="connsiteX611" fmla="*/ 2102456 w 3070954"/>
              <a:gd name="connsiteY611" fmla="*/ 1169445 h 3009544"/>
              <a:gd name="connsiteX612" fmla="*/ 2057656 w 3070954"/>
              <a:gd name="connsiteY612" fmla="*/ 1191845 h 3009544"/>
              <a:gd name="connsiteX613" fmla="*/ 2050137 w 3070954"/>
              <a:gd name="connsiteY613" fmla="*/ 1193765 h 3009544"/>
              <a:gd name="connsiteX614" fmla="*/ 2005177 w 3070954"/>
              <a:gd name="connsiteY614" fmla="*/ 1208485 h 3009544"/>
              <a:gd name="connsiteX615" fmla="*/ 2025017 w 3070954"/>
              <a:gd name="connsiteY615" fmla="*/ 1148485 h 3009544"/>
              <a:gd name="connsiteX616" fmla="*/ 2069496 w 3070954"/>
              <a:gd name="connsiteY616" fmla="*/ 1122725 h 3009544"/>
              <a:gd name="connsiteX617" fmla="*/ 2119097 w 3070954"/>
              <a:gd name="connsiteY617" fmla="*/ 1092005 h 3009544"/>
              <a:gd name="connsiteX618" fmla="*/ 2167097 w 3070954"/>
              <a:gd name="connsiteY618" fmla="*/ 1052805 h 3009544"/>
              <a:gd name="connsiteX619" fmla="*/ 2219416 w 3070954"/>
              <a:gd name="connsiteY619" fmla="*/ 1008005 h 3009544"/>
              <a:gd name="connsiteX620" fmla="*/ 2292536 w 3070954"/>
              <a:gd name="connsiteY620" fmla="*/ 898885 h 3009544"/>
              <a:gd name="connsiteX621" fmla="*/ 2346776 w 3070954"/>
              <a:gd name="connsiteY621" fmla="*/ 783045 h 3009544"/>
              <a:gd name="connsiteX622" fmla="*/ 2385656 w 3070954"/>
              <a:gd name="connsiteY622" fmla="*/ 660965 h 3009544"/>
              <a:gd name="connsiteX623" fmla="*/ 2421336 w 3070954"/>
              <a:gd name="connsiteY623" fmla="*/ 530245 h 3009544"/>
              <a:gd name="connsiteX624" fmla="*/ 2426296 w 3070954"/>
              <a:gd name="connsiteY624" fmla="*/ 400485 h 3009544"/>
              <a:gd name="connsiteX625" fmla="*/ 2424857 w 3070954"/>
              <a:gd name="connsiteY625" fmla="*/ 358725 h 3009544"/>
              <a:gd name="connsiteX626" fmla="*/ 2446937 w 3070954"/>
              <a:gd name="connsiteY626" fmla="*/ 668005 h 3009544"/>
              <a:gd name="connsiteX627" fmla="*/ 2399736 w 3070954"/>
              <a:gd name="connsiteY627" fmla="*/ 261445 h 3009544"/>
              <a:gd name="connsiteX628" fmla="*/ 2407257 w 3070954"/>
              <a:gd name="connsiteY628" fmla="*/ 294725 h 3009544"/>
              <a:gd name="connsiteX629" fmla="*/ 2410776 w 3070954"/>
              <a:gd name="connsiteY629" fmla="*/ 309605 h 3009544"/>
              <a:gd name="connsiteX630" fmla="*/ 2412696 w 3070954"/>
              <a:gd name="connsiteY630" fmla="*/ 328645 h 3009544"/>
              <a:gd name="connsiteX631" fmla="*/ 2413017 w 3070954"/>
              <a:gd name="connsiteY631" fmla="*/ 395045 h 3009544"/>
              <a:gd name="connsiteX632" fmla="*/ 2414776 w 3070954"/>
              <a:gd name="connsiteY632" fmla="*/ 458085 h 3009544"/>
              <a:gd name="connsiteX633" fmla="*/ 2407416 w 3070954"/>
              <a:gd name="connsiteY633" fmla="*/ 522885 h 3009544"/>
              <a:gd name="connsiteX634" fmla="*/ 2371736 w 3070954"/>
              <a:gd name="connsiteY634" fmla="*/ 651525 h 3009544"/>
              <a:gd name="connsiteX635" fmla="*/ 2334137 w 3070954"/>
              <a:gd name="connsiteY635" fmla="*/ 771525 h 3009544"/>
              <a:gd name="connsiteX636" fmla="*/ 2308376 w 3070954"/>
              <a:gd name="connsiteY636" fmla="*/ 830725 h 3009544"/>
              <a:gd name="connsiteX637" fmla="*/ 2293017 w 3070954"/>
              <a:gd name="connsiteY637" fmla="*/ 861445 h 3009544"/>
              <a:gd name="connsiteX638" fmla="*/ 2279257 w 3070954"/>
              <a:gd name="connsiteY638" fmla="*/ 889285 h 3009544"/>
              <a:gd name="connsiteX639" fmla="*/ 2204536 w 3070954"/>
              <a:gd name="connsiteY639" fmla="*/ 999365 h 3009544"/>
              <a:gd name="connsiteX640" fmla="*/ 2156857 w 3070954"/>
              <a:gd name="connsiteY640" fmla="*/ 1040005 h 3009544"/>
              <a:gd name="connsiteX641" fmla="*/ 2108857 w 3070954"/>
              <a:gd name="connsiteY641" fmla="*/ 1079205 h 3009544"/>
              <a:gd name="connsiteX642" fmla="*/ 2029656 w 3070954"/>
              <a:gd name="connsiteY642" fmla="*/ 1125925 h 3009544"/>
              <a:gd name="connsiteX643" fmla="*/ 2037017 w 3070954"/>
              <a:gd name="connsiteY643" fmla="*/ 1040165 h 3009544"/>
              <a:gd name="connsiteX644" fmla="*/ 2059257 w 3070954"/>
              <a:gd name="connsiteY644" fmla="*/ 1008965 h 3009544"/>
              <a:gd name="connsiteX645" fmla="*/ 2099257 w 3070954"/>
              <a:gd name="connsiteY645" fmla="*/ 965765 h 3009544"/>
              <a:gd name="connsiteX646" fmla="*/ 2172057 w 3070954"/>
              <a:gd name="connsiteY646" fmla="*/ 870565 h 3009544"/>
              <a:gd name="connsiteX647" fmla="*/ 2238456 w 3070954"/>
              <a:gd name="connsiteY647" fmla="*/ 758085 h 3009544"/>
              <a:gd name="connsiteX648" fmla="*/ 2301496 w 3070954"/>
              <a:gd name="connsiteY648" fmla="*/ 643845 h 3009544"/>
              <a:gd name="connsiteX649" fmla="*/ 2374456 w 3070954"/>
              <a:gd name="connsiteY649" fmla="*/ 399205 h 3009544"/>
              <a:gd name="connsiteX650" fmla="*/ 2383097 w 3070954"/>
              <a:gd name="connsiteY650" fmla="*/ 272165 h 3009544"/>
              <a:gd name="connsiteX651" fmla="*/ 2375416 w 3070954"/>
              <a:gd name="connsiteY651" fmla="*/ 214725 h 3009544"/>
              <a:gd name="connsiteX652" fmla="*/ 2399736 w 3070954"/>
              <a:gd name="connsiteY652" fmla="*/ 261445 h 3009544"/>
              <a:gd name="connsiteX653" fmla="*/ 2269977 w 3070954"/>
              <a:gd name="connsiteY653" fmla="*/ 277925 h 3009544"/>
              <a:gd name="connsiteX654" fmla="*/ 2282137 w 3070954"/>
              <a:gd name="connsiteY654" fmla="*/ 232485 h 3009544"/>
              <a:gd name="connsiteX655" fmla="*/ 2292057 w 3070954"/>
              <a:gd name="connsiteY655" fmla="*/ 175205 h 3009544"/>
              <a:gd name="connsiteX656" fmla="*/ 2300217 w 3070954"/>
              <a:gd name="connsiteY656" fmla="*/ 126245 h 3009544"/>
              <a:gd name="connsiteX657" fmla="*/ 2305816 w 3070954"/>
              <a:gd name="connsiteY657" fmla="*/ 96645 h 3009544"/>
              <a:gd name="connsiteX658" fmla="*/ 2310776 w 3070954"/>
              <a:gd name="connsiteY658" fmla="*/ 88005 h 3009544"/>
              <a:gd name="connsiteX659" fmla="*/ 2338937 w 3070954"/>
              <a:gd name="connsiteY659" fmla="*/ 135525 h 3009544"/>
              <a:gd name="connsiteX660" fmla="*/ 2357977 w 3070954"/>
              <a:gd name="connsiteY660" fmla="*/ 175845 h 3009544"/>
              <a:gd name="connsiteX661" fmla="*/ 2364376 w 3070954"/>
              <a:gd name="connsiteY661" fmla="*/ 227045 h 3009544"/>
              <a:gd name="connsiteX662" fmla="*/ 2370296 w 3070954"/>
              <a:gd name="connsiteY662" fmla="*/ 294245 h 3009544"/>
              <a:gd name="connsiteX663" fmla="*/ 2363736 w 3070954"/>
              <a:gd name="connsiteY663" fmla="*/ 364805 h 3009544"/>
              <a:gd name="connsiteX664" fmla="*/ 2344376 w 3070954"/>
              <a:gd name="connsiteY664" fmla="*/ 479845 h 3009544"/>
              <a:gd name="connsiteX665" fmla="*/ 2297656 w 3070954"/>
              <a:gd name="connsiteY665" fmla="*/ 612325 h 3009544"/>
              <a:gd name="connsiteX666" fmla="*/ 2236536 w 3070954"/>
              <a:gd name="connsiteY666" fmla="*/ 730565 h 3009544"/>
              <a:gd name="connsiteX667" fmla="*/ 2171736 w 3070954"/>
              <a:gd name="connsiteY667" fmla="*/ 839365 h 3009544"/>
              <a:gd name="connsiteX668" fmla="*/ 2099897 w 3070954"/>
              <a:gd name="connsiteY668" fmla="*/ 940805 h 3009544"/>
              <a:gd name="connsiteX669" fmla="*/ 2057017 w 3070954"/>
              <a:gd name="connsiteY669" fmla="*/ 989125 h 3009544"/>
              <a:gd name="connsiteX670" fmla="*/ 2037656 w 3070954"/>
              <a:gd name="connsiteY670" fmla="*/ 1008165 h 3009544"/>
              <a:gd name="connsiteX671" fmla="*/ 2037177 w 3070954"/>
              <a:gd name="connsiteY671" fmla="*/ 1008805 h 3009544"/>
              <a:gd name="connsiteX672" fmla="*/ 2036536 w 3070954"/>
              <a:gd name="connsiteY672" fmla="*/ 993765 h 3009544"/>
              <a:gd name="connsiteX673" fmla="*/ 2027416 w 3070954"/>
              <a:gd name="connsiteY673" fmla="*/ 919845 h 3009544"/>
              <a:gd name="connsiteX674" fmla="*/ 2013177 w 3070954"/>
              <a:gd name="connsiteY674" fmla="*/ 879525 h 3009544"/>
              <a:gd name="connsiteX675" fmla="*/ 2029017 w 3070954"/>
              <a:gd name="connsiteY675" fmla="*/ 840165 h 3009544"/>
              <a:gd name="connsiteX676" fmla="*/ 2047576 w 3070954"/>
              <a:gd name="connsiteY676" fmla="*/ 789445 h 3009544"/>
              <a:gd name="connsiteX677" fmla="*/ 2069656 w 3070954"/>
              <a:gd name="connsiteY677" fmla="*/ 747525 h 3009544"/>
              <a:gd name="connsiteX678" fmla="*/ 2097336 w 3070954"/>
              <a:gd name="connsiteY678" fmla="*/ 694885 h 3009544"/>
              <a:gd name="connsiteX679" fmla="*/ 2138776 w 3070954"/>
              <a:gd name="connsiteY679" fmla="*/ 594565 h 3009544"/>
              <a:gd name="connsiteX680" fmla="*/ 2189336 w 3070954"/>
              <a:gd name="connsiteY680" fmla="*/ 490405 h 3009544"/>
              <a:gd name="connsiteX681" fmla="*/ 2230137 w 3070954"/>
              <a:gd name="connsiteY681" fmla="*/ 387845 h 3009544"/>
              <a:gd name="connsiteX682" fmla="*/ 2269977 w 3070954"/>
              <a:gd name="connsiteY682" fmla="*/ 277925 h 3009544"/>
              <a:gd name="connsiteX683" fmla="*/ 2212057 w 3070954"/>
              <a:gd name="connsiteY683" fmla="*/ 224325 h 3009544"/>
              <a:gd name="connsiteX684" fmla="*/ 2270937 w 3070954"/>
              <a:gd name="connsiteY684" fmla="*/ 144165 h 3009544"/>
              <a:gd name="connsiteX685" fmla="*/ 2289816 w 3070954"/>
              <a:gd name="connsiteY685" fmla="*/ 119205 h 3009544"/>
              <a:gd name="connsiteX686" fmla="*/ 2278137 w 3070954"/>
              <a:gd name="connsiteY686" fmla="*/ 175685 h 3009544"/>
              <a:gd name="connsiteX687" fmla="*/ 2271416 w 3070954"/>
              <a:gd name="connsiteY687" fmla="*/ 218725 h 3009544"/>
              <a:gd name="connsiteX688" fmla="*/ 2254616 w 3070954"/>
              <a:gd name="connsiteY688" fmla="*/ 278725 h 3009544"/>
              <a:gd name="connsiteX689" fmla="*/ 2213336 w 3070954"/>
              <a:gd name="connsiteY689" fmla="*/ 388325 h 3009544"/>
              <a:gd name="connsiteX690" fmla="*/ 2171736 w 3070954"/>
              <a:gd name="connsiteY690" fmla="*/ 490085 h 3009544"/>
              <a:gd name="connsiteX691" fmla="*/ 2120857 w 3070954"/>
              <a:gd name="connsiteY691" fmla="*/ 594565 h 3009544"/>
              <a:gd name="connsiteX692" fmla="*/ 2079416 w 3070954"/>
              <a:gd name="connsiteY692" fmla="*/ 694725 h 3009544"/>
              <a:gd name="connsiteX693" fmla="*/ 2054616 w 3070954"/>
              <a:gd name="connsiteY693" fmla="*/ 741285 h 3009544"/>
              <a:gd name="connsiteX694" fmla="*/ 2030616 w 3070954"/>
              <a:gd name="connsiteY694" fmla="*/ 789125 h 3009544"/>
              <a:gd name="connsiteX695" fmla="*/ 2012057 w 3070954"/>
              <a:gd name="connsiteY695" fmla="*/ 839685 h 3009544"/>
              <a:gd name="connsiteX696" fmla="*/ 2003736 w 3070954"/>
              <a:gd name="connsiteY696" fmla="*/ 860325 h 3009544"/>
              <a:gd name="connsiteX697" fmla="*/ 1998296 w 3070954"/>
              <a:gd name="connsiteY697" fmla="*/ 848965 h 3009544"/>
              <a:gd name="connsiteX698" fmla="*/ 1958296 w 3070954"/>
              <a:gd name="connsiteY698" fmla="*/ 787845 h 3009544"/>
              <a:gd name="connsiteX699" fmla="*/ 1959416 w 3070954"/>
              <a:gd name="connsiteY699" fmla="*/ 756805 h 3009544"/>
              <a:gd name="connsiteX700" fmla="*/ 1970296 w 3070954"/>
              <a:gd name="connsiteY700" fmla="*/ 700645 h 3009544"/>
              <a:gd name="connsiteX701" fmla="*/ 2008217 w 3070954"/>
              <a:gd name="connsiteY701" fmla="*/ 602085 h 3009544"/>
              <a:gd name="connsiteX702" fmla="*/ 2049656 w 3070954"/>
              <a:gd name="connsiteY702" fmla="*/ 503525 h 3009544"/>
              <a:gd name="connsiteX703" fmla="*/ 2108217 w 3070954"/>
              <a:gd name="connsiteY703" fmla="*/ 403525 h 3009544"/>
              <a:gd name="connsiteX704" fmla="*/ 2206776 w 3070954"/>
              <a:gd name="connsiteY704" fmla="*/ 233445 h 3009544"/>
              <a:gd name="connsiteX705" fmla="*/ 2212057 w 3070954"/>
              <a:gd name="connsiteY705" fmla="*/ 224325 h 3009544"/>
              <a:gd name="connsiteX706" fmla="*/ 2064217 w 3070954"/>
              <a:gd name="connsiteY706" fmla="*/ 339045 h 3009544"/>
              <a:gd name="connsiteX707" fmla="*/ 2075897 w 3070954"/>
              <a:gd name="connsiteY707" fmla="*/ 326085 h 3009544"/>
              <a:gd name="connsiteX708" fmla="*/ 2089977 w 3070954"/>
              <a:gd name="connsiteY708" fmla="*/ 319365 h 3009544"/>
              <a:gd name="connsiteX709" fmla="*/ 2131097 w 3070954"/>
              <a:gd name="connsiteY709" fmla="*/ 297925 h 3009544"/>
              <a:gd name="connsiteX710" fmla="*/ 2171576 w 3070954"/>
              <a:gd name="connsiteY710" fmla="*/ 265765 h 3009544"/>
              <a:gd name="connsiteX711" fmla="*/ 2082456 w 3070954"/>
              <a:gd name="connsiteY711" fmla="*/ 419205 h 3009544"/>
              <a:gd name="connsiteX712" fmla="*/ 2029977 w 3070954"/>
              <a:gd name="connsiteY712" fmla="*/ 509445 h 3009544"/>
              <a:gd name="connsiteX713" fmla="*/ 1990296 w 3070954"/>
              <a:gd name="connsiteY713" fmla="*/ 609125 h 3009544"/>
              <a:gd name="connsiteX714" fmla="*/ 1953017 w 3070954"/>
              <a:gd name="connsiteY714" fmla="*/ 707045 h 3009544"/>
              <a:gd name="connsiteX715" fmla="*/ 1943576 w 3070954"/>
              <a:gd name="connsiteY715" fmla="*/ 771365 h 3009544"/>
              <a:gd name="connsiteX716" fmla="*/ 1912536 w 3070954"/>
              <a:gd name="connsiteY716" fmla="*/ 741125 h 3009544"/>
              <a:gd name="connsiteX717" fmla="*/ 1898937 w 3070954"/>
              <a:gd name="connsiteY717" fmla="*/ 728965 h 3009544"/>
              <a:gd name="connsiteX718" fmla="*/ 1899736 w 3070954"/>
              <a:gd name="connsiteY718" fmla="*/ 714245 h 3009544"/>
              <a:gd name="connsiteX719" fmla="*/ 1900696 w 3070954"/>
              <a:gd name="connsiteY719" fmla="*/ 682085 h 3009544"/>
              <a:gd name="connsiteX720" fmla="*/ 1913177 w 3070954"/>
              <a:gd name="connsiteY720" fmla="*/ 621765 h 3009544"/>
              <a:gd name="connsiteX721" fmla="*/ 1954456 w 3070954"/>
              <a:gd name="connsiteY721" fmla="*/ 504645 h 3009544"/>
              <a:gd name="connsiteX722" fmla="*/ 2025977 w 3070954"/>
              <a:gd name="connsiteY722" fmla="*/ 383365 h 3009544"/>
              <a:gd name="connsiteX723" fmla="*/ 2064217 w 3070954"/>
              <a:gd name="connsiteY723" fmla="*/ 339045 h 3009544"/>
              <a:gd name="connsiteX724" fmla="*/ 1976696 w 3070954"/>
              <a:gd name="connsiteY724" fmla="*/ 398725 h 3009544"/>
              <a:gd name="connsiteX725" fmla="*/ 2036536 w 3070954"/>
              <a:gd name="connsiteY725" fmla="*/ 352965 h 3009544"/>
              <a:gd name="connsiteX726" fmla="*/ 2009656 w 3070954"/>
              <a:gd name="connsiteY726" fmla="*/ 387365 h 3009544"/>
              <a:gd name="connsiteX727" fmla="*/ 1937656 w 3070954"/>
              <a:gd name="connsiteY727" fmla="*/ 510725 h 3009544"/>
              <a:gd name="connsiteX728" fmla="*/ 1911736 w 3070954"/>
              <a:gd name="connsiteY728" fmla="*/ 570245 h 3009544"/>
              <a:gd name="connsiteX729" fmla="*/ 1898616 w 3070954"/>
              <a:gd name="connsiteY729" fmla="*/ 630405 h 3009544"/>
              <a:gd name="connsiteX730" fmla="*/ 1885336 w 3070954"/>
              <a:gd name="connsiteY730" fmla="*/ 692165 h 3009544"/>
              <a:gd name="connsiteX731" fmla="*/ 1886616 w 3070954"/>
              <a:gd name="connsiteY731" fmla="*/ 718405 h 3009544"/>
              <a:gd name="connsiteX732" fmla="*/ 1795416 w 3070954"/>
              <a:gd name="connsiteY732" fmla="*/ 662085 h 3009544"/>
              <a:gd name="connsiteX733" fmla="*/ 1790456 w 3070954"/>
              <a:gd name="connsiteY733" fmla="*/ 660165 h 3009544"/>
              <a:gd name="connsiteX734" fmla="*/ 1893336 w 3070954"/>
              <a:gd name="connsiteY734" fmla="*/ 476165 h 3009544"/>
              <a:gd name="connsiteX735" fmla="*/ 1976696 w 3070954"/>
              <a:gd name="connsiteY735" fmla="*/ 398725 h 3009544"/>
              <a:gd name="connsiteX736" fmla="*/ 1740057 w 3070954"/>
              <a:gd name="connsiteY736" fmla="*/ 188645 h 3009544"/>
              <a:gd name="connsiteX737" fmla="*/ 1858456 w 3070954"/>
              <a:gd name="connsiteY737" fmla="*/ 286405 h 3009544"/>
              <a:gd name="connsiteX738" fmla="*/ 1921977 w 3070954"/>
              <a:gd name="connsiteY738" fmla="*/ 411845 h 3009544"/>
              <a:gd name="connsiteX739" fmla="*/ 1923257 w 3070954"/>
              <a:gd name="connsiteY739" fmla="*/ 414565 h 3009544"/>
              <a:gd name="connsiteX740" fmla="*/ 1852217 w 3070954"/>
              <a:gd name="connsiteY740" fmla="*/ 484005 h 3009544"/>
              <a:gd name="connsiteX741" fmla="*/ 1846776 w 3070954"/>
              <a:gd name="connsiteY741" fmla="*/ 490405 h 3009544"/>
              <a:gd name="connsiteX742" fmla="*/ 1829656 w 3070954"/>
              <a:gd name="connsiteY742" fmla="*/ 416005 h 3009544"/>
              <a:gd name="connsiteX743" fmla="*/ 1783416 w 3070954"/>
              <a:gd name="connsiteY743" fmla="*/ 313445 h 3009544"/>
              <a:gd name="connsiteX744" fmla="*/ 1758137 w 3070954"/>
              <a:gd name="connsiteY744" fmla="*/ 271845 h 3009544"/>
              <a:gd name="connsiteX745" fmla="*/ 1724696 w 3070954"/>
              <a:gd name="connsiteY745" fmla="*/ 217765 h 3009544"/>
              <a:gd name="connsiteX746" fmla="*/ 1687097 w 3070954"/>
              <a:gd name="connsiteY746" fmla="*/ 167205 h 3009544"/>
              <a:gd name="connsiteX747" fmla="*/ 1668536 w 3070954"/>
              <a:gd name="connsiteY747" fmla="*/ 147525 h 3009544"/>
              <a:gd name="connsiteX748" fmla="*/ 1659736 w 3070954"/>
              <a:gd name="connsiteY748" fmla="*/ 139845 h 3009544"/>
              <a:gd name="connsiteX749" fmla="*/ 1740057 w 3070954"/>
              <a:gd name="connsiteY749" fmla="*/ 188645 h 3009544"/>
              <a:gd name="connsiteX750" fmla="*/ 1581816 w 3070954"/>
              <a:gd name="connsiteY750" fmla="*/ 104325 h 3009544"/>
              <a:gd name="connsiteX751" fmla="*/ 1643257 w 3070954"/>
              <a:gd name="connsiteY751" fmla="*/ 132165 h 3009544"/>
              <a:gd name="connsiteX752" fmla="*/ 1657336 w 3070954"/>
              <a:gd name="connsiteY752" fmla="*/ 149605 h 3009544"/>
              <a:gd name="connsiteX753" fmla="*/ 1696536 w 3070954"/>
              <a:gd name="connsiteY753" fmla="*/ 199365 h 3009544"/>
              <a:gd name="connsiteX754" fmla="*/ 1730296 w 3070954"/>
              <a:gd name="connsiteY754" fmla="*/ 251845 h 3009544"/>
              <a:gd name="connsiteX755" fmla="*/ 1762137 w 3070954"/>
              <a:gd name="connsiteY755" fmla="*/ 303685 h 3009544"/>
              <a:gd name="connsiteX756" fmla="*/ 1809336 w 3070954"/>
              <a:gd name="connsiteY756" fmla="*/ 406085 h 3009544"/>
              <a:gd name="connsiteX757" fmla="*/ 1825496 w 3070954"/>
              <a:gd name="connsiteY757" fmla="*/ 458085 h 3009544"/>
              <a:gd name="connsiteX758" fmla="*/ 1830616 w 3070954"/>
              <a:gd name="connsiteY758" fmla="*/ 511045 h 3009544"/>
              <a:gd name="connsiteX759" fmla="*/ 1770937 w 3070954"/>
              <a:gd name="connsiteY759" fmla="*/ 653285 h 3009544"/>
              <a:gd name="connsiteX760" fmla="*/ 1713656 w 3070954"/>
              <a:gd name="connsiteY760" fmla="*/ 637605 h 3009544"/>
              <a:gd name="connsiteX761" fmla="*/ 1711416 w 3070954"/>
              <a:gd name="connsiteY761" fmla="*/ 631365 h 3009544"/>
              <a:gd name="connsiteX762" fmla="*/ 1706937 w 3070954"/>
              <a:gd name="connsiteY762" fmla="*/ 595685 h 3009544"/>
              <a:gd name="connsiteX763" fmla="*/ 1703257 w 3070954"/>
              <a:gd name="connsiteY763" fmla="*/ 506405 h 3009544"/>
              <a:gd name="connsiteX764" fmla="*/ 1691897 w 3070954"/>
              <a:gd name="connsiteY764" fmla="*/ 422245 h 3009544"/>
              <a:gd name="connsiteX765" fmla="*/ 1669816 w 3070954"/>
              <a:gd name="connsiteY765" fmla="*/ 339205 h 3009544"/>
              <a:gd name="connsiteX766" fmla="*/ 1650776 w 3070954"/>
              <a:gd name="connsiteY766" fmla="*/ 267685 h 3009544"/>
              <a:gd name="connsiteX767" fmla="*/ 1614456 w 3070954"/>
              <a:gd name="connsiteY767" fmla="*/ 191205 h 3009544"/>
              <a:gd name="connsiteX768" fmla="*/ 1538776 w 3070954"/>
              <a:gd name="connsiteY768" fmla="*/ 86245 h 3009544"/>
              <a:gd name="connsiteX769" fmla="*/ 1581816 w 3070954"/>
              <a:gd name="connsiteY769" fmla="*/ 104325 h 3009544"/>
              <a:gd name="connsiteX770" fmla="*/ 1517496 w 3070954"/>
              <a:gd name="connsiteY770" fmla="*/ 77445 h 3009544"/>
              <a:gd name="connsiteX771" fmla="*/ 1557177 w 3070954"/>
              <a:gd name="connsiteY771" fmla="*/ 128005 h 3009544"/>
              <a:gd name="connsiteX772" fmla="*/ 1603736 w 3070954"/>
              <a:gd name="connsiteY772" fmla="*/ 202885 h 3009544"/>
              <a:gd name="connsiteX773" fmla="*/ 1635897 w 3070954"/>
              <a:gd name="connsiteY773" fmla="*/ 274245 h 3009544"/>
              <a:gd name="connsiteX774" fmla="*/ 1656217 w 3070954"/>
              <a:gd name="connsiteY774" fmla="*/ 353285 h 3009544"/>
              <a:gd name="connsiteX775" fmla="*/ 1676536 w 3070954"/>
              <a:gd name="connsiteY775" fmla="*/ 430885 h 3009544"/>
              <a:gd name="connsiteX776" fmla="*/ 1686137 w 3070954"/>
              <a:gd name="connsiteY776" fmla="*/ 508965 h 3009544"/>
              <a:gd name="connsiteX777" fmla="*/ 1689177 w 3070954"/>
              <a:gd name="connsiteY777" fmla="*/ 592325 h 3009544"/>
              <a:gd name="connsiteX778" fmla="*/ 1692217 w 3070954"/>
              <a:gd name="connsiteY778" fmla="*/ 628485 h 3009544"/>
              <a:gd name="connsiteX779" fmla="*/ 1693336 w 3070954"/>
              <a:gd name="connsiteY779" fmla="*/ 633285 h 3009544"/>
              <a:gd name="connsiteX780" fmla="*/ 1652696 w 3070954"/>
              <a:gd name="connsiteY780" fmla="*/ 624805 h 3009544"/>
              <a:gd name="connsiteX781" fmla="*/ 1574456 w 3070954"/>
              <a:gd name="connsiteY781" fmla="*/ 606565 h 3009544"/>
              <a:gd name="connsiteX782" fmla="*/ 1572856 w 3070954"/>
              <a:gd name="connsiteY782" fmla="*/ 600485 h 3009544"/>
              <a:gd name="connsiteX783" fmla="*/ 1547897 w 3070954"/>
              <a:gd name="connsiteY783" fmla="*/ 544645 h 3009544"/>
              <a:gd name="connsiteX784" fmla="*/ 1543897 w 3070954"/>
              <a:gd name="connsiteY784" fmla="*/ 537605 h 3009544"/>
              <a:gd name="connsiteX785" fmla="*/ 1541177 w 3070954"/>
              <a:gd name="connsiteY785" fmla="*/ 530245 h 3009544"/>
              <a:gd name="connsiteX786" fmla="*/ 1533496 w 3070954"/>
              <a:gd name="connsiteY786" fmla="*/ 512645 h 3009544"/>
              <a:gd name="connsiteX787" fmla="*/ 1523097 w 3070954"/>
              <a:gd name="connsiteY787" fmla="*/ 487205 h 3009544"/>
              <a:gd name="connsiteX788" fmla="*/ 1503897 w 3070954"/>
              <a:gd name="connsiteY788" fmla="*/ 427685 h 3009544"/>
              <a:gd name="connsiteX789" fmla="*/ 1491736 w 3070954"/>
              <a:gd name="connsiteY789" fmla="*/ 366725 h 3009544"/>
              <a:gd name="connsiteX790" fmla="*/ 1485017 w 3070954"/>
              <a:gd name="connsiteY790" fmla="*/ 304165 h 3009544"/>
              <a:gd name="connsiteX791" fmla="*/ 1481336 w 3070954"/>
              <a:gd name="connsiteY791" fmla="*/ 171525 h 3009544"/>
              <a:gd name="connsiteX792" fmla="*/ 1473177 w 3070954"/>
              <a:gd name="connsiteY792" fmla="*/ 46245 h 3009544"/>
              <a:gd name="connsiteX793" fmla="*/ 1517496 w 3070954"/>
              <a:gd name="connsiteY793" fmla="*/ 77445 h 3009544"/>
              <a:gd name="connsiteX794" fmla="*/ 1445816 w 3070954"/>
              <a:gd name="connsiteY794" fmla="*/ 91205 h 3009544"/>
              <a:gd name="connsiteX795" fmla="*/ 1463097 w 3070954"/>
              <a:gd name="connsiteY795" fmla="*/ 62245 h 3009544"/>
              <a:gd name="connsiteX796" fmla="*/ 1463736 w 3070954"/>
              <a:gd name="connsiteY796" fmla="*/ 95365 h 3009544"/>
              <a:gd name="connsiteX797" fmla="*/ 1467097 w 3070954"/>
              <a:gd name="connsiteY797" fmla="*/ 166565 h 3009544"/>
              <a:gd name="connsiteX798" fmla="*/ 1471097 w 3070954"/>
              <a:gd name="connsiteY798" fmla="*/ 318565 h 3009544"/>
              <a:gd name="connsiteX799" fmla="*/ 1477816 w 3070954"/>
              <a:gd name="connsiteY799" fmla="*/ 375845 h 3009544"/>
              <a:gd name="connsiteX800" fmla="*/ 1491576 w 3070954"/>
              <a:gd name="connsiteY800" fmla="*/ 448165 h 3009544"/>
              <a:gd name="connsiteX801" fmla="*/ 1493977 w 3070954"/>
              <a:gd name="connsiteY801" fmla="*/ 456645 h 3009544"/>
              <a:gd name="connsiteX802" fmla="*/ 1472696 w 3070954"/>
              <a:gd name="connsiteY802" fmla="*/ 437285 h 3009544"/>
              <a:gd name="connsiteX803" fmla="*/ 1401177 w 3070954"/>
              <a:gd name="connsiteY803" fmla="*/ 375045 h 3009544"/>
              <a:gd name="connsiteX804" fmla="*/ 1400376 w 3070954"/>
              <a:gd name="connsiteY804" fmla="*/ 374405 h 3009544"/>
              <a:gd name="connsiteX805" fmla="*/ 1397977 w 3070954"/>
              <a:gd name="connsiteY805" fmla="*/ 372325 h 3009544"/>
              <a:gd name="connsiteX806" fmla="*/ 1395416 w 3070954"/>
              <a:gd name="connsiteY806" fmla="*/ 364165 h 3009544"/>
              <a:gd name="connsiteX807" fmla="*/ 1391097 w 3070954"/>
              <a:gd name="connsiteY807" fmla="*/ 320965 h 3009544"/>
              <a:gd name="connsiteX808" fmla="*/ 1396057 w 3070954"/>
              <a:gd name="connsiteY808" fmla="*/ 274725 h 3009544"/>
              <a:gd name="connsiteX809" fmla="*/ 1401336 w 3070954"/>
              <a:gd name="connsiteY809" fmla="*/ 231045 h 3009544"/>
              <a:gd name="connsiteX810" fmla="*/ 1419897 w 3070954"/>
              <a:gd name="connsiteY810" fmla="*/ 152645 h 3009544"/>
              <a:gd name="connsiteX811" fmla="*/ 1445816 w 3070954"/>
              <a:gd name="connsiteY811" fmla="*/ 91205 h 3009544"/>
              <a:gd name="connsiteX812" fmla="*/ 1281177 w 3070954"/>
              <a:gd name="connsiteY812" fmla="*/ 261125 h 3009544"/>
              <a:gd name="connsiteX813" fmla="*/ 1321336 w 3070954"/>
              <a:gd name="connsiteY813" fmla="*/ 227045 h 3009544"/>
              <a:gd name="connsiteX814" fmla="*/ 1386937 w 3070954"/>
              <a:gd name="connsiteY814" fmla="*/ 160165 h 3009544"/>
              <a:gd name="connsiteX815" fmla="*/ 1417977 w 3070954"/>
              <a:gd name="connsiteY815" fmla="*/ 125765 h 3009544"/>
              <a:gd name="connsiteX816" fmla="*/ 1408376 w 3070954"/>
              <a:gd name="connsiteY816" fmla="*/ 147685 h 3009544"/>
              <a:gd name="connsiteX817" fmla="*/ 1388376 w 3070954"/>
              <a:gd name="connsiteY817" fmla="*/ 223045 h 3009544"/>
              <a:gd name="connsiteX818" fmla="*/ 1382616 w 3070954"/>
              <a:gd name="connsiteY818" fmla="*/ 266565 h 3009544"/>
              <a:gd name="connsiteX819" fmla="*/ 1376057 w 3070954"/>
              <a:gd name="connsiteY819" fmla="*/ 315525 h 3009544"/>
              <a:gd name="connsiteX820" fmla="*/ 1378937 w 3070954"/>
              <a:gd name="connsiteY820" fmla="*/ 352645 h 3009544"/>
              <a:gd name="connsiteX821" fmla="*/ 1379257 w 3070954"/>
              <a:gd name="connsiteY821" fmla="*/ 355525 h 3009544"/>
              <a:gd name="connsiteX822" fmla="*/ 1304217 w 3070954"/>
              <a:gd name="connsiteY822" fmla="*/ 292005 h 3009544"/>
              <a:gd name="connsiteX823" fmla="*/ 1277656 w 3070954"/>
              <a:gd name="connsiteY823" fmla="*/ 271525 h 3009544"/>
              <a:gd name="connsiteX824" fmla="*/ 1281177 w 3070954"/>
              <a:gd name="connsiteY824" fmla="*/ 261125 h 3009544"/>
              <a:gd name="connsiteX825" fmla="*/ 1296536 w 3070954"/>
              <a:gd name="connsiteY825" fmla="*/ 320965 h 3009544"/>
              <a:gd name="connsiteX826" fmla="*/ 1459576 w 3070954"/>
              <a:gd name="connsiteY826" fmla="*/ 463045 h 3009544"/>
              <a:gd name="connsiteX827" fmla="*/ 1514937 w 3070954"/>
              <a:gd name="connsiteY827" fmla="*/ 542405 h 3009544"/>
              <a:gd name="connsiteX828" fmla="*/ 1530616 w 3070954"/>
              <a:gd name="connsiteY828" fmla="*/ 592005 h 3009544"/>
              <a:gd name="connsiteX829" fmla="*/ 1531257 w 3070954"/>
              <a:gd name="connsiteY829" fmla="*/ 596325 h 3009544"/>
              <a:gd name="connsiteX830" fmla="*/ 1487576 w 3070954"/>
              <a:gd name="connsiteY830" fmla="*/ 577445 h 3009544"/>
              <a:gd name="connsiteX831" fmla="*/ 1462937 w 3070954"/>
              <a:gd name="connsiteY831" fmla="*/ 557445 h 3009544"/>
              <a:gd name="connsiteX832" fmla="*/ 1457336 w 3070954"/>
              <a:gd name="connsiteY832" fmla="*/ 551685 h 3009544"/>
              <a:gd name="connsiteX833" fmla="*/ 1424376 w 3070954"/>
              <a:gd name="connsiteY833" fmla="*/ 583685 h 3009544"/>
              <a:gd name="connsiteX834" fmla="*/ 1420856 w 3070954"/>
              <a:gd name="connsiteY834" fmla="*/ 589605 h 3009544"/>
              <a:gd name="connsiteX835" fmla="*/ 1402937 w 3070954"/>
              <a:gd name="connsiteY835" fmla="*/ 607525 h 3009544"/>
              <a:gd name="connsiteX836" fmla="*/ 1379097 w 3070954"/>
              <a:gd name="connsiteY836" fmla="*/ 630405 h 3009544"/>
              <a:gd name="connsiteX837" fmla="*/ 1359736 w 3070954"/>
              <a:gd name="connsiteY837" fmla="*/ 537285 h 3009544"/>
              <a:gd name="connsiteX838" fmla="*/ 1317496 w 3070954"/>
              <a:gd name="connsiteY838" fmla="*/ 411845 h 3009544"/>
              <a:gd name="connsiteX839" fmla="*/ 1253496 w 3070954"/>
              <a:gd name="connsiteY839" fmla="*/ 303205 h 3009544"/>
              <a:gd name="connsiteX840" fmla="*/ 1225977 w 3070954"/>
              <a:gd name="connsiteY840" fmla="*/ 266085 h 3009544"/>
              <a:gd name="connsiteX841" fmla="*/ 1296536 w 3070954"/>
              <a:gd name="connsiteY841" fmla="*/ 320965 h 3009544"/>
              <a:gd name="connsiteX842" fmla="*/ 1086616 w 3070954"/>
              <a:gd name="connsiteY842" fmla="*/ 182245 h 3009544"/>
              <a:gd name="connsiteX843" fmla="*/ 1140216 w 3070954"/>
              <a:gd name="connsiteY843" fmla="*/ 204165 h 3009544"/>
              <a:gd name="connsiteX844" fmla="*/ 1179736 w 3070954"/>
              <a:gd name="connsiteY844" fmla="*/ 231205 h 3009544"/>
              <a:gd name="connsiteX845" fmla="*/ 1181176 w 3070954"/>
              <a:gd name="connsiteY845" fmla="*/ 232805 h 3009544"/>
              <a:gd name="connsiteX846" fmla="*/ 1184216 w 3070954"/>
              <a:gd name="connsiteY846" fmla="*/ 234565 h 3009544"/>
              <a:gd name="connsiteX847" fmla="*/ 1190296 w 3070954"/>
              <a:gd name="connsiteY847" fmla="*/ 239205 h 3009544"/>
              <a:gd name="connsiteX848" fmla="*/ 1215417 w 3070954"/>
              <a:gd name="connsiteY848" fmla="*/ 272485 h 3009544"/>
              <a:gd name="connsiteX849" fmla="*/ 1245816 w 3070954"/>
              <a:gd name="connsiteY849" fmla="*/ 316165 h 3009544"/>
              <a:gd name="connsiteX850" fmla="*/ 1305656 w 3070954"/>
              <a:gd name="connsiteY850" fmla="*/ 424325 h 3009544"/>
              <a:gd name="connsiteX851" fmla="*/ 1343416 w 3070954"/>
              <a:gd name="connsiteY851" fmla="*/ 539845 h 3009544"/>
              <a:gd name="connsiteX852" fmla="*/ 1363257 w 3070954"/>
              <a:gd name="connsiteY852" fmla="*/ 647525 h 3009544"/>
              <a:gd name="connsiteX853" fmla="*/ 1349977 w 3070954"/>
              <a:gd name="connsiteY853" fmla="*/ 662085 h 3009544"/>
              <a:gd name="connsiteX854" fmla="*/ 1298937 w 3070954"/>
              <a:gd name="connsiteY854" fmla="*/ 713285 h 3009544"/>
              <a:gd name="connsiteX855" fmla="*/ 1279097 w 3070954"/>
              <a:gd name="connsiteY855" fmla="*/ 729125 h 3009544"/>
              <a:gd name="connsiteX856" fmla="*/ 1270776 w 3070954"/>
              <a:gd name="connsiteY856" fmla="*/ 702405 h 3009544"/>
              <a:gd name="connsiteX857" fmla="*/ 1264696 w 3070954"/>
              <a:gd name="connsiteY857" fmla="*/ 661445 h 3009544"/>
              <a:gd name="connsiteX858" fmla="*/ 1257336 w 3070954"/>
              <a:gd name="connsiteY858" fmla="*/ 577605 h 3009544"/>
              <a:gd name="connsiteX859" fmla="*/ 1239097 w 3070954"/>
              <a:gd name="connsiteY859" fmla="*/ 488325 h 3009544"/>
              <a:gd name="connsiteX860" fmla="*/ 1213977 w 3070954"/>
              <a:gd name="connsiteY860" fmla="*/ 404645 h 3009544"/>
              <a:gd name="connsiteX861" fmla="*/ 1132536 w 3070954"/>
              <a:gd name="connsiteY861" fmla="*/ 256325 h 3009544"/>
              <a:gd name="connsiteX862" fmla="*/ 1074937 w 3070954"/>
              <a:gd name="connsiteY862" fmla="*/ 189765 h 3009544"/>
              <a:gd name="connsiteX863" fmla="*/ 1058136 w 3070954"/>
              <a:gd name="connsiteY863" fmla="*/ 171045 h 3009544"/>
              <a:gd name="connsiteX864" fmla="*/ 1086616 w 3070954"/>
              <a:gd name="connsiteY864" fmla="*/ 182245 h 3009544"/>
              <a:gd name="connsiteX865" fmla="*/ 963576 w 3070954"/>
              <a:gd name="connsiteY865" fmla="*/ 140965 h 3009544"/>
              <a:gd name="connsiteX866" fmla="*/ 960216 w 3070954"/>
              <a:gd name="connsiteY866" fmla="*/ 135845 h 3009544"/>
              <a:gd name="connsiteX867" fmla="*/ 995896 w 3070954"/>
              <a:gd name="connsiteY867" fmla="*/ 150725 h 3009544"/>
              <a:gd name="connsiteX868" fmla="*/ 1026616 w 3070954"/>
              <a:gd name="connsiteY868" fmla="*/ 161285 h 3009544"/>
              <a:gd name="connsiteX869" fmla="*/ 1077816 w 3070954"/>
              <a:gd name="connsiteY869" fmla="*/ 213445 h 3009544"/>
              <a:gd name="connsiteX870" fmla="*/ 1129497 w 3070954"/>
              <a:gd name="connsiteY870" fmla="*/ 279525 h 3009544"/>
              <a:gd name="connsiteX871" fmla="*/ 1207736 w 3070954"/>
              <a:gd name="connsiteY871" fmla="*/ 434565 h 3009544"/>
              <a:gd name="connsiteX872" fmla="*/ 1228696 w 3070954"/>
              <a:gd name="connsiteY872" fmla="*/ 523525 h 3009544"/>
              <a:gd name="connsiteX873" fmla="*/ 1242937 w 3070954"/>
              <a:gd name="connsiteY873" fmla="*/ 609285 h 3009544"/>
              <a:gd name="connsiteX874" fmla="*/ 1251576 w 3070954"/>
              <a:gd name="connsiteY874" fmla="*/ 693605 h 3009544"/>
              <a:gd name="connsiteX875" fmla="*/ 1264856 w 3070954"/>
              <a:gd name="connsiteY875" fmla="*/ 739685 h 3009544"/>
              <a:gd name="connsiteX876" fmla="*/ 1242776 w 3070954"/>
              <a:gd name="connsiteY876" fmla="*/ 760485 h 3009544"/>
              <a:gd name="connsiteX877" fmla="*/ 1214296 w 3070954"/>
              <a:gd name="connsiteY877" fmla="*/ 794885 h 3009544"/>
              <a:gd name="connsiteX878" fmla="*/ 1175417 w 3070954"/>
              <a:gd name="connsiteY878" fmla="*/ 734565 h 3009544"/>
              <a:gd name="connsiteX879" fmla="*/ 1154776 w 3070954"/>
              <a:gd name="connsiteY879" fmla="*/ 709605 h 3009544"/>
              <a:gd name="connsiteX880" fmla="*/ 1137977 w 3070954"/>
              <a:gd name="connsiteY880" fmla="*/ 681125 h 3009544"/>
              <a:gd name="connsiteX881" fmla="*/ 1111576 w 3070954"/>
              <a:gd name="connsiteY881" fmla="*/ 604325 h 3009544"/>
              <a:gd name="connsiteX882" fmla="*/ 1105977 w 3070954"/>
              <a:gd name="connsiteY882" fmla="*/ 567845 h 3009544"/>
              <a:gd name="connsiteX883" fmla="*/ 1094457 w 3070954"/>
              <a:gd name="connsiteY883" fmla="*/ 525445 h 3009544"/>
              <a:gd name="connsiteX884" fmla="*/ 1071897 w 3070954"/>
              <a:gd name="connsiteY884" fmla="*/ 451525 h 3009544"/>
              <a:gd name="connsiteX885" fmla="*/ 1008216 w 3070954"/>
              <a:gd name="connsiteY885" fmla="*/ 295045 h 3009544"/>
              <a:gd name="connsiteX886" fmla="*/ 980056 w 3070954"/>
              <a:gd name="connsiteY886" fmla="*/ 225765 h 3009544"/>
              <a:gd name="connsiteX887" fmla="*/ 970457 w 3070954"/>
              <a:gd name="connsiteY887" fmla="*/ 164165 h 3009544"/>
              <a:gd name="connsiteX888" fmla="*/ 963576 w 3070954"/>
              <a:gd name="connsiteY888" fmla="*/ 140965 h 3009544"/>
              <a:gd name="connsiteX889" fmla="*/ 1190937 w 3070954"/>
              <a:gd name="connsiteY889" fmla="*/ 822405 h 3009544"/>
              <a:gd name="connsiteX890" fmla="*/ 1189656 w 3070954"/>
              <a:gd name="connsiteY890" fmla="*/ 824165 h 3009544"/>
              <a:gd name="connsiteX891" fmla="*/ 1189176 w 3070954"/>
              <a:gd name="connsiteY891" fmla="*/ 816965 h 3009544"/>
              <a:gd name="connsiteX892" fmla="*/ 1189816 w 3070954"/>
              <a:gd name="connsiteY892" fmla="*/ 817605 h 3009544"/>
              <a:gd name="connsiteX893" fmla="*/ 1190937 w 3070954"/>
              <a:gd name="connsiteY893" fmla="*/ 822405 h 3009544"/>
              <a:gd name="connsiteX894" fmla="*/ 979736 w 3070954"/>
              <a:gd name="connsiteY894" fmla="*/ 266885 h 3009544"/>
              <a:gd name="connsiteX895" fmla="*/ 987096 w 3070954"/>
              <a:gd name="connsiteY895" fmla="*/ 284005 h 3009544"/>
              <a:gd name="connsiteX896" fmla="*/ 1023736 w 3070954"/>
              <a:gd name="connsiteY896" fmla="*/ 363365 h 3009544"/>
              <a:gd name="connsiteX897" fmla="*/ 1055417 w 3070954"/>
              <a:gd name="connsiteY897" fmla="*/ 452005 h 3009544"/>
              <a:gd name="connsiteX898" fmla="*/ 1081497 w 3070954"/>
              <a:gd name="connsiteY898" fmla="*/ 540325 h 3009544"/>
              <a:gd name="connsiteX899" fmla="*/ 1099256 w 3070954"/>
              <a:gd name="connsiteY899" fmla="*/ 624165 h 3009544"/>
              <a:gd name="connsiteX900" fmla="*/ 1115897 w 3070954"/>
              <a:gd name="connsiteY900" fmla="*/ 672965 h 3009544"/>
              <a:gd name="connsiteX901" fmla="*/ 1097336 w 3070954"/>
              <a:gd name="connsiteY901" fmla="*/ 655045 h 3009544"/>
              <a:gd name="connsiteX902" fmla="*/ 1009977 w 3070954"/>
              <a:gd name="connsiteY902" fmla="*/ 601445 h 3009544"/>
              <a:gd name="connsiteX903" fmla="*/ 983736 w 3070954"/>
              <a:gd name="connsiteY903" fmla="*/ 562405 h 3009544"/>
              <a:gd name="connsiteX904" fmla="*/ 959896 w 3070954"/>
              <a:gd name="connsiteY904" fmla="*/ 480805 h 3009544"/>
              <a:gd name="connsiteX905" fmla="*/ 956056 w 3070954"/>
              <a:gd name="connsiteY905" fmla="*/ 387205 h 3009544"/>
              <a:gd name="connsiteX906" fmla="*/ 958296 w 3070954"/>
              <a:gd name="connsiteY906" fmla="*/ 358085 h 3009544"/>
              <a:gd name="connsiteX907" fmla="*/ 959736 w 3070954"/>
              <a:gd name="connsiteY907" fmla="*/ 354885 h 3009544"/>
              <a:gd name="connsiteX908" fmla="*/ 979736 w 3070954"/>
              <a:gd name="connsiteY908" fmla="*/ 266885 h 3009544"/>
              <a:gd name="connsiteX909" fmla="*/ 944536 w 3070954"/>
              <a:gd name="connsiteY909" fmla="*/ 388965 h 3009544"/>
              <a:gd name="connsiteX910" fmla="*/ 947096 w 3070954"/>
              <a:gd name="connsiteY910" fmla="*/ 489605 h 3009544"/>
              <a:gd name="connsiteX911" fmla="*/ 970136 w 3070954"/>
              <a:gd name="connsiteY911" fmla="*/ 568005 h 3009544"/>
              <a:gd name="connsiteX912" fmla="*/ 986296 w 3070954"/>
              <a:gd name="connsiteY912" fmla="*/ 593765 h 3009544"/>
              <a:gd name="connsiteX913" fmla="*/ 876056 w 3070954"/>
              <a:gd name="connsiteY913" fmla="*/ 572645 h 3009544"/>
              <a:gd name="connsiteX914" fmla="*/ 873176 w 3070954"/>
              <a:gd name="connsiteY914" fmla="*/ 572485 h 3009544"/>
              <a:gd name="connsiteX915" fmla="*/ 944536 w 3070954"/>
              <a:gd name="connsiteY915" fmla="*/ 388965 h 3009544"/>
              <a:gd name="connsiteX916" fmla="*/ 920696 w 3070954"/>
              <a:gd name="connsiteY916" fmla="*/ 606565 h 3009544"/>
              <a:gd name="connsiteX917" fmla="*/ 1044536 w 3070954"/>
              <a:gd name="connsiteY917" fmla="*/ 648005 h 3009544"/>
              <a:gd name="connsiteX918" fmla="*/ 1087897 w 3070954"/>
              <a:gd name="connsiteY918" fmla="*/ 686725 h 3009544"/>
              <a:gd name="connsiteX919" fmla="*/ 1131096 w 3070954"/>
              <a:gd name="connsiteY919" fmla="*/ 728325 h 3009544"/>
              <a:gd name="connsiteX920" fmla="*/ 1163256 w 3070954"/>
              <a:gd name="connsiteY920" fmla="*/ 769765 h 3009544"/>
              <a:gd name="connsiteX921" fmla="*/ 1173656 w 3070954"/>
              <a:gd name="connsiteY921" fmla="*/ 782885 h 3009544"/>
              <a:gd name="connsiteX922" fmla="*/ 1178776 w 3070954"/>
              <a:gd name="connsiteY922" fmla="*/ 804325 h 3009544"/>
              <a:gd name="connsiteX923" fmla="*/ 1180376 w 3070954"/>
              <a:gd name="connsiteY923" fmla="*/ 836805 h 3009544"/>
              <a:gd name="connsiteX924" fmla="*/ 1170296 w 3070954"/>
              <a:gd name="connsiteY924" fmla="*/ 852805 h 3009544"/>
              <a:gd name="connsiteX925" fmla="*/ 1144696 w 3070954"/>
              <a:gd name="connsiteY925" fmla="*/ 814245 h 3009544"/>
              <a:gd name="connsiteX926" fmla="*/ 1096216 w 3070954"/>
              <a:gd name="connsiteY926" fmla="*/ 751685 h 3009544"/>
              <a:gd name="connsiteX927" fmla="*/ 1041336 w 3070954"/>
              <a:gd name="connsiteY927" fmla="*/ 703205 h 3009544"/>
              <a:gd name="connsiteX928" fmla="*/ 969336 w 3070954"/>
              <a:gd name="connsiteY928" fmla="*/ 652325 h 3009544"/>
              <a:gd name="connsiteX929" fmla="*/ 865816 w 3070954"/>
              <a:gd name="connsiteY929" fmla="*/ 600325 h 3009544"/>
              <a:gd name="connsiteX930" fmla="*/ 920696 w 3070954"/>
              <a:gd name="connsiteY930" fmla="*/ 606565 h 3009544"/>
              <a:gd name="connsiteX931" fmla="*/ 656376 w 3070954"/>
              <a:gd name="connsiteY931" fmla="*/ 562245 h 3009544"/>
              <a:gd name="connsiteX932" fmla="*/ 783576 w 3070954"/>
              <a:gd name="connsiteY932" fmla="*/ 589125 h 3009544"/>
              <a:gd name="connsiteX933" fmla="*/ 825816 w 3070954"/>
              <a:gd name="connsiteY933" fmla="*/ 596805 h 3009544"/>
              <a:gd name="connsiteX934" fmla="*/ 839576 w 3070954"/>
              <a:gd name="connsiteY934" fmla="*/ 603365 h 3009544"/>
              <a:gd name="connsiteX935" fmla="*/ 904696 w 3070954"/>
              <a:gd name="connsiteY935" fmla="*/ 634405 h 3009544"/>
              <a:gd name="connsiteX936" fmla="*/ 979096 w 3070954"/>
              <a:gd name="connsiteY936" fmla="*/ 674725 h 3009544"/>
              <a:gd name="connsiteX937" fmla="*/ 1087576 w 3070954"/>
              <a:gd name="connsiteY937" fmla="*/ 766085 h 3009544"/>
              <a:gd name="connsiteX938" fmla="*/ 1128216 w 3070954"/>
              <a:gd name="connsiteY938" fmla="*/ 819525 h 3009544"/>
              <a:gd name="connsiteX939" fmla="*/ 1150616 w 3070954"/>
              <a:gd name="connsiteY939" fmla="*/ 854245 h 3009544"/>
              <a:gd name="connsiteX940" fmla="*/ 1160216 w 3070954"/>
              <a:gd name="connsiteY940" fmla="*/ 870565 h 3009544"/>
              <a:gd name="connsiteX941" fmla="*/ 1150296 w 3070954"/>
              <a:gd name="connsiteY941" fmla="*/ 888005 h 3009544"/>
              <a:gd name="connsiteX942" fmla="*/ 1121656 w 3070954"/>
              <a:gd name="connsiteY942" fmla="*/ 969765 h 3009544"/>
              <a:gd name="connsiteX943" fmla="*/ 1042776 w 3070954"/>
              <a:gd name="connsiteY943" fmla="*/ 845605 h 3009544"/>
              <a:gd name="connsiteX944" fmla="*/ 906136 w 3070954"/>
              <a:gd name="connsiteY944" fmla="*/ 713765 h 3009544"/>
              <a:gd name="connsiteX945" fmla="*/ 827256 w 3070954"/>
              <a:gd name="connsiteY945" fmla="*/ 665445 h 3009544"/>
              <a:gd name="connsiteX946" fmla="*/ 746457 w 3070954"/>
              <a:gd name="connsiteY946" fmla="*/ 607845 h 3009544"/>
              <a:gd name="connsiteX947" fmla="*/ 663096 w 3070954"/>
              <a:gd name="connsiteY947" fmla="*/ 566405 h 3009544"/>
              <a:gd name="connsiteX948" fmla="*/ 637656 w 3070954"/>
              <a:gd name="connsiteY948" fmla="*/ 559845 h 3009544"/>
              <a:gd name="connsiteX949" fmla="*/ 656376 w 3070954"/>
              <a:gd name="connsiteY949" fmla="*/ 562245 h 3009544"/>
              <a:gd name="connsiteX950" fmla="*/ 528856 w 3070954"/>
              <a:gd name="connsiteY950" fmla="*/ 544805 h 3009544"/>
              <a:gd name="connsiteX951" fmla="*/ 619096 w 3070954"/>
              <a:gd name="connsiteY951" fmla="*/ 557605 h 3009544"/>
              <a:gd name="connsiteX952" fmla="*/ 638776 w 3070954"/>
              <a:gd name="connsiteY952" fmla="*/ 569125 h 3009544"/>
              <a:gd name="connsiteX953" fmla="*/ 700536 w 3070954"/>
              <a:gd name="connsiteY953" fmla="*/ 595525 h 3009544"/>
              <a:gd name="connsiteX954" fmla="*/ 864856 w 3070954"/>
              <a:gd name="connsiteY954" fmla="*/ 705925 h 3009544"/>
              <a:gd name="connsiteX955" fmla="*/ 1017977 w 3070954"/>
              <a:gd name="connsiteY955" fmla="*/ 841765 h 3009544"/>
              <a:gd name="connsiteX956" fmla="*/ 1073017 w 3070954"/>
              <a:gd name="connsiteY956" fmla="*/ 919205 h 3009544"/>
              <a:gd name="connsiteX957" fmla="*/ 1118616 w 3070954"/>
              <a:gd name="connsiteY957" fmla="*/ 999045 h 3009544"/>
              <a:gd name="connsiteX958" fmla="*/ 1118296 w 3070954"/>
              <a:gd name="connsiteY958" fmla="*/ 1023525 h 3009544"/>
              <a:gd name="connsiteX959" fmla="*/ 1130136 w 3070954"/>
              <a:gd name="connsiteY959" fmla="*/ 1103685 h 3009544"/>
              <a:gd name="connsiteX960" fmla="*/ 1119256 w 3070954"/>
              <a:gd name="connsiteY960" fmla="*/ 1099045 h 3009544"/>
              <a:gd name="connsiteX961" fmla="*/ 1066136 w 3070954"/>
              <a:gd name="connsiteY961" fmla="*/ 1068165 h 3009544"/>
              <a:gd name="connsiteX962" fmla="*/ 1015576 w 3070954"/>
              <a:gd name="connsiteY962" fmla="*/ 1038565 h 3009544"/>
              <a:gd name="connsiteX963" fmla="*/ 965336 w 3070954"/>
              <a:gd name="connsiteY963" fmla="*/ 1001765 h 3009544"/>
              <a:gd name="connsiteX964" fmla="*/ 792376 w 3070954"/>
              <a:gd name="connsiteY964" fmla="*/ 847685 h 3009544"/>
              <a:gd name="connsiteX965" fmla="*/ 713977 w 3070954"/>
              <a:gd name="connsiteY965" fmla="*/ 762565 h 3009544"/>
              <a:gd name="connsiteX966" fmla="*/ 676376 w 3070954"/>
              <a:gd name="connsiteY966" fmla="*/ 721605 h 3009544"/>
              <a:gd name="connsiteX967" fmla="*/ 640696 w 3070954"/>
              <a:gd name="connsiteY967" fmla="*/ 674725 h 3009544"/>
              <a:gd name="connsiteX968" fmla="*/ 563256 w 3070954"/>
              <a:gd name="connsiteY968" fmla="*/ 584965 h 3009544"/>
              <a:gd name="connsiteX969" fmla="*/ 523736 w 3070954"/>
              <a:gd name="connsiteY969" fmla="*/ 543525 h 3009544"/>
              <a:gd name="connsiteX970" fmla="*/ 528856 w 3070954"/>
              <a:gd name="connsiteY970" fmla="*/ 544805 h 3009544"/>
              <a:gd name="connsiteX971" fmla="*/ 429816 w 3070954"/>
              <a:gd name="connsiteY971" fmla="*/ 504165 h 3009544"/>
              <a:gd name="connsiteX972" fmla="*/ 505977 w 3070954"/>
              <a:gd name="connsiteY972" fmla="*/ 538885 h 3009544"/>
              <a:gd name="connsiteX973" fmla="*/ 521497 w 3070954"/>
              <a:gd name="connsiteY973" fmla="*/ 554885 h 3009544"/>
              <a:gd name="connsiteX974" fmla="*/ 558457 w 3070954"/>
              <a:gd name="connsiteY974" fmla="*/ 597925 h 3009544"/>
              <a:gd name="connsiteX975" fmla="*/ 633816 w 3070954"/>
              <a:gd name="connsiteY975" fmla="*/ 688805 h 3009544"/>
              <a:gd name="connsiteX976" fmla="*/ 669017 w 3070954"/>
              <a:gd name="connsiteY976" fmla="*/ 735845 h 3009544"/>
              <a:gd name="connsiteX977" fmla="*/ 706136 w 3070954"/>
              <a:gd name="connsiteY977" fmla="*/ 776645 h 3009544"/>
              <a:gd name="connsiteX978" fmla="*/ 782937 w 3070954"/>
              <a:gd name="connsiteY978" fmla="*/ 860325 h 3009544"/>
              <a:gd name="connsiteX979" fmla="*/ 955256 w 3070954"/>
              <a:gd name="connsiteY979" fmla="*/ 1015365 h 3009544"/>
              <a:gd name="connsiteX980" fmla="*/ 1055897 w 3070954"/>
              <a:gd name="connsiteY980" fmla="*/ 1081925 h 3009544"/>
              <a:gd name="connsiteX981" fmla="*/ 1101336 w 3070954"/>
              <a:gd name="connsiteY981" fmla="*/ 1110565 h 3009544"/>
              <a:gd name="connsiteX982" fmla="*/ 1130937 w 3070954"/>
              <a:gd name="connsiteY982" fmla="*/ 1124005 h 3009544"/>
              <a:gd name="connsiteX983" fmla="*/ 1137336 w 3070954"/>
              <a:gd name="connsiteY983" fmla="*/ 1127365 h 3009544"/>
              <a:gd name="connsiteX984" fmla="*/ 1171256 w 3070954"/>
              <a:gd name="connsiteY984" fmla="*/ 1203845 h 3009544"/>
              <a:gd name="connsiteX985" fmla="*/ 1057176 w 3070954"/>
              <a:gd name="connsiteY985" fmla="*/ 1168005 h 3009544"/>
              <a:gd name="connsiteX986" fmla="*/ 920056 w 3070954"/>
              <a:gd name="connsiteY986" fmla="*/ 1110885 h 3009544"/>
              <a:gd name="connsiteX987" fmla="*/ 786136 w 3070954"/>
              <a:gd name="connsiteY987" fmla="*/ 1042405 h 3009544"/>
              <a:gd name="connsiteX988" fmla="*/ 673336 w 3070954"/>
              <a:gd name="connsiteY988" fmla="*/ 957605 h 3009544"/>
              <a:gd name="connsiteX989" fmla="*/ 567096 w 3070954"/>
              <a:gd name="connsiteY989" fmla="*/ 855365 h 3009544"/>
              <a:gd name="connsiteX990" fmla="*/ 479256 w 3070954"/>
              <a:gd name="connsiteY990" fmla="*/ 739525 h 3009544"/>
              <a:gd name="connsiteX991" fmla="*/ 423896 w 3070954"/>
              <a:gd name="connsiteY991" fmla="*/ 604325 h 3009544"/>
              <a:gd name="connsiteX992" fmla="*/ 411576 w 3070954"/>
              <a:gd name="connsiteY992" fmla="*/ 533605 h 3009544"/>
              <a:gd name="connsiteX993" fmla="*/ 408536 w 3070954"/>
              <a:gd name="connsiteY993" fmla="*/ 496805 h 3009544"/>
              <a:gd name="connsiteX994" fmla="*/ 407896 w 3070954"/>
              <a:gd name="connsiteY994" fmla="*/ 489285 h 3009544"/>
              <a:gd name="connsiteX995" fmla="*/ 429816 w 3070954"/>
              <a:gd name="connsiteY995" fmla="*/ 504165 h 3009544"/>
              <a:gd name="connsiteX996" fmla="*/ 387416 w 3070954"/>
              <a:gd name="connsiteY996" fmla="*/ 600965 h 3009544"/>
              <a:gd name="connsiteX997" fmla="*/ 400696 w 3070954"/>
              <a:gd name="connsiteY997" fmla="*/ 524165 h 3009544"/>
              <a:gd name="connsiteX998" fmla="*/ 408696 w 3070954"/>
              <a:gd name="connsiteY998" fmla="*/ 592645 h 3009544"/>
              <a:gd name="connsiteX999" fmla="*/ 460056 w 3070954"/>
              <a:gd name="connsiteY999" fmla="*/ 732965 h 3009544"/>
              <a:gd name="connsiteX1000" fmla="*/ 542776 w 3070954"/>
              <a:gd name="connsiteY1000" fmla="*/ 849445 h 3009544"/>
              <a:gd name="connsiteX1001" fmla="*/ 648216 w 3070954"/>
              <a:gd name="connsiteY1001" fmla="*/ 957285 h 3009544"/>
              <a:gd name="connsiteX1002" fmla="*/ 705017 w 3070954"/>
              <a:gd name="connsiteY1002" fmla="*/ 1000965 h 3009544"/>
              <a:gd name="connsiteX1003" fmla="*/ 765017 w 3070954"/>
              <a:gd name="connsiteY1003" fmla="*/ 1047365 h 3009544"/>
              <a:gd name="connsiteX1004" fmla="*/ 901656 w 3070954"/>
              <a:gd name="connsiteY1004" fmla="*/ 1120005 h 3009544"/>
              <a:gd name="connsiteX1005" fmla="*/ 1050776 w 3070954"/>
              <a:gd name="connsiteY1005" fmla="*/ 1182405 h 3009544"/>
              <a:gd name="connsiteX1006" fmla="*/ 1125497 w 3070954"/>
              <a:gd name="connsiteY1006" fmla="*/ 1208805 h 3009544"/>
              <a:gd name="connsiteX1007" fmla="*/ 1182136 w 3070954"/>
              <a:gd name="connsiteY1007" fmla="*/ 1222405 h 3009544"/>
              <a:gd name="connsiteX1008" fmla="*/ 1230296 w 3070954"/>
              <a:gd name="connsiteY1008" fmla="*/ 1287205 h 3009544"/>
              <a:gd name="connsiteX1009" fmla="*/ 1252536 w 3070954"/>
              <a:gd name="connsiteY1009" fmla="*/ 1309605 h 3009544"/>
              <a:gd name="connsiteX1010" fmla="*/ 987096 w 3070954"/>
              <a:gd name="connsiteY1010" fmla="*/ 1260325 h 3009544"/>
              <a:gd name="connsiteX1011" fmla="*/ 838296 w 3070954"/>
              <a:gd name="connsiteY1011" fmla="*/ 1188485 h 3009544"/>
              <a:gd name="connsiteX1012" fmla="*/ 703576 w 3070954"/>
              <a:gd name="connsiteY1012" fmla="*/ 1097925 h 3009544"/>
              <a:gd name="connsiteX1013" fmla="*/ 490296 w 3070954"/>
              <a:gd name="connsiteY1013" fmla="*/ 877445 h 3009544"/>
              <a:gd name="connsiteX1014" fmla="*/ 419256 w 3070954"/>
              <a:gd name="connsiteY1014" fmla="*/ 734085 h 3009544"/>
              <a:gd name="connsiteX1015" fmla="*/ 385176 w 3070954"/>
              <a:gd name="connsiteY1015" fmla="*/ 621925 h 3009544"/>
              <a:gd name="connsiteX1016" fmla="*/ 387416 w 3070954"/>
              <a:gd name="connsiteY1016" fmla="*/ 600965 h 3009544"/>
              <a:gd name="connsiteX1017" fmla="*/ 1202776 w 3070954"/>
              <a:gd name="connsiteY1017" fmla="*/ 1348325 h 3009544"/>
              <a:gd name="connsiteX1018" fmla="*/ 1138937 w 3070954"/>
              <a:gd name="connsiteY1018" fmla="*/ 1352165 h 3009544"/>
              <a:gd name="connsiteX1019" fmla="*/ 1105497 w 3070954"/>
              <a:gd name="connsiteY1019" fmla="*/ 1351045 h 3009544"/>
              <a:gd name="connsiteX1020" fmla="*/ 1058937 w 3070954"/>
              <a:gd name="connsiteY1020" fmla="*/ 1348645 h 3009544"/>
              <a:gd name="connsiteX1021" fmla="*/ 893497 w 3070954"/>
              <a:gd name="connsiteY1021" fmla="*/ 1310085 h 3009544"/>
              <a:gd name="connsiteX1022" fmla="*/ 745977 w 3070954"/>
              <a:gd name="connsiteY1022" fmla="*/ 1237445 h 3009544"/>
              <a:gd name="connsiteX1023" fmla="*/ 622136 w 3070954"/>
              <a:gd name="connsiteY1023" fmla="*/ 1132165 h 3009544"/>
              <a:gd name="connsiteX1024" fmla="*/ 526616 w 3070954"/>
              <a:gd name="connsiteY1024" fmla="*/ 1014565 h 3009544"/>
              <a:gd name="connsiteX1025" fmla="*/ 480536 w 3070954"/>
              <a:gd name="connsiteY1025" fmla="*/ 954565 h 3009544"/>
              <a:gd name="connsiteX1026" fmla="*/ 438136 w 3070954"/>
              <a:gd name="connsiteY1026" fmla="*/ 882085 h 3009544"/>
              <a:gd name="connsiteX1027" fmla="*/ 404696 w 3070954"/>
              <a:gd name="connsiteY1027" fmla="*/ 813765 h 3009544"/>
              <a:gd name="connsiteX1028" fmla="*/ 385336 w 3070954"/>
              <a:gd name="connsiteY1028" fmla="*/ 731525 h 3009544"/>
              <a:gd name="connsiteX1029" fmla="*/ 382616 w 3070954"/>
              <a:gd name="connsiteY1029" fmla="*/ 648965 h 3009544"/>
              <a:gd name="connsiteX1030" fmla="*/ 406296 w 3070954"/>
              <a:gd name="connsiteY1030" fmla="*/ 730565 h 3009544"/>
              <a:gd name="connsiteX1031" fmla="*/ 435096 w 3070954"/>
              <a:gd name="connsiteY1031" fmla="*/ 798725 h 3009544"/>
              <a:gd name="connsiteX1032" fmla="*/ 472056 w 3070954"/>
              <a:gd name="connsiteY1032" fmla="*/ 873285 h 3009544"/>
              <a:gd name="connsiteX1033" fmla="*/ 674136 w 3070954"/>
              <a:gd name="connsiteY1033" fmla="*/ 1093125 h 3009544"/>
              <a:gd name="connsiteX1034" fmla="*/ 948856 w 3070954"/>
              <a:gd name="connsiteY1034" fmla="*/ 1261925 h 3009544"/>
              <a:gd name="connsiteX1035" fmla="*/ 1240376 w 3070954"/>
              <a:gd name="connsiteY1035" fmla="*/ 1323845 h 3009544"/>
              <a:gd name="connsiteX1036" fmla="*/ 1266456 w 3070954"/>
              <a:gd name="connsiteY1036" fmla="*/ 1327205 h 3009544"/>
              <a:gd name="connsiteX1037" fmla="*/ 1266616 w 3070954"/>
              <a:gd name="connsiteY1037" fmla="*/ 1327205 h 3009544"/>
              <a:gd name="connsiteX1038" fmla="*/ 1269017 w 3070954"/>
              <a:gd name="connsiteY1038" fmla="*/ 1327525 h 3009544"/>
              <a:gd name="connsiteX1039" fmla="*/ 1273496 w 3070954"/>
              <a:gd name="connsiteY1039" fmla="*/ 1326885 h 3009544"/>
              <a:gd name="connsiteX1040" fmla="*/ 1289977 w 3070954"/>
              <a:gd name="connsiteY1040" fmla="*/ 1338725 h 3009544"/>
              <a:gd name="connsiteX1041" fmla="*/ 1202776 w 3070954"/>
              <a:gd name="connsiteY1041" fmla="*/ 1348325 h 3009544"/>
              <a:gd name="connsiteX1042" fmla="*/ 1324217 w 3070954"/>
              <a:gd name="connsiteY1042" fmla="*/ 1327365 h 3009544"/>
              <a:gd name="connsiteX1043" fmla="*/ 1219096 w 3070954"/>
              <a:gd name="connsiteY1043" fmla="*/ 1228965 h 3009544"/>
              <a:gd name="connsiteX1044" fmla="*/ 1154136 w 3070954"/>
              <a:gd name="connsiteY1044" fmla="*/ 941445 h 3009544"/>
              <a:gd name="connsiteX1045" fmla="*/ 1240856 w 3070954"/>
              <a:gd name="connsiteY1045" fmla="*/ 803525 h 3009544"/>
              <a:gd name="connsiteX1046" fmla="*/ 1262456 w 3070954"/>
              <a:gd name="connsiteY1046" fmla="*/ 776005 h 3009544"/>
              <a:gd name="connsiteX1047" fmla="*/ 1288536 w 3070954"/>
              <a:gd name="connsiteY1047" fmla="*/ 753125 h 3009544"/>
              <a:gd name="connsiteX1048" fmla="*/ 1276217 w 3070954"/>
              <a:gd name="connsiteY1048" fmla="*/ 782085 h 3009544"/>
              <a:gd name="connsiteX1049" fmla="*/ 1243576 w 3070954"/>
              <a:gd name="connsiteY1049" fmla="*/ 889765 h 3009544"/>
              <a:gd name="connsiteX1050" fmla="*/ 1244856 w 3070954"/>
              <a:gd name="connsiteY1050" fmla="*/ 1010565 h 3009544"/>
              <a:gd name="connsiteX1051" fmla="*/ 1259897 w 3070954"/>
              <a:gd name="connsiteY1051" fmla="*/ 1130085 h 3009544"/>
              <a:gd name="connsiteX1052" fmla="*/ 1307416 w 3070954"/>
              <a:gd name="connsiteY1052" fmla="*/ 1228485 h 3009544"/>
              <a:gd name="connsiteX1053" fmla="*/ 1380696 w 3070954"/>
              <a:gd name="connsiteY1053" fmla="*/ 1314885 h 3009544"/>
              <a:gd name="connsiteX1054" fmla="*/ 1462456 w 3070954"/>
              <a:gd name="connsiteY1054" fmla="*/ 1379365 h 3009544"/>
              <a:gd name="connsiteX1055" fmla="*/ 1464536 w 3070954"/>
              <a:gd name="connsiteY1055" fmla="*/ 1380485 h 3009544"/>
              <a:gd name="connsiteX1056" fmla="*/ 1436696 w 3070954"/>
              <a:gd name="connsiteY1056" fmla="*/ 1373765 h 3009544"/>
              <a:gd name="connsiteX1057" fmla="*/ 1386616 w 3070954"/>
              <a:gd name="connsiteY1057" fmla="*/ 1360965 h 3009544"/>
              <a:gd name="connsiteX1058" fmla="*/ 1380696 w 3070954"/>
              <a:gd name="connsiteY1058" fmla="*/ 1358885 h 3009544"/>
              <a:gd name="connsiteX1059" fmla="*/ 1376376 w 3070954"/>
              <a:gd name="connsiteY1059" fmla="*/ 1357285 h 3009544"/>
              <a:gd name="connsiteX1060" fmla="*/ 1324217 w 3070954"/>
              <a:gd name="connsiteY1060" fmla="*/ 1327365 h 3009544"/>
              <a:gd name="connsiteX1061" fmla="*/ 458616 w 3070954"/>
              <a:gd name="connsiteY1061" fmla="*/ 1474885 h 3009544"/>
              <a:gd name="connsiteX1062" fmla="*/ 616856 w 3070954"/>
              <a:gd name="connsiteY1062" fmla="*/ 1453285 h 3009544"/>
              <a:gd name="connsiteX1063" fmla="*/ 698937 w 3070954"/>
              <a:gd name="connsiteY1063" fmla="*/ 1448325 h 3009544"/>
              <a:gd name="connsiteX1064" fmla="*/ 785017 w 3070954"/>
              <a:gd name="connsiteY1064" fmla="*/ 1449285 h 3009544"/>
              <a:gd name="connsiteX1065" fmla="*/ 873816 w 3070954"/>
              <a:gd name="connsiteY1065" fmla="*/ 1445925 h 3009544"/>
              <a:gd name="connsiteX1066" fmla="*/ 963576 w 3070954"/>
              <a:gd name="connsiteY1066" fmla="*/ 1452165 h 3009544"/>
              <a:gd name="connsiteX1067" fmla="*/ 1121336 w 3070954"/>
              <a:gd name="connsiteY1067" fmla="*/ 1454565 h 3009544"/>
              <a:gd name="connsiteX1068" fmla="*/ 1197497 w 3070954"/>
              <a:gd name="connsiteY1068" fmla="*/ 1451045 h 3009544"/>
              <a:gd name="connsiteX1069" fmla="*/ 1277816 w 3070954"/>
              <a:gd name="connsiteY1069" fmla="*/ 1438565 h 3009544"/>
              <a:gd name="connsiteX1070" fmla="*/ 1331736 w 3070954"/>
              <a:gd name="connsiteY1070" fmla="*/ 1421445 h 3009544"/>
              <a:gd name="connsiteX1071" fmla="*/ 1370456 w 3070954"/>
              <a:gd name="connsiteY1071" fmla="*/ 1397125 h 3009544"/>
              <a:gd name="connsiteX1072" fmla="*/ 1368057 w 3070954"/>
              <a:gd name="connsiteY1072" fmla="*/ 1399685 h 3009544"/>
              <a:gd name="connsiteX1073" fmla="*/ 1317496 w 3070954"/>
              <a:gd name="connsiteY1073" fmla="*/ 1439365 h 3009544"/>
              <a:gd name="connsiteX1074" fmla="*/ 1178296 w 3070954"/>
              <a:gd name="connsiteY1074" fmla="*/ 1484165 h 3009544"/>
              <a:gd name="connsiteX1075" fmla="*/ 1030937 w 3070954"/>
              <a:gd name="connsiteY1075" fmla="*/ 1510405 h 3009544"/>
              <a:gd name="connsiteX1076" fmla="*/ 872056 w 3070954"/>
              <a:gd name="connsiteY1076" fmla="*/ 1500965 h 3009544"/>
              <a:gd name="connsiteX1077" fmla="*/ 803256 w 3070954"/>
              <a:gd name="connsiteY1077" fmla="*/ 1498565 h 3009544"/>
              <a:gd name="connsiteX1078" fmla="*/ 727576 w 3070954"/>
              <a:gd name="connsiteY1078" fmla="*/ 1500645 h 3009544"/>
              <a:gd name="connsiteX1079" fmla="*/ 585176 w 3070954"/>
              <a:gd name="connsiteY1079" fmla="*/ 1481125 h 3009544"/>
              <a:gd name="connsiteX1080" fmla="*/ 437656 w 3070954"/>
              <a:gd name="connsiteY1080" fmla="*/ 1481285 h 3009544"/>
              <a:gd name="connsiteX1081" fmla="*/ 434457 w 3070954"/>
              <a:gd name="connsiteY1081" fmla="*/ 1481285 h 3009544"/>
              <a:gd name="connsiteX1082" fmla="*/ 458616 w 3070954"/>
              <a:gd name="connsiteY1082" fmla="*/ 1474885 h 3009544"/>
              <a:gd name="connsiteX1083" fmla="*/ 235896 w 3070954"/>
              <a:gd name="connsiteY1083" fmla="*/ 1563525 h 3009544"/>
              <a:gd name="connsiteX1084" fmla="*/ 306776 w 3070954"/>
              <a:gd name="connsiteY1084" fmla="*/ 1528165 h 3009544"/>
              <a:gd name="connsiteX1085" fmla="*/ 363736 w 3070954"/>
              <a:gd name="connsiteY1085" fmla="*/ 1502405 h 3009544"/>
              <a:gd name="connsiteX1086" fmla="*/ 367896 w 3070954"/>
              <a:gd name="connsiteY1086" fmla="*/ 1502565 h 3009544"/>
              <a:gd name="connsiteX1087" fmla="*/ 370296 w 3070954"/>
              <a:gd name="connsiteY1087" fmla="*/ 1499845 h 3009544"/>
              <a:gd name="connsiteX1088" fmla="*/ 374776 w 3070954"/>
              <a:gd name="connsiteY1088" fmla="*/ 1498085 h 3009544"/>
              <a:gd name="connsiteX1089" fmla="*/ 397977 w 3070954"/>
              <a:gd name="connsiteY1089" fmla="*/ 1490405 h 3009544"/>
              <a:gd name="connsiteX1090" fmla="*/ 417977 w 3070954"/>
              <a:gd name="connsiteY1090" fmla="*/ 1490725 h 3009544"/>
              <a:gd name="connsiteX1091" fmla="*/ 485336 w 3070954"/>
              <a:gd name="connsiteY1091" fmla="*/ 1492965 h 3009544"/>
              <a:gd name="connsiteX1092" fmla="*/ 558616 w 3070954"/>
              <a:gd name="connsiteY1092" fmla="*/ 1491045 h 3009544"/>
              <a:gd name="connsiteX1093" fmla="*/ 626776 w 3070954"/>
              <a:gd name="connsiteY1093" fmla="*/ 1499205 h 3009544"/>
              <a:gd name="connsiteX1094" fmla="*/ 694776 w 3070954"/>
              <a:gd name="connsiteY1094" fmla="*/ 1512485 h 3009544"/>
              <a:gd name="connsiteX1095" fmla="*/ 759896 w 3070954"/>
              <a:gd name="connsiteY1095" fmla="*/ 1514405 h 3009544"/>
              <a:gd name="connsiteX1096" fmla="*/ 904216 w 3070954"/>
              <a:gd name="connsiteY1096" fmla="*/ 1518405 h 3009544"/>
              <a:gd name="connsiteX1097" fmla="*/ 1046457 w 3070954"/>
              <a:gd name="connsiteY1097" fmla="*/ 1525925 h 3009544"/>
              <a:gd name="connsiteX1098" fmla="*/ 1187096 w 3070954"/>
              <a:gd name="connsiteY1098" fmla="*/ 1499205 h 3009544"/>
              <a:gd name="connsiteX1099" fmla="*/ 1314137 w 3070954"/>
              <a:gd name="connsiteY1099" fmla="*/ 1459845 h 3009544"/>
              <a:gd name="connsiteX1100" fmla="*/ 1362296 w 3070954"/>
              <a:gd name="connsiteY1100" fmla="*/ 1426725 h 3009544"/>
              <a:gd name="connsiteX1101" fmla="*/ 1383416 w 3070954"/>
              <a:gd name="connsiteY1101" fmla="*/ 1407845 h 3009544"/>
              <a:gd name="connsiteX1102" fmla="*/ 1397017 w 3070954"/>
              <a:gd name="connsiteY1102" fmla="*/ 1390405 h 3009544"/>
              <a:gd name="connsiteX1103" fmla="*/ 1420217 w 3070954"/>
              <a:gd name="connsiteY1103" fmla="*/ 1397445 h 3009544"/>
              <a:gd name="connsiteX1104" fmla="*/ 1401977 w 3070954"/>
              <a:gd name="connsiteY1104" fmla="*/ 1410085 h 3009544"/>
              <a:gd name="connsiteX1105" fmla="*/ 1374137 w 3070954"/>
              <a:gd name="connsiteY1105" fmla="*/ 1432965 h 3009544"/>
              <a:gd name="connsiteX1106" fmla="*/ 1347097 w 3070954"/>
              <a:gd name="connsiteY1106" fmla="*/ 1452485 h 3009544"/>
              <a:gd name="connsiteX1107" fmla="*/ 1311257 w 3070954"/>
              <a:gd name="connsiteY1107" fmla="*/ 1477925 h 3009544"/>
              <a:gd name="connsiteX1108" fmla="*/ 1247897 w 3070954"/>
              <a:gd name="connsiteY1108" fmla="*/ 1516805 h 3009544"/>
              <a:gd name="connsiteX1109" fmla="*/ 1174136 w 3070954"/>
              <a:gd name="connsiteY1109" fmla="*/ 1548325 h 3009544"/>
              <a:gd name="connsiteX1110" fmla="*/ 1012856 w 3070954"/>
              <a:gd name="connsiteY1110" fmla="*/ 1576325 h 3009544"/>
              <a:gd name="connsiteX1111" fmla="*/ 860856 w 3070954"/>
              <a:gd name="connsiteY1111" fmla="*/ 1582565 h 3009544"/>
              <a:gd name="connsiteX1112" fmla="*/ 698616 w 3070954"/>
              <a:gd name="connsiteY1112" fmla="*/ 1574245 h 3009544"/>
              <a:gd name="connsiteX1113" fmla="*/ 624536 w 3070954"/>
              <a:gd name="connsiteY1113" fmla="*/ 1565445 h 3009544"/>
              <a:gd name="connsiteX1114" fmla="*/ 540856 w 3070954"/>
              <a:gd name="connsiteY1114" fmla="*/ 1557605 h 3009544"/>
              <a:gd name="connsiteX1115" fmla="*/ 389017 w 3070954"/>
              <a:gd name="connsiteY1115" fmla="*/ 1544485 h 3009544"/>
              <a:gd name="connsiteX1116" fmla="*/ 311256 w 3070954"/>
              <a:gd name="connsiteY1116" fmla="*/ 1549605 h 3009544"/>
              <a:gd name="connsiteX1117" fmla="*/ 237656 w 3070954"/>
              <a:gd name="connsiteY1117" fmla="*/ 1567205 h 3009544"/>
              <a:gd name="connsiteX1118" fmla="*/ 227256 w 3070954"/>
              <a:gd name="connsiteY1118" fmla="*/ 1569605 h 3009544"/>
              <a:gd name="connsiteX1119" fmla="*/ 235896 w 3070954"/>
              <a:gd name="connsiteY1119" fmla="*/ 1563525 h 3009544"/>
              <a:gd name="connsiteX1120" fmla="*/ 139096 w 3070954"/>
              <a:gd name="connsiteY1120" fmla="*/ 1618405 h 3009544"/>
              <a:gd name="connsiteX1121" fmla="*/ 176376 w 3070954"/>
              <a:gd name="connsiteY1121" fmla="*/ 1599685 h 3009544"/>
              <a:gd name="connsiteX1122" fmla="*/ 213656 w 3070954"/>
              <a:gd name="connsiteY1122" fmla="*/ 1577605 h 3009544"/>
              <a:gd name="connsiteX1123" fmla="*/ 264376 w 3070954"/>
              <a:gd name="connsiteY1123" fmla="*/ 1568805 h 3009544"/>
              <a:gd name="connsiteX1124" fmla="*/ 344056 w 3070954"/>
              <a:gd name="connsiteY1124" fmla="*/ 1559845 h 3009544"/>
              <a:gd name="connsiteX1125" fmla="*/ 383576 w 3070954"/>
              <a:gd name="connsiteY1125" fmla="*/ 1556965 h 3009544"/>
              <a:gd name="connsiteX1126" fmla="*/ 426457 w 3070954"/>
              <a:gd name="connsiteY1126" fmla="*/ 1560005 h 3009544"/>
              <a:gd name="connsiteX1127" fmla="*/ 506616 w 3070954"/>
              <a:gd name="connsiteY1127" fmla="*/ 1568965 h 3009544"/>
              <a:gd name="connsiteX1128" fmla="*/ 664216 w 3070954"/>
              <a:gd name="connsiteY1128" fmla="*/ 1585285 h 3009544"/>
              <a:gd name="connsiteX1129" fmla="*/ 821816 w 3070954"/>
              <a:gd name="connsiteY1129" fmla="*/ 1599845 h 3009544"/>
              <a:gd name="connsiteX1130" fmla="*/ 973017 w 3070954"/>
              <a:gd name="connsiteY1130" fmla="*/ 1595845 h 3009544"/>
              <a:gd name="connsiteX1131" fmla="*/ 1133176 w 3070954"/>
              <a:gd name="connsiteY1131" fmla="*/ 1575045 h 3009544"/>
              <a:gd name="connsiteX1132" fmla="*/ 1270296 w 3070954"/>
              <a:gd name="connsiteY1132" fmla="*/ 1524325 h 3009544"/>
              <a:gd name="connsiteX1133" fmla="*/ 1329977 w 3070954"/>
              <a:gd name="connsiteY1133" fmla="*/ 1486725 h 3009544"/>
              <a:gd name="connsiteX1134" fmla="*/ 1367416 w 3070954"/>
              <a:gd name="connsiteY1134" fmla="*/ 1460005 h 3009544"/>
              <a:gd name="connsiteX1135" fmla="*/ 1314296 w 3070954"/>
              <a:gd name="connsiteY1135" fmla="*/ 1506245 h 3009544"/>
              <a:gd name="connsiteX1136" fmla="*/ 1279257 w 3070954"/>
              <a:gd name="connsiteY1136" fmla="*/ 1530405 h 3009544"/>
              <a:gd name="connsiteX1137" fmla="*/ 1246137 w 3070954"/>
              <a:gd name="connsiteY1137" fmla="*/ 1547045 h 3009544"/>
              <a:gd name="connsiteX1138" fmla="*/ 1167417 w 3070954"/>
              <a:gd name="connsiteY1138" fmla="*/ 1574085 h 3009544"/>
              <a:gd name="connsiteX1139" fmla="*/ 1089336 w 3070954"/>
              <a:gd name="connsiteY1139" fmla="*/ 1591685 h 3009544"/>
              <a:gd name="connsiteX1140" fmla="*/ 1005816 w 3070954"/>
              <a:gd name="connsiteY1140" fmla="*/ 1609925 h 3009544"/>
              <a:gd name="connsiteX1141" fmla="*/ 851096 w 3070954"/>
              <a:gd name="connsiteY1141" fmla="*/ 1636005 h 3009544"/>
              <a:gd name="connsiteX1142" fmla="*/ 702457 w 3070954"/>
              <a:gd name="connsiteY1142" fmla="*/ 1644645 h 3009544"/>
              <a:gd name="connsiteX1143" fmla="*/ 634457 w 3070954"/>
              <a:gd name="connsiteY1143" fmla="*/ 1649605 h 3009544"/>
              <a:gd name="connsiteX1144" fmla="*/ 549017 w 3070954"/>
              <a:gd name="connsiteY1144" fmla="*/ 1640165 h 3009544"/>
              <a:gd name="connsiteX1145" fmla="*/ 389656 w 3070954"/>
              <a:gd name="connsiteY1145" fmla="*/ 1632645 h 3009544"/>
              <a:gd name="connsiteX1146" fmla="*/ 312696 w 3070954"/>
              <a:gd name="connsiteY1146" fmla="*/ 1626725 h 3009544"/>
              <a:gd name="connsiteX1147" fmla="*/ 241497 w 3070954"/>
              <a:gd name="connsiteY1147" fmla="*/ 1622405 h 3009544"/>
              <a:gd name="connsiteX1148" fmla="*/ 187096 w 3070954"/>
              <a:gd name="connsiteY1148" fmla="*/ 1621125 h 3009544"/>
              <a:gd name="connsiteX1149" fmla="*/ 123256 w 3070954"/>
              <a:gd name="connsiteY1149" fmla="*/ 1630725 h 3009544"/>
              <a:gd name="connsiteX1150" fmla="*/ 118457 w 3070954"/>
              <a:gd name="connsiteY1150" fmla="*/ 1632485 h 3009544"/>
              <a:gd name="connsiteX1151" fmla="*/ 139096 w 3070954"/>
              <a:gd name="connsiteY1151" fmla="*/ 1618405 h 3009544"/>
              <a:gd name="connsiteX1152" fmla="*/ 149176 w 3070954"/>
              <a:gd name="connsiteY1152" fmla="*/ 1718725 h 3009544"/>
              <a:gd name="connsiteX1153" fmla="*/ 102776 w 3070954"/>
              <a:gd name="connsiteY1153" fmla="*/ 1714885 h 3009544"/>
              <a:gd name="connsiteX1154" fmla="*/ 38457 w 3070954"/>
              <a:gd name="connsiteY1154" fmla="*/ 1715685 h 3009544"/>
              <a:gd name="connsiteX1155" fmla="*/ 77656 w 3070954"/>
              <a:gd name="connsiteY1155" fmla="*/ 1678245 h 3009544"/>
              <a:gd name="connsiteX1156" fmla="*/ 97497 w 3070954"/>
              <a:gd name="connsiteY1156" fmla="*/ 1654565 h 3009544"/>
              <a:gd name="connsiteX1157" fmla="*/ 97497 w 3070954"/>
              <a:gd name="connsiteY1157" fmla="*/ 1654565 h 3009544"/>
              <a:gd name="connsiteX1158" fmla="*/ 133017 w 3070954"/>
              <a:gd name="connsiteY1158" fmla="*/ 1640805 h 3009544"/>
              <a:gd name="connsiteX1159" fmla="*/ 202616 w 3070954"/>
              <a:gd name="connsiteY1159" fmla="*/ 1635685 h 3009544"/>
              <a:gd name="connsiteX1160" fmla="*/ 342776 w 3070954"/>
              <a:gd name="connsiteY1160" fmla="*/ 1646405 h 3009544"/>
              <a:gd name="connsiteX1161" fmla="*/ 421176 w 3070954"/>
              <a:gd name="connsiteY1161" fmla="*/ 1648805 h 3009544"/>
              <a:gd name="connsiteX1162" fmla="*/ 504536 w 3070954"/>
              <a:gd name="connsiteY1162" fmla="*/ 1652805 h 3009544"/>
              <a:gd name="connsiteX1163" fmla="*/ 578457 w 3070954"/>
              <a:gd name="connsiteY1163" fmla="*/ 1658565 h 3009544"/>
              <a:gd name="connsiteX1164" fmla="*/ 657656 w 3070954"/>
              <a:gd name="connsiteY1164" fmla="*/ 1665605 h 3009544"/>
              <a:gd name="connsiteX1165" fmla="*/ 725017 w 3070954"/>
              <a:gd name="connsiteY1165" fmla="*/ 1660965 h 3009544"/>
              <a:gd name="connsiteX1166" fmla="*/ 796536 w 3070954"/>
              <a:gd name="connsiteY1166" fmla="*/ 1658565 h 3009544"/>
              <a:gd name="connsiteX1167" fmla="*/ 952856 w 3070954"/>
              <a:gd name="connsiteY1167" fmla="*/ 1636805 h 3009544"/>
              <a:gd name="connsiteX1168" fmla="*/ 1112056 w 3070954"/>
              <a:gd name="connsiteY1168" fmla="*/ 1604645 h 3009544"/>
              <a:gd name="connsiteX1169" fmla="*/ 1258937 w 3070954"/>
              <a:gd name="connsiteY1169" fmla="*/ 1560485 h 3009544"/>
              <a:gd name="connsiteX1170" fmla="*/ 1361496 w 3070954"/>
              <a:gd name="connsiteY1170" fmla="*/ 1491685 h 3009544"/>
              <a:gd name="connsiteX1171" fmla="*/ 1401496 w 3070954"/>
              <a:gd name="connsiteY1171" fmla="*/ 1448325 h 3009544"/>
              <a:gd name="connsiteX1172" fmla="*/ 1437496 w 3070954"/>
              <a:gd name="connsiteY1172" fmla="*/ 1401925 h 3009544"/>
              <a:gd name="connsiteX1173" fmla="*/ 1441336 w 3070954"/>
              <a:gd name="connsiteY1173" fmla="*/ 1402725 h 3009544"/>
              <a:gd name="connsiteX1174" fmla="*/ 1427897 w 3070954"/>
              <a:gd name="connsiteY1174" fmla="*/ 1430245 h 3009544"/>
              <a:gd name="connsiteX1175" fmla="*/ 1408057 w 3070954"/>
              <a:gd name="connsiteY1175" fmla="*/ 1450885 h 3009544"/>
              <a:gd name="connsiteX1176" fmla="*/ 1353017 w 3070954"/>
              <a:gd name="connsiteY1176" fmla="*/ 1503205 h 3009544"/>
              <a:gd name="connsiteX1177" fmla="*/ 1228536 w 3070954"/>
              <a:gd name="connsiteY1177" fmla="*/ 1593605 h 3009544"/>
              <a:gd name="connsiteX1178" fmla="*/ 1080376 w 3070954"/>
              <a:gd name="connsiteY1178" fmla="*/ 1668005 h 3009544"/>
              <a:gd name="connsiteX1179" fmla="*/ 1003096 w 3070954"/>
              <a:gd name="connsiteY1179" fmla="*/ 1687525 h 3009544"/>
              <a:gd name="connsiteX1180" fmla="*/ 920056 w 3070954"/>
              <a:gd name="connsiteY1180" fmla="*/ 1707205 h 3009544"/>
              <a:gd name="connsiteX1181" fmla="*/ 765656 w 3070954"/>
              <a:gd name="connsiteY1181" fmla="*/ 1722085 h 3009544"/>
              <a:gd name="connsiteX1182" fmla="*/ 693656 w 3070954"/>
              <a:gd name="connsiteY1182" fmla="*/ 1719365 h 3009544"/>
              <a:gd name="connsiteX1183" fmla="*/ 608856 w 3070954"/>
              <a:gd name="connsiteY1183" fmla="*/ 1719845 h 3009544"/>
              <a:gd name="connsiteX1184" fmla="*/ 533656 w 3070954"/>
              <a:gd name="connsiteY1184" fmla="*/ 1723365 h 3009544"/>
              <a:gd name="connsiteX1185" fmla="*/ 438616 w 3070954"/>
              <a:gd name="connsiteY1185" fmla="*/ 1724005 h 3009544"/>
              <a:gd name="connsiteX1186" fmla="*/ 272856 w 3070954"/>
              <a:gd name="connsiteY1186" fmla="*/ 1712805 h 3009544"/>
              <a:gd name="connsiteX1187" fmla="*/ 197977 w 3070954"/>
              <a:gd name="connsiteY1187" fmla="*/ 1716165 h 3009544"/>
              <a:gd name="connsiteX1188" fmla="*/ 167256 w 3070954"/>
              <a:gd name="connsiteY1188" fmla="*/ 1722245 h 3009544"/>
              <a:gd name="connsiteX1189" fmla="*/ 149176 w 3070954"/>
              <a:gd name="connsiteY1189" fmla="*/ 1718725 h 3009544"/>
              <a:gd name="connsiteX1190" fmla="*/ 965497 w 3070954"/>
              <a:gd name="connsiteY1190" fmla="*/ 1793765 h 3009544"/>
              <a:gd name="connsiteX1191" fmla="*/ 894136 w 3070954"/>
              <a:gd name="connsiteY1191" fmla="*/ 1813285 h 3009544"/>
              <a:gd name="connsiteX1192" fmla="*/ 816696 w 3070954"/>
              <a:gd name="connsiteY1192" fmla="*/ 1824485 h 3009544"/>
              <a:gd name="connsiteX1193" fmla="*/ 731736 w 3070954"/>
              <a:gd name="connsiteY1193" fmla="*/ 1832325 h 3009544"/>
              <a:gd name="connsiteX1194" fmla="*/ 570457 w 3070954"/>
              <a:gd name="connsiteY1194" fmla="*/ 1816165 h 3009544"/>
              <a:gd name="connsiteX1195" fmla="*/ 495256 w 3070954"/>
              <a:gd name="connsiteY1195" fmla="*/ 1800965 h 3009544"/>
              <a:gd name="connsiteX1196" fmla="*/ 413017 w 3070954"/>
              <a:gd name="connsiteY1196" fmla="*/ 1784965 h 3009544"/>
              <a:gd name="connsiteX1197" fmla="*/ 192056 w 3070954"/>
              <a:gd name="connsiteY1197" fmla="*/ 1729765 h 3009544"/>
              <a:gd name="connsiteX1198" fmla="*/ 210776 w 3070954"/>
              <a:gd name="connsiteY1198" fmla="*/ 1725925 h 3009544"/>
              <a:gd name="connsiteX1199" fmla="*/ 258136 w 3070954"/>
              <a:gd name="connsiteY1199" fmla="*/ 1726085 h 3009544"/>
              <a:gd name="connsiteX1200" fmla="*/ 422776 w 3070954"/>
              <a:gd name="connsiteY1200" fmla="*/ 1738565 h 3009544"/>
              <a:gd name="connsiteX1201" fmla="*/ 589017 w 3070954"/>
              <a:gd name="connsiteY1201" fmla="*/ 1736005 h 3009544"/>
              <a:gd name="connsiteX1202" fmla="*/ 751416 w 3070954"/>
              <a:gd name="connsiteY1202" fmla="*/ 1738885 h 3009544"/>
              <a:gd name="connsiteX1203" fmla="*/ 820056 w 3070954"/>
              <a:gd name="connsiteY1203" fmla="*/ 1738085 h 3009544"/>
              <a:gd name="connsiteX1204" fmla="*/ 898616 w 3070954"/>
              <a:gd name="connsiteY1204" fmla="*/ 1729445 h 3009544"/>
              <a:gd name="connsiteX1205" fmla="*/ 973497 w 3070954"/>
              <a:gd name="connsiteY1205" fmla="*/ 1712965 h 3009544"/>
              <a:gd name="connsiteX1206" fmla="*/ 1055417 w 3070954"/>
              <a:gd name="connsiteY1206" fmla="*/ 1695525 h 3009544"/>
              <a:gd name="connsiteX1207" fmla="*/ 1323257 w 3070954"/>
              <a:gd name="connsiteY1207" fmla="*/ 1548805 h 3009544"/>
              <a:gd name="connsiteX1208" fmla="*/ 1405816 w 3070954"/>
              <a:gd name="connsiteY1208" fmla="*/ 1476165 h 3009544"/>
              <a:gd name="connsiteX1209" fmla="*/ 1443257 w 3070954"/>
              <a:gd name="connsiteY1209" fmla="*/ 1439045 h 3009544"/>
              <a:gd name="connsiteX1210" fmla="*/ 1457177 w 3070954"/>
              <a:gd name="connsiteY1210" fmla="*/ 1406565 h 3009544"/>
              <a:gd name="connsiteX1211" fmla="*/ 1461656 w 3070954"/>
              <a:gd name="connsiteY1211" fmla="*/ 1407525 h 3009544"/>
              <a:gd name="connsiteX1212" fmla="*/ 1432536 w 3070954"/>
              <a:gd name="connsiteY1212" fmla="*/ 1463205 h 3009544"/>
              <a:gd name="connsiteX1213" fmla="*/ 1392376 w 3070954"/>
              <a:gd name="connsiteY1213" fmla="*/ 1518565 h 3009544"/>
              <a:gd name="connsiteX1214" fmla="*/ 1339576 w 3070954"/>
              <a:gd name="connsiteY1214" fmla="*/ 1578885 h 3009544"/>
              <a:gd name="connsiteX1215" fmla="*/ 1285816 w 3070954"/>
              <a:gd name="connsiteY1215" fmla="*/ 1627045 h 3009544"/>
              <a:gd name="connsiteX1216" fmla="*/ 1234296 w 3070954"/>
              <a:gd name="connsiteY1216" fmla="*/ 1670085 h 3009544"/>
              <a:gd name="connsiteX1217" fmla="*/ 1177336 w 3070954"/>
              <a:gd name="connsiteY1217" fmla="*/ 1706565 h 3009544"/>
              <a:gd name="connsiteX1218" fmla="*/ 1146776 w 3070954"/>
              <a:gd name="connsiteY1218" fmla="*/ 1726405 h 3009544"/>
              <a:gd name="connsiteX1219" fmla="*/ 1115736 w 3070954"/>
              <a:gd name="connsiteY1219" fmla="*/ 1742725 h 3009544"/>
              <a:gd name="connsiteX1220" fmla="*/ 1083897 w 3070954"/>
              <a:gd name="connsiteY1220" fmla="*/ 1763205 h 3009544"/>
              <a:gd name="connsiteX1221" fmla="*/ 1067096 w 3070954"/>
              <a:gd name="connsiteY1221" fmla="*/ 1770085 h 3009544"/>
              <a:gd name="connsiteX1222" fmla="*/ 1065176 w 3070954"/>
              <a:gd name="connsiteY1222" fmla="*/ 1771365 h 3009544"/>
              <a:gd name="connsiteX1223" fmla="*/ 1031096 w 3070954"/>
              <a:gd name="connsiteY1223" fmla="*/ 1779845 h 3009544"/>
              <a:gd name="connsiteX1224" fmla="*/ 965497 w 3070954"/>
              <a:gd name="connsiteY1224" fmla="*/ 1793765 h 3009544"/>
              <a:gd name="connsiteX1225" fmla="*/ 1243257 w 3070954"/>
              <a:gd name="connsiteY1225" fmla="*/ 1699205 h 3009544"/>
              <a:gd name="connsiteX1226" fmla="*/ 1178296 w 3070954"/>
              <a:gd name="connsiteY1226" fmla="*/ 1733445 h 3009544"/>
              <a:gd name="connsiteX1227" fmla="*/ 1144856 w 3070954"/>
              <a:gd name="connsiteY1227" fmla="*/ 1747365 h 3009544"/>
              <a:gd name="connsiteX1228" fmla="*/ 1121977 w 3070954"/>
              <a:gd name="connsiteY1228" fmla="*/ 1752165 h 3009544"/>
              <a:gd name="connsiteX1229" fmla="*/ 1135897 w 3070954"/>
              <a:gd name="connsiteY1229" fmla="*/ 1744645 h 3009544"/>
              <a:gd name="connsiteX1230" fmla="*/ 1168536 w 3070954"/>
              <a:gd name="connsiteY1230" fmla="*/ 1728485 h 3009544"/>
              <a:gd name="connsiteX1231" fmla="*/ 1290137 w 3070954"/>
              <a:gd name="connsiteY1231" fmla="*/ 1641765 h 3009544"/>
              <a:gd name="connsiteX1232" fmla="*/ 1348217 w 3070954"/>
              <a:gd name="connsiteY1232" fmla="*/ 1589925 h 3009544"/>
              <a:gd name="connsiteX1233" fmla="*/ 1401656 w 3070954"/>
              <a:gd name="connsiteY1233" fmla="*/ 1532325 h 3009544"/>
              <a:gd name="connsiteX1234" fmla="*/ 1447576 w 3070954"/>
              <a:gd name="connsiteY1234" fmla="*/ 1466725 h 3009544"/>
              <a:gd name="connsiteX1235" fmla="*/ 1464217 w 3070954"/>
              <a:gd name="connsiteY1235" fmla="*/ 1435205 h 3009544"/>
              <a:gd name="connsiteX1236" fmla="*/ 1476217 w 3070954"/>
              <a:gd name="connsiteY1236" fmla="*/ 1409925 h 3009544"/>
              <a:gd name="connsiteX1237" fmla="*/ 1478456 w 3070954"/>
              <a:gd name="connsiteY1237" fmla="*/ 1410405 h 3009544"/>
              <a:gd name="connsiteX1238" fmla="*/ 1471736 w 3070954"/>
              <a:gd name="connsiteY1238" fmla="*/ 1437925 h 3009544"/>
              <a:gd name="connsiteX1239" fmla="*/ 1465496 w 3070954"/>
              <a:gd name="connsiteY1239" fmla="*/ 1449765 h 3009544"/>
              <a:gd name="connsiteX1240" fmla="*/ 1461816 w 3070954"/>
              <a:gd name="connsiteY1240" fmla="*/ 1461925 h 3009544"/>
              <a:gd name="connsiteX1241" fmla="*/ 1453496 w 3070954"/>
              <a:gd name="connsiteY1241" fmla="*/ 1482405 h 3009544"/>
              <a:gd name="connsiteX1242" fmla="*/ 1436376 w 3070954"/>
              <a:gd name="connsiteY1242" fmla="*/ 1509445 h 3009544"/>
              <a:gd name="connsiteX1243" fmla="*/ 1392696 w 3070954"/>
              <a:gd name="connsiteY1243" fmla="*/ 1566245 h 3009544"/>
              <a:gd name="connsiteX1244" fmla="*/ 1346456 w 3070954"/>
              <a:gd name="connsiteY1244" fmla="*/ 1628805 h 3009544"/>
              <a:gd name="connsiteX1245" fmla="*/ 1327736 w 3070954"/>
              <a:gd name="connsiteY1245" fmla="*/ 1650565 h 3009544"/>
              <a:gd name="connsiteX1246" fmla="*/ 1317496 w 3070954"/>
              <a:gd name="connsiteY1246" fmla="*/ 1657605 h 3009544"/>
              <a:gd name="connsiteX1247" fmla="*/ 1293017 w 3070954"/>
              <a:gd name="connsiteY1247" fmla="*/ 1669925 h 3009544"/>
              <a:gd name="connsiteX1248" fmla="*/ 1287257 w 3070954"/>
              <a:gd name="connsiteY1248" fmla="*/ 1673125 h 3009544"/>
              <a:gd name="connsiteX1249" fmla="*/ 1288057 w 3070954"/>
              <a:gd name="connsiteY1249" fmla="*/ 1671845 h 3009544"/>
              <a:gd name="connsiteX1250" fmla="*/ 1243257 w 3070954"/>
              <a:gd name="connsiteY1250" fmla="*/ 1699205 h 3009544"/>
              <a:gd name="connsiteX1251" fmla="*/ 1051897 w 3070954"/>
              <a:gd name="connsiteY1251" fmla="*/ 2316325 h 3009544"/>
              <a:gd name="connsiteX1252" fmla="*/ 1048696 w 3070954"/>
              <a:gd name="connsiteY1252" fmla="*/ 2329445 h 3009544"/>
              <a:gd name="connsiteX1253" fmla="*/ 1044376 w 3070954"/>
              <a:gd name="connsiteY1253" fmla="*/ 2305925 h 3009544"/>
              <a:gd name="connsiteX1254" fmla="*/ 1065656 w 3070954"/>
              <a:gd name="connsiteY1254" fmla="*/ 2164485 h 3009544"/>
              <a:gd name="connsiteX1255" fmla="*/ 1111576 w 3070954"/>
              <a:gd name="connsiteY1255" fmla="*/ 2029605 h 3009544"/>
              <a:gd name="connsiteX1256" fmla="*/ 1181336 w 3070954"/>
              <a:gd name="connsiteY1256" fmla="*/ 1894565 h 3009544"/>
              <a:gd name="connsiteX1257" fmla="*/ 1217977 w 3070954"/>
              <a:gd name="connsiteY1257" fmla="*/ 1836645 h 3009544"/>
              <a:gd name="connsiteX1258" fmla="*/ 1249496 w 3070954"/>
              <a:gd name="connsiteY1258" fmla="*/ 1781605 h 3009544"/>
              <a:gd name="connsiteX1259" fmla="*/ 1340217 w 3070954"/>
              <a:gd name="connsiteY1259" fmla="*/ 1679365 h 3009544"/>
              <a:gd name="connsiteX1260" fmla="*/ 1425977 w 3070954"/>
              <a:gd name="connsiteY1260" fmla="*/ 1566885 h 3009544"/>
              <a:gd name="connsiteX1261" fmla="*/ 1482137 w 3070954"/>
              <a:gd name="connsiteY1261" fmla="*/ 1477285 h 3009544"/>
              <a:gd name="connsiteX1262" fmla="*/ 1492217 w 3070954"/>
              <a:gd name="connsiteY1262" fmla="*/ 1451525 h 3009544"/>
              <a:gd name="connsiteX1263" fmla="*/ 1492696 w 3070954"/>
              <a:gd name="connsiteY1263" fmla="*/ 1450565 h 3009544"/>
              <a:gd name="connsiteX1264" fmla="*/ 1497017 w 3070954"/>
              <a:gd name="connsiteY1264" fmla="*/ 1443205 h 3009544"/>
              <a:gd name="connsiteX1265" fmla="*/ 1498616 w 3070954"/>
              <a:gd name="connsiteY1265" fmla="*/ 1440165 h 3009544"/>
              <a:gd name="connsiteX1266" fmla="*/ 1500536 w 3070954"/>
              <a:gd name="connsiteY1266" fmla="*/ 1440645 h 3009544"/>
              <a:gd name="connsiteX1267" fmla="*/ 1502296 w 3070954"/>
              <a:gd name="connsiteY1267" fmla="*/ 1433445 h 3009544"/>
              <a:gd name="connsiteX1268" fmla="*/ 1506137 w 3070954"/>
              <a:gd name="connsiteY1268" fmla="*/ 1424325 h 3009544"/>
              <a:gd name="connsiteX1269" fmla="*/ 1513496 w 3070954"/>
              <a:gd name="connsiteY1269" fmla="*/ 1420485 h 3009544"/>
              <a:gd name="connsiteX1270" fmla="*/ 1513816 w 3070954"/>
              <a:gd name="connsiteY1270" fmla="*/ 1418085 h 3009544"/>
              <a:gd name="connsiteX1271" fmla="*/ 1513816 w 3070954"/>
              <a:gd name="connsiteY1271" fmla="*/ 1415845 h 3009544"/>
              <a:gd name="connsiteX1272" fmla="*/ 1565336 w 3070954"/>
              <a:gd name="connsiteY1272" fmla="*/ 1425925 h 3009544"/>
              <a:gd name="connsiteX1273" fmla="*/ 1538296 w 3070954"/>
              <a:gd name="connsiteY1273" fmla="*/ 1447045 h 3009544"/>
              <a:gd name="connsiteX1274" fmla="*/ 1504217 w 3070954"/>
              <a:gd name="connsiteY1274" fmla="*/ 1518405 h 3009544"/>
              <a:gd name="connsiteX1275" fmla="*/ 1436376 w 3070954"/>
              <a:gd name="connsiteY1275" fmla="*/ 1676965 h 3009544"/>
              <a:gd name="connsiteX1276" fmla="*/ 1355257 w 3070954"/>
              <a:gd name="connsiteY1276" fmla="*/ 1810085 h 3009544"/>
              <a:gd name="connsiteX1277" fmla="*/ 1307097 w 3070954"/>
              <a:gd name="connsiteY1277" fmla="*/ 1870725 h 3009544"/>
              <a:gd name="connsiteX1278" fmla="*/ 1262137 w 3070954"/>
              <a:gd name="connsiteY1278" fmla="*/ 1927525 h 3009544"/>
              <a:gd name="connsiteX1279" fmla="*/ 1229017 w 3070954"/>
              <a:gd name="connsiteY1279" fmla="*/ 1981925 h 3009544"/>
              <a:gd name="connsiteX1280" fmla="*/ 1186457 w 3070954"/>
              <a:gd name="connsiteY1280" fmla="*/ 2051525 h 3009544"/>
              <a:gd name="connsiteX1281" fmla="*/ 1150136 w 3070954"/>
              <a:gd name="connsiteY1281" fmla="*/ 2115365 h 3009544"/>
              <a:gd name="connsiteX1282" fmla="*/ 1113336 w 3070954"/>
              <a:gd name="connsiteY1282" fmla="*/ 2180805 h 3009544"/>
              <a:gd name="connsiteX1283" fmla="*/ 1093497 w 3070954"/>
              <a:gd name="connsiteY1283" fmla="*/ 2211045 h 3009544"/>
              <a:gd name="connsiteX1284" fmla="*/ 1078296 w 3070954"/>
              <a:gd name="connsiteY1284" fmla="*/ 2242725 h 3009544"/>
              <a:gd name="connsiteX1285" fmla="*/ 1051897 w 3070954"/>
              <a:gd name="connsiteY1285" fmla="*/ 2316325 h 3009544"/>
              <a:gd name="connsiteX1286" fmla="*/ 1065977 w 3070954"/>
              <a:gd name="connsiteY1286" fmla="*/ 2408805 h 3009544"/>
              <a:gd name="connsiteX1287" fmla="*/ 1058296 w 3070954"/>
              <a:gd name="connsiteY1287" fmla="*/ 2408805 h 3009544"/>
              <a:gd name="connsiteX1288" fmla="*/ 1062457 w 3070954"/>
              <a:gd name="connsiteY1288" fmla="*/ 2391685 h 3009544"/>
              <a:gd name="connsiteX1289" fmla="*/ 1058616 w 3070954"/>
              <a:gd name="connsiteY1289" fmla="*/ 2362405 h 3009544"/>
              <a:gd name="connsiteX1290" fmla="*/ 1057497 w 3070954"/>
              <a:gd name="connsiteY1290" fmla="*/ 2359045 h 3009544"/>
              <a:gd name="connsiteX1291" fmla="*/ 1060376 w 3070954"/>
              <a:gd name="connsiteY1291" fmla="*/ 2344165 h 3009544"/>
              <a:gd name="connsiteX1292" fmla="*/ 1079736 w 3070954"/>
              <a:gd name="connsiteY1292" fmla="*/ 2272965 h 3009544"/>
              <a:gd name="connsiteX1293" fmla="*/ 1139736 w 3070954"/>
              <a:gd name="connsiteY1293" fmla="*/ 2160165 h 3009544"/>
              <a:gd name="connsiteX1294" fmla="*/ 1173176 w 3070954"/>
              <a:gd name="connsiteY1294" fmla="*/ 2103365 h 3009544"/>
              <a:gd name="connsiteX1295" fmla="*/ 1212696 w 3070954"/>
              <a:gd name="connsiteY1295" fmla="*/ 2039685 h 3009544"/>
              <a:gd name="connsiteX1296" fmla="*/ 1227576 w 3070954"/>
              <a:gd name="connsiteY1296" fmla="*/ 2011525 h 3009544"/>
              <a:gd name="connsiteX1297" fmla="*/ 1244217 w 3070954"/>
              <a:gd name="connsiteY1297" fmla="*/ 1982085 h 3009544"/>
              <a:gd name="connsiteX1298" fmla="*/ 1282937 w 3070954"/>
              <a:gd name="connsiteY1298" fmla="*/ 1923045 h 3009544"/>
              <a:gd name="connsiteX1299" fmla="*/ 1441017 w 3070954"/>
              <a:gd name="connsiteY1299" fmla="*/ 1700645 h 3009544"/>
              <a:gd name="connsiteX1300" fmla="*/ 1499736 w 3070954"/>
              <a:gd name="connsiteY1300" fmla="*/ 1561445 h 3009544"/>
              <a:gd name="connsiteX1301" fmla="*/ 1529496 w 3070954"/>
              <a:gd name="connsiteY1301" fmla="*/ 1491525 h 3009544"/>
              <a:gd name="connsiteX1302" fmla="*/ 1572217 w 3070954"/>
              <a:gd name="connsiteY1302" fmla="*/ 1431685 h 3009544"/>
              <a:gd name="connsiteX1303" fmla="*/ 1575097 w 3070954"/>
              <a:gd name="connsiteY1303" fmla="*/ 1427685 h 3009544"/>
              <a:gd name="connsiteX1304" fmla="*/ 1580376 w 3070954"/>
              <a:gd name="connsiteY1304" fmla="*/ 1428645 h 3009544"/>
              <a:gd name="connsiteX1305" fmla="*/ 1571257 w 3070954"/>
              <a:gd name="connsiteY1305" fmla="*/ 1561445 h 3009544"/>
              <a:gd name="connsiteX1306" fmla="*/ 1520536 w 3070954"/>
              <a:gd name="connsiteY1306" fmla="*/ 1704325 h 3009544"/>
              <a:gd name="connsiteX1307" fmla="*/ 1363897 w 3070954"/>
              <a:gd name="connsiteY1307" fmla="*/ 1935045 h 3009544"/>
              <a:gd name="connsiteX1308" fmla="*/ 1323097 w 3070954"/>
              <a:gd name="connsiteY1308" fmla="*/ 1992005 h 3009544"/>
              <a:gd name="connsiteX1309" fmla="*/ 1282456 w 3070954"/>
              <a:gd name="connsiteY1309" fmla="*/ 2052645 h 3009544"/>
              <a:gd name="connsiteX1310" fmla="*/ 1204696 w 3070954"/>
              <a:gd name="connsiteY1310" fmla="*/ 2176325 h 3009544"/>
              <a:gd name="connsiteX1311" fmla="*/ 1126136 w 3070954"/>
              <a:gd name="connsiteY1311" fmla="*/ 2305765 h 3009544"/>
              <a:gd name="connsiteX1312" fmla="*/ 1091897 w 3070954"/>
              <a:gd name="connsiteY1312" fmla="*/ 2364325 h 3009544"/>
              <a:gd name="connsiteX1313" fmla="*/ 1069816 w 3070954"/>
              <a:gd name="connsiteY1313" fmla="*/ 2401765 h 3009544"/>
              <a:gd name="connsiteX1314" fmla="*/ 1065977 w 3070954"/>
              <a:gd name="connsiteY1314" fmla="*/ 2408805 h 3009544"/>
              <a:gd name="connsiteX1315" fmla="*/ 1122616 w 3070954"/>
              <a:gd name="connsiteY1315" fmla="*/ 2402885 h 3009544"/>
              <a:gd name="connsiteX1316" fmla="*/ 1084376 w 3070954"/>
              <a:gd name="connsiteY1316" fmla="*/ 2407685 h 3009544"/>
              <a:gd name="connsiteX1317" fmla="*/ 1085176 w 3070954"/>
              <a:gd name="connsiteY1317" fmla="*/ 2406405 h 3009544"/>
              <a:gd name="connsiteX1318" fmla="*/ 1122457 w 3070954"/>
              <a:gd name="connsiteY1318" fmla="*/ 2340645 h 3009544"/>
              <a:gd name="connsiteX1319" fmla="*/ 1164696 w 3070954"/>
              <a:gd name="connsiteY1319" fmla="*/ 2276165 h 3009544"/>
              <a:gd name="connsiteX1320" fmla="*/ 1205656 w 3070954"/>
              <a:gd name="connsiteY1320" fmla="*/ 2203045 h 3009544"/>
              <a:gd name="connsiteX1321" fmla="*/ 1246937 w 3070954"/>
              <a:gd name="connsiteY1321" fmla="*/ 2142725 h 3009544"/>
              <a:gd name="connsiteX1322" fmla="*/ 1287416 w 3070954"/>
              <a:gd name="connsiteY1322" fmla="*/ 2074245 h 3009544"/>
              <a:gd name="connsiteX1323" fmla="*/ 1331897 w 3070954"/>
              <a:gd name="connsiteY1323" fmla="*/ 2007365 h 3009544"/>
              <a:gd name="connsiteX1324" fmla="*/ 1379257 w 3070954"/>
              <a:gd name="connsiteY1324" fmla="*/ 1940005 h 3009544"/>
              <a:gd name="connsiteX1325" fmla="*/ 1464057 w 3070954"/>
              <a:gd name="connsiteY1325" fmla="*/ 1825925 h 3009544"/>
              <a:gd name="connsiteX1326" fmla="*/ 1539257 w 3070954"/>
              <a:gd name="connsiteY1326" fmla="*/ 1698565 h 3009544"/>
              <a:gd name="connsiteX1327" fmla="*/ 1587576 w 3070954"/>
              <a:gd name="connsiteY1327" fmla="*/ 1552645 h 3009544"/>
              <a:gd name="connsiteX1328" fmla="*/ 1596856 w 3070954"/>
              <a:gd name="connsiteY1328" fmla="*/ 1474085 h 3009544"/>
              <a:gd name="connsiteX1329" fmla="*/ 1590616 w 3070954"/>
              <a:gd name="connsiteY1329" fmla="*/ 1431045 h 3009544"/>
              <a:gd name="connsiteX1330" fmla="*/ 1594137 w 3070954"/>
              <a:gd name="connsiteY1330" fmla="*/ 1431685 h 3009544"/>
              <a:gd name="connsiteX1331" fmla="*/ 1641816 w 3070954"/>
              <a:gd name="connsiteY1331" fmla="*/ 1439205 h 3009544"/>
              <a:gd name="connsiteX1332" fmla="*/ 1645336 w 3070954"/>
              <a:gd name="connsiteY1332" fmla="*/ 1457925 h 3009544"/>
              <a:gd name="connsiteX1333" fmla="*/ 1651897 w 3070954"/>
              <a:gd name="connsiteY1333" fmla="*/ 1495365 h 3009544"/>
              <a:gd name="connsiteX1334" fmla="*/ 1660856 w 3070954"/>
              <a:gd name="connsiteY1334" fmla="*/ 1571045 h 3009544"/>
              <a:gd name="connsiteX1335" fmla="*/ 1643576 w 3070954"/>
              <a:gd name="connsiteY1335" fmla="*/ 1724645 h 3009544"/>
              <a:gd name="connsiteX1336" fmla="*/ 1609177 w 3070954"/>
              <a:gd name="connsiteY1336" fmla="*/ 1796005 h 3009544"/>
              <a:gd name="connsiteX1337" fmla="*/ 1593177 w 3070954"/>
              <a:gd name="connsiteY1337" fmla="*/ 1832965 h 3009544"/>
              <a:gd name="connsiteX1338" fmla="*/ 1574137 w 3070954"/>
              <a:gd name="connsiteY1338" fmla="*/ 1869285 h 3009544"/>
              <a:gd name="connsiteX1339" fmla="*/ 1534296 w 3070954"/>
              <a:gd name="connsiteY1339" fmla="*/ 1944965 h 3009544"/>
              <a:gd name="connsiteX1340" fmla="*/ 1489177 w 3070954"/>
              <a:gd name="connsiteY1340" fmla="*/ 2006885 h 3009544"/>
              <a:gd name="connsiteX1341" fmla="*/ 1446296 w 3070954"/>
              <a:gd name="connsiteY1341" fmla="*/ 2057765 h 3009544"/>
              <a:gd name="connsiteX1342" fmla="*/ 1407257 w 3070954"/>
              <a:gd name="connsiteY1342" fmla="*/ 2114085 h 3009544"/>
              <a:gd name="connsiteX1343" fmla="*/ 1365496 w 3070954"/>
              <a:gd name="connsiteY1343" fmla="*/ 2170725 h 3009544"/>
              <a:gd name="connsiteX1344" fmla="*/ 1314776 w 3070954"/>
              <a:gd name="connsiteY1344" fmla="*/ 2233445 h 3009544"/>
              <a:gd name="connsiteX1345" fmla="*/ 1205656 w 3070954"/>
              <a:gd name="connsiteY1345" fmla="*/ 2337125 h 3009544"/>
              <a:gd name="connsiteX1346" fmla="*/ 1146616 w 3070954"/>
              <a:gd name="connsiteY1346" fmla="*/ 2381765 h 3009544"/>
              <a:gd name="connsiteX1347" fmla="*/ 1122616 w 3070954"/>
              <a:gd name="connsiteY1347" fmla="*/ 2402885 h 3009544"/>
              <a:gd name="connsiteX1348" fmla="*/ 1321336 w 3070954"/>
              <a:gd name="connsiteY1348" fmla="*/ 2349125 h 3009544"/>
              <a:gd name="connsiteX1349" fmla="*/ 1304217 w 3070954"/>
              <a:gd name="connsiteY1349" fmla="*/ 2357605 h 3009544"/>
              <a:gd name="connsiteX1350" fmla="*/ 1234776 w 3070954"/>
              <a:gd name="connsiteY1350" fmla="*/ 2389445 h 3009544"/>
              <a:gd name="connsiteX1351" fmla="*/ 1147897 w 3070954"/>
              <a:gd name="connsiteY1351" fmla="*/ 2401125 h 3009544"/>
              <a:gd name="connsiteX1352" fmla="*/ 1151256 w 3070954"/>
              <a:gd name="connsiteY1352" fmla="*/ 2398085 h 3009544"/>
              <a:gd name="connsiteX1353" fmla="*/ 1215256 w 3070954"/>
              <a:gd name="connsiteY1353" fmla="*/ 2349125 h 3009544"/>
              <a:gd name="connsiteX1354" fmla="*/ 1323097 w 3070954"/>
              <a:gd name="connsiteY1354" fmla="*/ 2247045 h 3009544"/>
              <a:gd name="connsiteX1355" fmla="*/ 1417017 w 3070954"/>
              <a:gd name="connsiteY1355" fmla="*/ 2127365 h 3009544"/>
              <a:gd name="connsiteX1356" fmla="*/ 1455416 w 3070954"/>
              <a:gd name="connsiteY1356" fmla="*/ 2071205 h 3009544"/>
              <a:gd name="connsiteX1357" fmla="*/ 1477977 w 3070954"/>
              <a:gd name="connsiteY1357" fmla="*/ 2045125 h 3009544"/>
              <a:gd name="connsiteX1358" fmla="*/ 1501496 w 3070954"/>
              <a:gd name="connsiteY1358" fmla="*/ 2015845 h 3009544"/>
              <a:gd name="connsiteX1359" fmla="*/ 1542937 w 3070954"/>
              <a:gd name="connsiteY1359" fmla="*/ 1959525 h 3009544"/>
              <a:gd name="connsiteX1360" fmla="*/ 1582296 w 3070954"/>
              <a:gd name="connsiteY1360" fmla="*/ 1886405 h 3009544"/>
              <a:gd name="connsiteX1361" fmla="*/ 1618456 w 3070954"/>
              <a:gd name="connsiteY1361" fmla="*/ 1813605 h 3009544"/>
              <a:gd name="connsiteX1362" fmla="*/ 1654937 w 3070954"/>
              <a:gd name="connsiteY1362" fmla="*/ 1736005 h 3009544"/>
              <a:gd name="connsiteX1363" fmla="*/ 1671576 w 3070954"/>
              <a:gd name="connsiteY1363" fmla="*/ 1663205 h 3009544"/>
              <a:gd name="connsiteX1364" fmla="*/ 1674937 w 3070954"/>
              <a:gd name="connsiteY1364" fmla="*/ 1624005 h 3009544"/>
              <a:gd name="connsiteX1365" fmla="*/ 1674616 w 3070954"/>
              <a:gd name="connsiteY1365" fmla="*/ 1583685 h 3009544"/>
              <a:gd name="connsiteX1366" fmla="*/ 1667736 w 3070954"/>
              <a:gd name="connsiteY1366" fmla="*/ 1516645 h 3009544"/>
              <a:gd name="connsiteX1367" fmla="*/ 1659576 w 3070954"/>
              <a:gd name="connsiteY1367" fmla="*/ 1481125 h 3009544"/>
              <a:gd name="connsiteX1368" fmla="*/ 1652057 w 3070954"/>
              <a:gd name="connsiteY1368" fmla="*/ 1447525 h 3009544"/>
              <a:gd name="connsiteX1369" fmla="*/ 1648696 w 3070954"/>
              <a:gd name="connsiteY1369" fmla="*/ 1439205 h 3009544"/>
              <a:gd name="connsiteX1370" fmla="*/ 1677177 w 3070954"/>
              <a:gd name="connsiteY1370" fmla="*/ 1436485 h 3009544"/>
              <a:gd name="connsiteX1371" fmla="*/ 1698137 w 3070954"/>
              <a:gd name="connsiteY1371" fmla="*/ 1493285 h 3009544"/>
              <a:gd name="connsiteX1372" fmla="*/ 1719257 w 3070954"/>
              <a:gd name="connsiteY1372" fmla="*/ 1645125 h 3009544"/>
              <a:gd name="connsiteX1373" fmla="*/ 1713017 w 3070954"/>
              <a:gd name="connsiteY1373" fmla="*/ 1804005 h 3009544"/>
              <a:gd name="connsiteX1374" fmla="*/ 1658296 w 3070954"/>
              <a:gd name="connsiteY1374" fmla="*/ 1948005 h 3009544"/>
              <a:gd name="connsiteX1375" fmla="*/ 1565177 w 3070954"/>
              <a:gd name="connsiteY1375" fmla="*/ 2059685 h 3009544"/>
              <a:gd name="connsiteX1376" fmla="*/ 1521336 w 3070954"/>
              <a:gd name="connsiteY1376" fmla="*/ 2114245 h 3009544"/>
              <a:gd name="connsiteX1377" fmla="*/ 1471416 w 3070954"/>
              <a:gd name="connsiteY1377" fmla="*/ 2169605 h 3009544"/>
              <a:gd name="connsiteX1378" fmla="*/ 1385177 w 3070954"/>
              <a:gd name="connsiteY1378" fmla="*/ 2284965 h 3009544"/>
              <a:gd name="connsiteX1379" fmla="*/ 1340856 w 3070954"/>
              <a:gd name="connsiteY1379" fmla="*/ 2335045 h 3009544"/>
              <a:gd name="connsiteX1380" fmla="*/ 1321336 w 3070954"/>
              <a:gd name="connsiteY1380" fmla="*/ 2349125 h 3009544"/>
              <a:gd name="connsiteX1381" fmla="*/ 1816376 w 3070954"/>
              <a:gd name="connsiteY1381" fmla="*/ 1759685 h 3009544"/>
              <a:gd name="connsiteX1382" fmla="*/ 1807736 w 3070954"/>
              <a:gd name="connsiteY1382" fmla="*/ 1793765 h 3009544"/>
              <a:gd name="connsiteX1383" fmla="*/ 1799416 w 3070954"/>
              <a:gd name="connsiteY1383" fmla="*/ 1841445 h 3009544"/>
              <a:gd name="connsiteX1384" fmla="*/ 1759897 w 3070954"/>
              <a:gd name="connsiteY1384" fmla="*/ 1908805 h 3009544"/>
              <a:gd name="connsiteX1385" fmla="*/ 1710616 w 3070954"/>
              <a:gd name="connsiteY1385" fmla="*/ 1978085 h 3009544"/>
              <a:gd name="connsiteX1386" fmla="*/ 1614456 w 3070954"/>
              <a:gd name="connsiteY1386" fmla="*/ 2108005 h 3009544"/>
              <a:gd name="connsiteX1387" fmla="*/ 1496376 w 3070954"/>
              <a:gd name="connsiteY1387" fmla="*/ 2228325 h 3009544"/>
              <a:gd name="connsiteX1388" fmla="*/ 1379897 w 3070954"/>
              <a:gd name="connsiteY1388" fmla="*/ 2319045 h 3009544"/>
              <a:gd name="connsiteX1389" fmla="*/ 1393977 w 3070954"/>
              <a:gd name="connsiteY1389" fmla="*/ 2300165 h 3009544"/>
              <a:gd name="connsiteX1390" fmla="*/ 1433977 w 3070954"/>
              <a:gd name="connsiteY1390" fmla="*/ 2241125 h 3009544"/>
              <a:gd name="connsiteX1391" fmla="*/ 1479736 w 3070954"/>
              <a:gd name="connsiteY1391" fmla="*/ 2184165 h 3009544"/>
              <a:gd name="connsiteX1392" fmla="*/ 1526296 w 3070954"/>
              <a:gd name="connsiteY1392" fmla="*/ 2134085 h 3009544"/>
              <a:gd name="connsiteX1393" fmla="*/ 1573816 w 3070954"/>
              <a:gd name="connsiteY1393" fmla="*/ 2074405 h 3009544"/>
              <a:gd name="connsiteX1394" fmla="*/ 1667897 w 3070954"/>
              <a:gd name="connsiteY1394" fmla="*/ 1963205 h 3009544"/>
              <a:gd name="connsiteX1395" fmla="*/ 1735416 w 3070954"/>
              <a:gd name="connsiteY1395" fmla="*/ 1691205 h 3009544"/>
              <a:gd name="connsiteX1396" fmla="*/ 1723257 w 3070954"/>
              <a:gd name="connsiteY1396" fmla="*/ 1539525 h 3009544"/>
              <a:gd name="connsiteX1397" fmla="*/ 1703736 w 3070954"/>
              <a:gd name="connsiteY1397" fmla="*/ 1477125 h 3009544"/>
              <a:gd name="connsiteX1398" fmla="*/ 1684217 w 3070954"/>
              <a:gd name="connsiteY1398" fmla="*/ 1435685 h 3009544"/>
              <a:gd name="connsiteX1399" fmla="*/ 1684856 w 3070954"/>
              <a:gd name="connsiteY1399" fmla="*/ 1435525 h 3009544"/>
              <a:gd name="connsiteX1400" fmla="*/ 1740217 w 3070954"/>
              <a:gd name="connsiteY1400" fmla="*/ 1425125 h 3009544"/>
              <a:gd name="connsiteX1401" fmla="*/ 1799736 w 3070954"/>
              <a:gd name="connsiteY1401" fmla="*/ 1532325 h 3009544"/>
              <a:gd name="connsiteX1402" fmla="*/ 1822456 w 3070954"/>
              <a:gd name="connsiteY1402" fmla="*/ 1596325 h 3009544"/>
              <a:gd name="connsiteX1403" fmla="*/ 1823897 w 3070954"/>
              <a:gd name="connsiteY1403" fmla="*/ 1685765 h 3009544"/>
              <a:gd name="connsiteX1404" fmla="*/ 1816376 w 3070954"/>
              <a:gd name="connsiteY1404" fmla="*/ 1759685 h 3009544"/>
              <a:gd name="connsiteX1405" fmla="*/ 1929177 w 3070954"/>
              <a:gd name="connsiteY1405" fmla="*/ 1808325 h 3009544"/>
              <a:gd name="connsiteX1406" fmla="*/ 1881496 w 3070954"/>
              <a:gd name="connsiteY1406" fmla="*/ 1783045 h 3009544"/>
              <a:gd name="connsiteX1407" fmla="*/ 1846776 w 3070954"/>
              <a:gd name="connsiteY1407" fmla="*/ 1751685 h 3009544"/>
              <a:gd name="connsiteX1408" fmla="*/ 1849656 w 3070954"/>
              <a:gd name="connsiteY1408" fmla="*/ 1732645 h 3009544"/>
              <a:gd name="connsiteX1409" fmla="*/ 1854137 w 3070954"/>
              <a:gd name="connsiteY1409" fmla="*/ 1682085 h 3009544"/>
              <a:gd name="connsiteX1410" fmla="*/ 1878776 w 3070954"/>
              <a:gd name="connsiteY1410" fmla="*/ 1713605 h 3009544"/>
              <a:gd name="connsiteX1411" fmla="*/ 1944536 w 3070954"/>
              <a:gd name="connsiteY1411" fmla="*/ 1776325 h 3009544"/>
              <a:gd name="connsiteX1412" fmla="*/ 2021496 w 3070954"/>
              <a:gd name="connsiteY1412" fmla="*/ 1823205 h 3009544"/>
              <a:gd name="connsiteX1413" fmla="*/ 2045816 w 3070954"/>
              <a:gd name="connsiteY1413" fmla="*/ 1835845 h 3009544"/>
              <a:gd name="connsiteX1414" fmla="*/ 1929177 w 3070954"/>
              <a:gd name="connsiteY1414" fmla="*/ 1808325 h 3009544"/>
              <a:gd name="connsiteX1415" fmla="*/ 2094937 w 3070954"/>
              <a:gd name="connsiteY1415" fmla="*/ 1837445 h 3009544"/>
              <a:gd name="connsiteX1416" fmla="*/ 2068536 w 3070954"/>
              <a:gd name="connsiteY1416" fmla="*/ 1829125 h 3009544"/>
              <a:gd name="connsiteX1417" fmla="*/ 2032696 w 3070954"/>
              <a:gd name="connsiteY1417" fmla="*/ 1812965 h 3009544"/>
              <a:gd name="connsiteX1418" fmla="*/ 1962937 w 3070954"/>
              <a:gd name="connsiteY1418" fmla="*/ 1772485 h 3009544"/>
              <a:gd name="connsiteX1419" fmla="*/ 1900376 w 3070954"/>
              <a:gd name="connsiteY1419" fmla="*/ 1719685 h 3009544"/>
              <a:gd name="connsiteX1420" fmla="*/ 1874937 w 3070954"/>
              <a:gd name="connsiteY1420" fmla="*/ 1693125 h 3009544"/>
              <a:gd name="connsiteX1421" fmla="*/ 1854456 w 3070954"/>
              <a:gd name="connsiteY1421" fmla="*/ 1670085 h 3009544"/>
              <a:gd name="connsiteX1422" fmla="*/ 1854776 w 3070954"/>
              <a:gd name="connsiteY1422" fmla="*/ 1651845 h 3009544"/>
              <a:gd name="connsiteX1423" fmla="*/ 1850296 w 3070954"/>
              <a:gd name="connsiteY1423" fmla="*/ 1585605 h 3009544"/>
              <a:gd name="connsiteX1424" fmla="*/ 1906456 w 3070954"/>
              <a:gd name="connsiteY1424" fmla="*/ 1647525 h 3009544"/>
              <a:gd name="connsiteX1425" fmla="*/ 1997336 w 3070954"/>
              <a:gd name="connsiteY1425" fmla="*/ 1729925 h 3009544"/>
              <a:gd name="connsiteX1426" fmla="*/ 2110137 w 3070954"/>
              <a:gd name="connsiteY1426" fmla="*/ 1812805 h 3009544"/>
              <a:gd name="connsiteX1427" fmla="*/ 2154456 w 3070954"/>
              <a:gd name="connsiteY1427" fmla="*/ 1839525 h 3009544"/>
              <a:gd name="connsiteX1428" fmla="*/ 2094937 w 3070954"/>
              <a:gd name="connsiteY1428" fmla="*/ 1837445 h 3009544"/>
              <a:gd name="connsiteX1429" fmla="*/ 2251736 w 3070954"/>
              <a:gd name="connsiteY1429" fmla="*/ 1847845 h 3009544"/>
              <a:gd name="connsiteX1430" fmla="*/ 2254137 w 3070954"/>
              <a:gd name="connsiteY1430" fmla="*/ 1850245 h 3009544"/>
              <a:gd name="connsiteX1431" fmla="*/ 2256376 w 3070954"/>
              <a:gd name="connsiteY1431" fmla="*/ 1854565 h 3009544"/>
              <a:gd name="connsiteX1432" fmla="*/ 2196536 w 3070954"/>
              <a:gd name="connsiteY1432" fmla="*/ 1843685 h 3009544"/>
              <a:gd name="connsiteX1433" fmla="*/ 2006137 w 3070954"/>
              <a:gd name="connsiteY1433" fmla="*/ 1719205 h 3009544"/>
              <a:gd name="connsiteX1434" fmla="*/ 1916217 w 3070954"/>
              <a:gd name="connsiteY1434" fmla="*/ 1640325 h 3009544"/>
              <a:gd name="connsiteX1435" fmla="*/ 1846137 w 3070954"/>
              <a:gd name="connsiteY1435" fmla="*/ 1567525 h 3009544"/>
              <a:gd name="connsiteX1436" fmla="*/ 1821816 w 3070954"/>
              <a:gd name="connsiteY1436" fmla="*/ 1509445 h 3009544"/>
              <a:gd name="connsiteX1437" fmla="*/ 1788217 w 3070954"/>
              <a:gd name="connsiteY1437" fmla="*/ 1444965 h 3009544"/>
              <a:gd name="connsiteX1438" fmla="*/ 1772696 w 3070954"/>
              <a:gd name="connsiteY1438" fmla="*/ 1422725 h 3009544"/>
              <a:gd name="connsiteX1439" fmla="*/ 1767097 w 3070954"/>
              <a:gd name="connsiteY1439" fmla="*/ 1414565 h 3009544"/>
              <a:gd name="connsiteX1440" fmla="*/ 1771097 w 3070954"/>
              <a:gd name="connsiteY1440" fmla="*/ 1412165 h 3009544"/>
              <a:gd name="connsiteX1441" fmla="*/ 1779097 w 3070954"/>
              <a:gd name="connsiteY1441" fmla="*/ 1409925 h 3009544"/>
              <a:gd name="connsiteX1442" fmla="*/ 1783416 w 3070954"/>
              <a:gd name="connsiteY1442" fmla="*/ 1409765 h 3009544"/>
              <a:gd name="connsiteX1443" fmla="*/ 1795576 w 3070954"/>
              <a:gd name="connsiteY1443" fmla="*/ 1415685 h 3009544"/>
              <a:gd name="connsiteX1444" fmla="*/ 1799736 w 3070954"/>
              <a:gd name="connsiteY1444" fmla="*/ 1420645 h 3009544"/>
              <a:gd name="connsiteX1445" fmla="*/ 1833177 w 3070954"/>
              <a:gd name="connsiteY1445" fmla="*/ 1438885 h 3009544"/>
              <a:gd name="connsiteX1446" fmla="*/ 1901496 w 3070954"/>
              <a:gd name="connsiteY1446" fmla="*/ 1494885 h 3009544"/>
              <a:gd name="connsiteX1447" fmla="*/ 2037336 w 3070954"/>
              <a:gd name="connsiteY1447" fmla="*/ 1608645 h 3009544"/>
              <a:gd name="connsiteX1448" fmla="*/ 2156217 w 3070954"/>
              <a:gd name="connsiteY1448" fmla="*/ 1737285 h 3009544"/>
              <a:gd name="connsiteX1449" fmla="*/ 2208696 w 3070954"/>
              <a:gd name="connsiteY1449" fmla="*/ 1801285 h 3009544"/>
              <a:gd name="connsiteX1450" fmla="*/ 2240696 w 3070954"/>
              <a:gd name="connsiteY1450" fmla="*/ 1835525 h 3009544"/>
              <a:gd name="connsiteX1451" fmla="*/ 2251736 w 3070954"/>
              <a:gd name="connsiteY1451" fmla="*/ 1847845 h 3009544"/>
              <a:gd name="connsiteX1452" fmla="*/ 2163416 w 3070954"/>
              <a:gd name="connsiteY1452" fmla="*/ 1650885 h 3009544"/>
              <a:gd name="connsiteX1453" fmla="*/ 2178776 w 3070954"/>
              <a:gd name="connsiteY1453" fmla="*/ 1689445 h 3009544"/>
              <a:gd name="connsiteX1454" fmla="*/ 2198937 w 3070954"/>
              <a:gd name="connsiteY1454" fmla="*/ 1727845 h 3009544"/>
              <a:gd name="connsiteX1455" fmla="*/ 2223257 w 3070954"/>
              <a:gd name="connsiteY1455" fmla="*/ 1793445 h 3009544"/>
              <a:gd name="connsiteX1456" fmla="*/ 2213336 w 3070954"/>
              <a:gd name="connsiteY1456" fmla="*/ 1784645 h 3009544"/>
              <a:gd name="connsiteX1457" fmla="*/ 2183416 w 3070954"/>
              <a:gd name="connsiteY1457" fmla="*/ 1747365 h 3009544"/>
              <a:gd name="connsiteX1458" fmla="*/ 2126137 w 3070954"/>
              <a:gd name="connsiteY1458" fmla="*/ 1680485 h 3009544"/>
              <a:gd name="connsiteX1459" fmla="*/ 2069177 w 3070954"/>
              <a:gd name="connsiteY1459" fmla="*/ 1618565 h 3009544"/>
              <a:gd name="connsiteX1460" fmla="*/ 1932696 w 3070954"/>
              <a:gd name="connsiteY1460" fmla="*/ 1505925 h 3009544"/>
              <a:gd name="connsiteX1461" fmla="*/ 1927897 w 3070954"/>
              <a:gd name="connsiteY1461" fmla="*/ 1501925 h 3009544"/>
              <a:gd name="connsiteX1462" fmla="*/ 2051897 w 3070954"/>
              <a:gd name="connsiteY1462" fmla="*/ 1562245 h 3009544"/>
              <a:gd name="connsiteX1463" fmla="*/ 2101017 w 3070954"/>
              <a:gd name="connsiteY1463" fmla="*/ 1578245 h 3009544"/>
              <a:gd name="connsiteX1464" fmla="*/ 2110937 w 3070954"/>
              <a:gd name="connsiteY1464" fmla="*/ 1583365 h 3009544"/>
              <a:gd name="connsiteX1465" fmla="*/ 2163416 w 3070954"/>
              <a:gd name="connsiteY1465" fmla="*/ 1650885 h 3009544"/>
              <a:gd name="connsiteX1466" fmla="*/ 3028857 w 3070954"/>
              <a:gd name="connsiteY1466" fmla="*/ 1061605 h 3009544"/>
              <a:gd name="connsiteX1467" fmla="*/ 2962456 w 3070954"/>
              <a:gd name="connsiteY1467" fmla="*/ 1207685 h 3009544"/>
              <a:gd name="connsiteX1468" fmla="*/ 2920857 w 3070954"/>
              <a:gd name="connsiteY1468" fmla="*/ 1275525 h 3009544"/>
              <a:gd name="connsiteX1469" fmla="*/ 2875097 w 3070954"/>
              <a:gd name="connsiteY1469" fmla="*/ 1338725 h 3009544"/>
              <a:gd name="connsiteX1470" fmla="*/ 2848376 w 3070954"/>
              <a:gd name="connsiteY1470" fmla="*/ 1364645 h 3009544"/>
              <a:gd name="connsiteX1471" fmla="*/ 2828536 w 3070954"/>
              <a:gd name="connsiteY1471" fmla="*/ 1394245 h 3009544"/>
              <a:gd name="connsiteX1472" fmla="*/ 2806616 w 3070954"/>
              <a:gd name="connsiteY1472" fmla="*/ 1421445 h 3009544"/>
              <a:gd name="connsiteX1473" fmla="*/ 2783736 w 3070954"/>
              <a:gd name="connsiteY1473" fmla="*/ 1452005 h 3009544"/>
              <a:gd name="connsiteX1474" fmla="*/ 2660857 w 3070954"/>
              <a:gd name="connsiteY1474" fmla="*/ 1535525 h 3009544"/>
              <a:gd name="connsiteX1475" fmla="*/ 2507257 w 3070954"/>
              <a:gd name="connsiteY1475" fmla="*/ 1578405 h 3009544"/>
              <a:gd name="connsiteX1476" fmla="*/ 2180057 w 3070954"/>
              <a:gd name="connsiteY1476" fmla="*/ 1567685 h 3009544"/>
              <a:gd name="connsiteX1477" fmla="*/ 2104857 w 3070954"/>
              <a:gd name="connsiteY1477" fmla="*/ 1549445 h 3009544"/>
              <a:gd name="connsiteX1478" fmla="*/ 2100057 w 3070954"/>
              <a:gd name="connsiteY1478" fmla="*/ 1548005 h 3009544"/>
              <a:gd name="connsiteX1479" fmla="*/ 1965977 w 3070954"/>
              <a:gd name="connsiteY1479" fmla="*/ 1491845 h 3009544"/>
              <a:gd name="connsiteX1480" fmla="*/ 1817496 w 3070954"/>
              <a:gd name="connsiteY1480" fmla="*/ 1395205 h 3009544"/>
              <a:gd name="connsiteX1481" fmla="*/ 1828217 w 3070954"/>
              <a:gd name="connsiteY1481" fmla="*/ 1388485 h 3009544"/>
              <a:gd name="connsiteX1482" fmla="*/ 1879897 w 3070954"/>
              <a:gd name="connsiteY1482" fmla="*/ 1402725 h 3009544"/>
              <a:gd name="connsiteX1483" fmla="*/ 1964376 w 3070954"/>
              <a:gd name="connsiteY1483" fmla="*/ 1420805 h 3009544"/>
              <a:gd name="connsiteX1484" fmla="*/ 2135097 w 3070954"/>
              <a:gd name="connsiteY1484" fmla="*/ 1444965 h 3009544"/>
              <a:gd name="connsiteX1485" fmla="*/ 2304536 w 3070954"/>
              <a:gd name="connsiteY1485" fmla="*/ 1459045 h 3009544"/>
              <a:gd name="connsiteX1486" fmla="*/ 2457336 w 3070954"/>
              <a:gd name="connsiteY1486" fmla="*/ 1452965 h 3009544"/>
              <a:gd name="connsiteX1487" fmla="*/ 2609816 w 3070954"/>
              <a:gd name="connsiteY1487" fmla="*/ 1408325 h 3009544"/>
              <a:gd name="connsiteX1488" fmla="*/ 2739897 w 3070954"/>
              <a:gd name="connsiteY1488" fmla="*/ 1341445 h 3009544"/>
              <a:gd name="connsiteX1489" fmla="*/ 2797177 w 3070954"/>
              <a:gd name="connsiteY1489" fmla="*/ 1292805 h 3009544"/>
              <a:gd name="connsiteX1490" fmla="*/ 2854296 w 3070954"/>
              <a:gd name="connsiteY1490" fmla="*/ 1239365 h 3009544"/>
              <a:gd name="connsiteX1491" fmla="*/ 2881656 w 3070954"/>
              <a:gd name="connsiteY1491" fmla="*/ 1212485 h 3009544"/>
              <a:gd name="connsiteX1492" fmla="*/ 2905336 w 3070954"/>
              <a:gd name="connsiteY1492" fmla="*/ 1182405 h 3009544"/>
              <a:gd name="connsiteX1493" fmla="*/ 2955897 w 3070954"/>
              <a:gd name="connsiteY1493" fmla="*/ 1117285 h 3009544"/>
              <a:gd name="connsiteX1494" fmla="*/ 3022616 w 3070954"/>
              <a:gd name="connsiteY1494" fmla="*/ 1004325 h 3009544"/>
              <a:gd name="connsiteX1495" fmla="*/ 3043097 w 3070954"/>
              <a:gd name="connsiteY1495" fmla="*/ 963685 h 3009544"/>
              <a:gd name="connsiteX1496" fmla="*/ 3042137 w 3070954"/>
              <a:gd name="connsiteY1496" fmla="*/ 978405 h 3009544"/>
              <a:gd name="connsiteX1497" fmla="*/ 3028857 w 3070954"/>
              <a:gd name="connsiteY1497" fmla="*/ 1061605 h 300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Lst>
            <a:rect l="l" t="t" r="r" b="b"/>
            <a:pathLst>
              <a:path w="3070954" h="3009544">
                <a:moveTo>
                  <a:pt x="3070456" y="953445"/>
                </a:moveTo>
                <a:cubicBezTo>
                  <a:pt x="3072057" y="939685"/>
                  <a:pt x="3069977" y="926405"/>
                  <a:pt x="3061656" y="915045"/>
                </a:cubicBezTo>
                <a:cubicBezTo>
                  <a:pt x="3050456" y="899685"/>
                  <a:pt x="3035736" y="904965"/>
                  <a:pt x="3023416" y="914885"/>
                </a:cubicBezTo>
                <a:cubicBezTo>
                  <a:pt x="2989656" y="942085"/>
                  <a:pt x="2956376" y="970245"/>
                  <a:pt x="2919736" y="993445"/>
                </a:cubicBezTo>
                <a:cubicBezTo>
                  <a:pt x="2897816" y="1007365"/>
                  <a:pt x="2875416" y="1020325"/>
                  <a:pt x="2853816" y="1034885"/>
                </a:cubicBezTo>
                <a:cubicBezTo>
                  <a:pt x="2830776" y="1050405"/>
                  <a:pt x="2810137" y="1066725"/>
                  <a:pt x="2784376" y="1078085"/>
                </a:cubicBezTo>
                <a:cubicBezTo>
                  <a:pt x="2754137" y="1091525"/>
                  <a:pt x="2720857" y="1095205"/>
                  <a:pt x="2687576" y="1098725"/>
                </a:cubicBezTo>
                <a:cubicBezTo>
                  <a:pt x="2706937" y="1083045"/>
                  <a:pt x="2725656" y="1066565"/>
                  <a:pt x="2743416" y="1049285"/>
                </a:cubicBezTo>
                <a:cubicBezTo>
                  <a:pt x="2779897" y="1013925"/>
                  <a:pt x="2814296" y="975045"/>
                  <a:pt x="2845496" y="934885"/>
                </a:cubicBezTo>
                <a:cubicBezTo>
                  <a:pt x="2874296" y="897765"/>
                  <a:pt x="2896217" y="851365"/>
                  <a:pt x="2915097" y="808645"/>
                </a:cubicBezTo>
                <a:cubicBezTo>
                  <a:pt x="2937177" y="758885"/>
                  <a:pt x="2960696" y="709765"/>
                  <a:pt x="2978776" y="658405"/>
                </a:cubicBezTo>
                <a:cubicBezTo>
                  <a:pt x="2997017" y="606725"/>
                  <a:pt x="3007416" y="553285"/>
                  <a:pt x="3020696" y="500325"/>
                </a:cubicBezTo>
                <a:cubicBezTo>
                  <a:pt x="3033177" y="450405"/>
                  <a:pt x="3042616" y="400645"/>
                  <a:pt x="3049977" y="349765"/>
                </a:cubicBezTo>
                <a:cubicBezTo>
                  <a:pt x="3057336" y="298565"/>
                  <a:pt x="3065496" y="248005"/>
                  <a:pt x="3063257" y="196165"/>
                </a:cubicBezTo>
                <a:cubicBezTo>
                  <a:pt x="3061496" y="156965"/>
                  <a:pt x="3056857" y="115685"/>
                  <a:pt x="3063416" y="76965"/>
                </a:cubicBezTo>
                <a:cubicBezTo>
                  <a:pt x="3066937" y="56165"/>
                  <a:pt x="3077336" y="19685"/>
                  <a:pt x="3059576" y="2885"/>
                </a:cubicBezTo>
                <a:cubicBezTo>
                  <a:pt x="3055097" y="-1275"/>
                  <a:pt x="3047257" y="-635"/>
                  <a:pt x="3042616" y="2885"/>
                </a:cubicBezTo>
                <a:cubicBezTo>
                  <a:pt x="3033656" y="9765"/>
                  <a:pt x="3023897" y="20485"/>
                  <a:pt x="3016696" y="24645"/>
                </a:cubicBezTo>
                <a:cubicBezTo>
                  <a:pt x="3002776" y="32805"/>
                  <a:pt x="2989177" y="39845"/>
                  <a:pt x="2976217" y="49605"/>
                </a:cubicBezTo>
                <a:cubicBezTo>
                  <a:pt x="2945496" y="72965"/>
                  <a:pt x="2909977" y="92485"/>
                  <a:pt x="2875097" y="108645"/>
                </a:cubicBezTo>
                <a:cubicBezTo>
                  <a:pt x="2858937" y="116165"/>
                  <a:pt x="2841177" y="119685"/>
                  <a:pt x="2824376" y="125925"/>
                </a:cubicBezTo>
                <a:cubicBezTo>
                  <a:pt x="2808536" y="131685"/>
                  <a:pt x="2794137" y="140485"/>
                  <a:pt x="2778776" y="147205"/>
                </a:cubicBezTo>
                <a:cubicBezTo>
                  <a:pt x="2746616" y="161285"/>
                  <a:pt x="2721496" y="184325"/>
                  <a:pt x="2695416" y="207685"/>
                </a:cubicBezTo>
                <a:cubicBezTo>
                  <a:pt x="2667097" y="233125"/>
                  <a:pt x="2640857" y="260965"/>
                  <a:pt x="2614296" y="288005"/>
                </a:cubicBezTo>
                <a:cubicBezTo>
                  <a:pt x="2587416" y="315525"/>
                  <a:pt x="2561336" y="344645"/>
                  <a:pt x="2539416" y="376165"/>
                </a:cubicBezTo>
                <a:cubicBezTo>
                  <a:pt x="2517496" y="407525"/>
                  <a:pt x="2500217" y="441765"/>
                  <a:pt x="2485336" y="476965"/>
                </a:cubicBezTo>
                <a:cubicBezTo>
                  <a:pt x="2482296" y="484165"/>
                  <a:pt x="2479736" y="491525"/>
                  <a:pt x="2477336" y="498885"/>
                </a:cubicBezTo>
                <a:cubicBezTo>
                  <a:pt x="2475897" y="481925"/>
                  <a:pt x="2473977" y="464965"/>
                  <a:pt x="2471257" y="448165"/>
                </a:cubicBezTo>
                <a:cubicBezTo>
                  <a:pt x="2467097" y="422085"/>
                  <a:pt x="2460857" y="396165"/>
                  <a:pt x="2455416" y="370245"/>
                </a:cubicBezTo>
                <a:cubicBezTo>
                  <a:pt x="2449816" y="343685"/>
                  <a:pt x="2439576" y="317765"/>
                  <a:pt x="2434776" y="291205"/>
                </a:cubicBezTo>
                <a:cubicBezTo>
                  <a:pt x="2431416" y="272325"/>
                  <a:pt x="2426456" y="255205"/>
                  <a:pt x="2419416" y="237445"/>
                </a:cubicBezTo>
                <a:cubicBezTo>
                  <a:pt x="2411576" y="217765"/>
                  <a:pt x="2397977" y="200325"/>
                  <a:pt x="2389177" y="180805"/>
                </a:cubicBezTo>
                <a:cubicBezTo>
                  <a:pt x="2368857" y="135845"/>
                  <a:pt x="2347736" y="91365"/>
                  <a:pt x="2317816" y="51845"/>
                </a:cubicBezTo>
                <a:cubicBezTo>
                  <a:pt x="2310456" y="42085"/>
                  <a:pt x="2296057" y="47205"/>
                  <a:pt x="2293977" y="58245"/>
                </a:cubicBezTo>
                <a:cubicBezTo>
                  <a:pt x="2290776" y="75365"/>
                  <a:pt x="2278937" y="88965"/>
                  <a:pt x="2268857" y="102565"/>
                </a:cubicBezTo>
                <a:cubicBezTo>
                  <a:pt x="2258616" y="116325"/>
                  <a:pt x="2248536" y="130245"/>
                  <a:pt x="2238937" y="144485"/>
                </a:cubicBezTo>
                <a:cubicBezTo>
                  <a:pt x="2217816" y="175685"/>
                  <a:pt x="2196217" y="205925"/>
                  <a:pt x="2169496" y="232645"/>
                </a:cubicBezTo>
                <a:cubicBezTo>
                  <a:pt x="2146296" y="255845"/>
                  <a:pt x="2120376" y="278405"/>
                  <a:pt x="2090456" y="292485"/>
                </a:cubicBezTo>
                <a:cubicBezTo>
                  <a:pt x="2077017" y="298725"/>
                  <a:pt x="2064217" y="303045"/>
                  <a:pt x="2052057" y="311685"/>
                </a:cubicBezTo>
                <a:cubicBezTo>
                  <a:pt x="2038137" y="321445"/>
                  <a:pt x="2024057" y="331205"/>
                  <a:pt x="2011257" y="342245"/>
                </a:cubicBezTo>
                <a:cubicBezTo>
                  <a:pt x="2001177" y="351045"/>
                  <a:pt x="1988376" y="355685"/>
                  <a:pt x="1978937" y="365445"/>
                </a:cubicBezTo>
                <a:cubicBezTo>
                  <a:pt x="1968536" y="376325"/>
                  <a:pt x="1956536" y="386565"/>
                  <a:pt x="1944696" y="396645"/>
                </a:cubicBezTo>
                <a:cubicBezTo>
                  <a:pt x="1944057" y="383365"/>
                  <a:pt x="1935897" y="370405"/>
                  <a:pt x="1931416" y="357605"/>
                </a:cubicBezTo>
                <a:cubicBezTo>
                  <a:pt x="1922456" y="332005"/>
                  <a:pt x="1908536" y="311045"/>
                  <a:pt x="1893816" y="288325"/>
                </a:cubicBezTo>
                <a:cubicBezTo>
                  <a:pt x="1864696" y="243525"/>
                  <a:pt x="1820057" y="210245"/>
                  <a:pt x="1776536" y="180645"/>
                </a:cubicBezTo>
                <a:cubicBezTo>
                  <a:pt x="1726137" y="146405"/>
                  <a:pt x="1674137" y="116805"/>
                  <a:pt x="1618137" y="93285"/>
                </a:cubicBezTo>
                <a:cubicBezTo>
                  <a:pt x="1605656" y="88005"/>
                  <a:pt x="1593336" y="82565"/>
                  <a:pt x="1581336" y="76485"/>
                </a:cubicBezTo>
                <a:cubicBezTo>
                  <a:pt x="1570296" y="70885"/>
                  <a:pt x="1557336" y="68325"/>
                  <a:pt x="1545496" y="64165"/>
                </a:cubicBezTo>
                <a:cubicBezTo>
                  <a:pt x="1518937" y="54885"/>
                  <a:pt x="1495736" y="41445"/>
                  <a:pt x="1474937" y="22405"/>
                </a:cubicBezTo>
                <a:cubicBezTo>
                  <a:pt x="1472057" y="19685"/>
                  <a:pt x="1469017" y="19845"/>
                  <a:pt x="1466616" y="21445"/>
                </a:cubicBezTo>
                <a:cubicBezTo>
                  <a:pt x="1463416" y="20805"/>
                  <a:pt x="1459576" y="22085"/>
                  <a:pt x="1458137" y="25445"/>
                </a:cubicBezTo>
                <a:cubicBezTo>
                  <a:pt x="1446776" y="52165"/>
                  <a:pt x="1430296" y="76965"/>
                  <a:pt x="1410776" y="98405"/>
                </a:cubicBezTo>
                <a:cubicBezTo>
                  <a:pt x="1389177" y="122085"/>
                  <a:pt x="1368217" y="146245"/>
                  <a:pt x="1345656" y="169125"/>
                </a:cubicBezTo>
                <a:cubicBezTo>
                  <a:pt x="1325977" y="189125"/>
                  <a:pt x="1305977" y="208645"/>
                  <a:pt x="1284057" y="226085"/>
                </a:cubicBezTo>
                <a:cubicBezTo>
                  <a:pt x="1273336" y="234565"/>
                  <a:pt x="1262776" y="244165"/>
                  <a:pt x="1257017" y="256005"/>
                </a:cubicBezTo>
                <a:cubicBezTo>
                  <a:pt x="1246616" y="248165"/>
                  <a:pt x="1236057" y="240485"/>
                  <a:pt x="1225497" y="232645"/>
                </a:cubicBezTo>
                <a:cubicBezTo>
                  <a:pt x="1199096" y="213285"/>
                  <a:pt x="1173176" y="192325"/>
                  <a:pt x="1144216" y="176805"/>
                </a:cubicBezTo>
                <a:cubicBezTo>
                  <a:pt x="1130937" y="169765"/>
                  <a:pt x="1116376" y="163045"/>
                  <a:pt x="1101656" y="159685"/>
                </a:cubicBezTo>
                <a:cubicBezTo>
                  <a:pt x="1084376" y="155685"/>
                  <a:pt x="1068376" y="147685"/>
                  <a:pt x="1051096" y="143205"/>
                </a:cubicBezTo>
                <a:cubicBezTo>
                  <a:pt x="1033656" y="138725"/>
                  <a:pt x="1015896" y="135365"/>
                  <a:pt x="999096" y="128485"/>
                </a:cubicBezTo>
                <a:cubicBezTo>
                  <a:pt x="984536" y="122565"/>
                  <a:pt x="969497" y="118405"/>
                  <a:pt x="953656" y="117285"/>
                </a:cubicBezTo>
                <a:cubicBezTo>
                  <a:pt x="952056" y="117125"/>
                  <a:pt x="950776" y="117445"/>
                  <a:pt x="949497" y="117765"/>
                </a:cubicBezTo>
                <a:cubicBezTo>
                  <a:pt x="945816" y="116805"/>
                  <a:pt x="941336" y="118085"/>
                  <a:pt x="940376" y="121925"/>
                </a:cubicBezTo>
                <a:cubicBezTo>
                  <a:pt x="936856" y="134885"/>
                  <a:pt x="944216" y="142885"/>
                  <a:pt x="945977" y="155205"/>
                </a:cubicBezTo>
                <a:cubicBezTo>
                  <a:pt x="949176" y="176965"/>
                  <a:pt x="953336" y="198245"/>
                  <a:pt x="954457" y="220165"/>
                </a:cubicBezTo>
                <a:cubicBezTo>
                  <a:pt x="956856" y="269125"/>
                  <a:pt x="949176" y="312645"/>
                  <a:pt x="928856" y="357285"/>
                </a:cubicBezTo>
                <a:cubicBezTo>
                  <a:pt x="911096" y="396005"/>
                  <a:pt x="893816" y="434725"/>
                  <a:pt x="879736" y="474885"/>
                </a:cubicBezTo>
                <a:cubicBezTo>
                  <a:pt x="873017" y="493765"/>
                  <a:pt x="866457" y="512165"/>
                  <a:pt x="858296" y="530405"/>
                </a:cubicBezTo>
                <a:cubicBezTo>
                  <a:pt x="856056" y="535525"/>
                  <a:pt x="853656" y="540965"/>
                  <a:pt x="851576" y="546405"/>
                </a:cubicBezTo>
                <a:cubicBezTo>
                  <a:pt x="850136" y="546885"/>
                  <a:pt x="848856" y="548165"/>
                  <a:pt x="848376" y="550085"/>
                </a:cubicBezTo>
                <a:cubicBezTo>
                  <a:pt x="847096" y="554405"/>
                  <a:pt x="846457" y="558885"/>
                  <a:pt x="845977" y="563205"/>
                </a:cubicBezTo>
                <a:cubicBezTo>
                  <a:pt x="845336" y="565605"/>
                  <a:pt x="844856" y="568165"/>
                  <a:pt x="844376" y="570565"/>
                </a:cubicBezTo>
                <a:cubicBezTo>
                  <a:pt x="834136" y="569765"/>
                  <a:pt x="824056" y="568645"/>
                  <a:pt x="813977" y="567205"/>
                </a:cubicBezTo>
                <a:cubicBezTo>
                  <a:pt x="791896" y="564005"/>
                  <a:pt x="770296" y="557125"/>
                  <a:pt x="748696" y="551845"/>
                </a:cubicBezTo>
                <a:cubicBezTo>
                  <a:pt x="706616" y="541605"/>
                  <a:pt x="664216" y="536325"/>
                  <a:pt x="621497" y="531045"/>
                </a:cubicBezTo>
                <a:cubicBezTo>
                  <a:pt x="579576" y="525925"/>
                  <a:pt x="534937" y="524805"/>
                  <a:pt x="494937" y="510725"/>
                </a:cubicBezTo>
                <a:cubicBezTo>
                  <a:pt x="491736" y="509605"/>
                  <a:pt x="488536" y="508325"/>
                  <a:pt x="485336" y="507045"/>
                </a:cubicBezTo>
                <a:cubicBezTo>
                  <a:pt x="483896" y="506405"/>
                  <a:pt x="482457" y="505925"/>
                  <a:pt x="481176" y="505445"/>
                </a:cubicBezTo>
                <a:cubicBezTo>
                  <a:pt x="468856" y="500325"/>
                  <a:pt x="456696" y="494565"/>
                  <a:pt x="444536" y="489125"/>
                </a:cubicBezTo>
                <a:cubicBezTo>
                  <a:pt x="442616" y="488325"/>
                  <a:pt x="439896" y="487205"/>
                  <a:pt x="436696" y="485765"/>
                </a:cubicBezTo>
                <a:cubicBezTo>
                  <a:pt x="429017" y="480645"/>
                  <a:pt x="422136" y="474405"/>
                  <a:pt x="415576" y="468005"/>
                </a:cubicBezTo>
                <a:cubicBezTo>
                  <a:pt x="414136" y="466565"/>
                  <a:pt x="412536" y="464965"/>
                  <a:pt x="410937" y="463365"/>
                </a:cubicBezTo>
                <a:cubicBezTo>
                  <a:pt x="410937" y="463365"/>
                  <a:pt x="410937" y="463365"/>
                  <a:pt x="410937" y="463365"/>
                </a:cubicBezTo>
                <a:cubicBezTo>
                  <a:pt x="411736" y="459205"/>
                  <a:pt x="408376" y="456805"/>
                  <a:pt x="405017" y="456805"/>
                </a:cubicBezTo>
                <a:cubicBezTo>
                  <a:pt x="403896" y="455525"/>
                  <a:pt x="402457" y="454565"/>
                  <a:pt x="400696" y="454565"/>
                </a:cubicBezTo>
                <a:cubicBezTo>
                  <a:pt x="400216" y="453925"/>
                  <a:pt x="399416" y="453445"/>
                  <a:pt x="398616" y="453285"/>
                </a:cubicBezTo>
                <a:cubicBezTo>
                  <a:pt x="396056" y="452805"/>
                  <a:pt x="393977" y="453445"/>
                  <a:pt x="392056" y="455045"/>
                </a:cubicBezTo>
                <a:cubicBezTo>
                  <a:pt x="389017" y="456165"/>
                  <a:pt x="387416" y="458725"/>
                  <a:pt x="387576" y="461445"/>
                </a:cubicBezTo>
                <a:cubicBezTo>
                  <a:pt x="383416" y="470725"/>
                  <a:pt x="382296" y="485125"/>
                  <a:pt x="381336" y="490565"/>
                </a:cubicBezTo>
                <a:cubicBezTo>
                  <a:pt x="381017" y="492805"/>
                  <a:pt x="380056" y="500485"/>
                  <a:pt x="380056" y="508805"/>
                </a:cubicBezTo>
                <a:cubicBezTo>
                  <a:pt x="358616" y="597925"/>
                  <a:pt x="344216" y="690405"/>
                  <a:pt x="367576" y="780485"/>
                </a:cubicBezTo>
                <a:cubicBezTo>
                  <a:pt x="373497" y="803525"/>
                  <a:pt x="378776" y="825765"/>
                  <a:pt x="388536" y="847685"/>
                </a:cubicBezTo>
                <a:cubicBezTo>
                  <a:pt x="399896" y="873125"/>
                  <a:pt x="414616" y="897125"/>
                  <a:pt x="427416" y="921765"/>
                </a:cubicBezTo>
                <a:cubicBezTo>
                  <a:pt x="451416" y="967845"/>
                  <a:pt x="485816" y="1005285"/>
                  <a:pt x="514296" y="1048165"/>
                </a:cubicBezTo>
                <a:cubicBezTo>
                  <a:pt x="542296" y="1090245"/>
                  <a:pt x="575256" y="1126565"/>
                  <a:pt x="611096" y="1162245"/>
                </a:cubicBezTo>
                <a:cubicBezTo>
                  <a:pt x="649176" y="1200165"/>
                  <a:pt x="688216" y="1235525"/>
                  <a:pt x="733816" y="1264485"/>
                </a:cubicBezTo>
                <a:cubicBezTo>
                  <a:pt x="778457" y="1292965"/>
                  <a:pt x="826296" y="1316325"/>
                  <a:pt x="875736" y="1335045"/>
                </a:cubicBezTo>
                <a:cubicBezTo>
                  <a:pt x="926776" y="1354245"/>
                  <a:pt x="979896" y="1375525"/>
                  <a:pt x="1035096" y="1378085"/>
                </a:cubicBezTo>
                <a:cubicBezTo>
                  <a:pt x="1062937" y="1379365"/>
                  <a:pt x="1090457" y="1380165"/>
                  <a:pt x="1118136" y="1382725"/>
                </a:cubicBezTo>
                <a:cubicBezTo>
                  <a:pt x="1140376" y="1384645"/>
                  <a:pt x="1160856" y="1377605"/>
                  <a:pt x="1183256" y="1380485"/>
                </a:cubicBezTo>
                <a:cubicBezTo>
                  <a:pt x="1194776" y="1381925"/>
                  <a:pt x="1208856" y="1377925"/>
                  <a:pt x="1220216" y="1376485"/>
                </a:cubicBezTo>
                <a:cubicBezTo>
                  <a:pt x="1235257" y="1374725"/>
                  <a:pt x="1250296" y="1372965"/>
                  <a:pt x="1265177" y="1370405"/>
                </a:cubicBezTo>
                <a:cubicBezTo>
                  <a:pt x="1289977" y="1366405"/>
                  <a:pt x="1315097" y="1366405"/>
                  <a:pt x="1340217" y="1368325"/>
                </a:cubicBezTo>
                <a:cubicBezTo>
                  <a:pt x="1344376" y="1370245"/>
                  <a:pt x="1348536" y="1372165"/>
                  <a:pt x="1352696" y="1374085"/>
                </a:cubicBezTo>
                <a:cubicBezTo>
                  <a:pt x="1340376" y="1382725"/>
                  <a:pt x="1328536" y="1391685"/>
                  <a:pt x="1314137" y="1396965"/>
                </a:cubicBezTo>
                <a:cubicBezTo>
                  <a:pt x="1288696" y="1406405"/>
                  <a:pt x="1263257" y="1412645"/>
                  <a:pt x="1236536" y="1417445"/>
                </a:cubicBezTo>
                <a:cubicBezTo>
                  <a:pt x="1184856" y="1426565"/>
                  <a:pt x="1129176" y="1428165"/>
                  <a:pt x="1076856" y="1427685"/>
                </a:cubicBezTo>
                <a:cubicBezTo>
                  <a:pt x="1021977" y="1427205"/>
                  <a:pt x="967256" y="1424965"/>
                  <a:pt x="912696" y="1420325"/>
                </a:cubicBezTo>
                <a:cubicBezTo>
                  <a:pt x="885656" y="1418085"/>
                  <a:pt x="858296" y="1418565"/>
                  <a:pt x="831096" y="1419685"/>
                </a:cubicBezTo>
                <a:cubicBezTo>
                  <a:pt x="799576" y="1420965"/>
                  <a:pt x="769017" y="1422245"/>
                  <a:pt x="737656" y="1421445"/>
                </a:cubicBezTo>
                <a:cubicBezTo>
                  <a:pt x="682937" y="1420005"/>
                  <a:pt x="628216" y="1427045"/>
                  <a:pt x="573656" y="1430085"/>
                </a:cubicBezTo>
                <a:cubicBezTo>
                  <a:pt x="519576" y="1432965"/>
                  <a:pt x="469497" y="1447045"/>
                  <a:pt x="417176" y="1460325"/>
                </a:cubicBezTo>
                <a:cubicBezTo>
                  <a:pt x="367096" y="1472965"/>
                  <a:pt x="323416" y="1494725"/>
                  <a:pt x="276696" y="1516165"/>
                </a:cubicBezTo>
                <a:cubicBezTo>
                  <a:pt x="238616" y="1533605"/>
                  <a:pt x="204536" y="1557445"/>
                  <a:pt x="168536" y="1578245"/>
                </a:cubicBezTo>
                <a:cubicBezTo>
                  <a:pt x="151256" y="1582885"/>
                  <a:pt x="135256" y="1593925"/>
                  <a:pt x="119256" y="1601925"/>
                </a:cubicBezTo>
                <a:cubicBezTo>
                  <a:pt x="113336" y="1604965"/>
                  <a:pt x="107896" y="1610565"/>
                  <a:pt x="102776" y="1617125"/>
                </a:cubicBezTo>
                <a:cubicBezTo>
                  <a:pt x="99096" y="1619205"/>
                  <a:pt x="95416" y="1621125"/>
                  <a:pt x="91576" y="1622885"/>
                </a:cubicBezTo>
                <a:cubicBezTo>
                  <a:pt x="90616" y="1623365"/>
                  <a:pt x="89656" y="1623845"/>
                  <a:pt x="88696" y="1624325"/>
                </a:cubicBezTo>
                <a:cubicBezTo>
                  <a:pt x="85497" y="1628965"/>
                  <a:pt x="82136" y="1633445"/>
                  <a:pt x="79096" y="1637605"/>
                </a:cubicBezTo>
                <a:cubicBezTo>
                  <a:pt x="69336" y="1650725"/>
                  <a:pt x="58616" y="1662725"/>
                  <a:pt x="45977" y="1672485"/>
                </a:cubicBezTo>
                <a:cubicBezTo>
                  <a:pt x="46616" y="1672965"/>
                  <a:pt x="47416" y="1673285"/>
                  <a:pt x="48216" y="1673445"/>
                </a:cubicBezTo>
                <a:cubicBezTo>
                  <a:pt x="45977" y="1676805"/>
                  <a:pt x="43416" y="1680005"/>
                  <a:pt x="40536" y="1683045"/>
                </a:cubicBezTo>
                <a:cubicBezTo>
                  <a:pt x="30457" y="1693605"/>
                  <a:pt x="19416" y="1710405"/>
                  <a:pt x="6136" y="1716165"/>
                </a:cubicBezTo>
                <a:cubicBezTo>
                  <a:pt x="-3464" y="1720165"/>
                  <a:pt x="-1224" y="1734405"/>
                  <a:pt x="8856" y="1735845"/>
                </a:cubicBezTo>
                <a:cubicBezTo>
                  <a:pt x="31096" y="1739205"/>
                  <a:pt x="50296" y="1735045"/>
                  <a:pt x="72216" y="1735045"/>
                </a:cubicBezTo>
                <a:cubicBezTo>
                  <a:pt x="83576" y="1735045"/>
                  <a:pt x="94936" y="1736965"/>
                  <a:pt x="106136" y="1738405"/>
                </a:cubicBezTo>
                <a:cubicBezTo>
                  <a:pt x="119416" y="1740165"/>
                  <a:pt x="132856" y="1739685"/>
                  <a:pt x="146296" y="1741925"/>
                </a:cubicBezTo>
                <a:cubicBezTo>
                  <a:pt x="172056" y="1746405"/>
                  <a:pt x="195256" y="1757605"/>
                  <a:pt x="220056" y="1765125"/>
                </a:cubicBezTo>
                <a:cubicBezTo>
                  <a:pt x="246776" y="1773285"/>
                  <a:pt x="273977" y="1780325"/>
                  <a:pt x="301176" y="1786885"/>
                </a:cubicBezTo>
                <a:cubicBezTo>
                  <a:pt x="356536" y="1800325"/>
                  <a:pt x="412536" y="1809285"/>
                  <a:pt x="468056" y="1821445"/>
                </a:cubicBezTo>
                <a:cubicBezTo>
                  <a:pt x="491896" y="1826725"/>
                  <a:pt x="515576" y="1836005"/>
                  <a:pt x="539736" y="1839205"/>
                </a:cubicBezTo>
                <a:cubicBezTo>
                  <a:pt x="569017" y="1843045"/>
                  <a:pt x="598136" y="1846885"/>
                  <a:pt x="627416" y="1850725"/>
                </a:cubicBezTo>
                <a:cubicBezTo>
                  <a:pt x="679256" y="1857445"/>
                  <a:pt x="729017" y="1862085"/>
                  <a:pt x="781176" y="1857285"/>
                </a:cubicBezTo>
                <a:cubicBezTo>
                  <a:pt x="832216" y="1852645"/>
                  <a:pt x="884376" y="1847685"/>
                  <a:pt x="933497" y="1832325"/>
                </a:cubicBezTo>
                <a:cubicBezTo>
                  <a:pt x="955096" y="1825605"/>
                  <a:pt x="978457" y="1818405"/>
                  <a:pt x="1001017" y="1816325"/>
                </a:cubicBezTo>
                <a:cubicBezTo>
                  <a:pt x="1026616" y="1813925"/>
                  <a:pt x="1052056" y="1805125"/>
                  <a:pt x="1077017" y="1798885"/>
                </a:cubicBezTo>
                <a:cubicBezTo>
                  <a:pt x="1100856" y="1792965"/>
                  <a:pt x="1123576" y="1784005"/>
                  <a:pt x="1147096" y="1777605"/>
                </a:cubicBezTo>
                <a:cubicBezTo>
                  <a:pt x="1170296" y="1771205"/>
                  <a:pt x="1192056" y="1760325"/>
                  <a:pt x="1212696" y="1748165"/>
                </a:cubicBezTo>
                <a:cubicBezTo>
                  <a:pt x="1228536" y="1738885"/>
                  <a:pt x="1244696" y="1730725"/>
                  <a:pt x="1260696" y="1722245"/>
                </a:cubicBezTo>
                <a:cubicBezTo>
                  <a:pt x="1262616" y="1718565"/>
                  <a:pt x="1264696" y="1714725"/>
                  <a:pt x="1266616" y="1711045"/>
                </a:cubicBezTo>
                <a:cubicBezTo>
                  <a:pt x="1267097" y="1710725"/>
                  <a:pt x="1267576" y="1710565"/>
                  <a:pt x="1268057" y="1710245"/>
                </a:cubicBezTo>
                <a:cubicBezTo>
                  <a:pt x="1271897" y="1708005"/>
                  <a:pt x="1275416" y="1705445"/>
                  <a:pt x="1279097" y="1702885"/>
                </a:cubicBezTo>
                <a:cubicBezTo>
                  <a:pt x="1268536" y="1713925"/>
                  <a:pt x="1258296" y="1724965"/>
                  <a:pt x="1248376" y="1736485"/>
                </a:cubicBezTo>
                <a:cubicBezTo>
                  <a:pt x="1233336" y="1754245"/>
                  <a:pt x="1220536" y="1773285"/>
                  <a:pt x="1211256" y="1794565"/>
                </a:cubicBezTo>
                <a:cubicBezTo>
                  <a:pt x="1201656" y="1816805"/>
                  <a:pt x="1183096" y="1833925"/>
                  <a:pt x="1171417" y="1854885"/>
                </a:cubicBezTo>
                <a:cubicBezTo>
                  <a:pt x="1145497" y="1901445"/>
                  <a:pt x="1121497" y="1948485"/>
                  <a:pt x="1097176" y="1995845"/>
                </a:cubicBezTo>
                <a:cubicBezTo>
                  <a:pt x="1072696" y="2043685"/>
                  <a:pt x="1055096" y="2090405"/>
                  <a:pt x="1042296" y="2142565"/>
                </a:cubicBezTo>
                <a:cubicBezTo>
                  <a:pt x="1036056" y="2167845"/>
                  <a:pt x="1029497" y="2192965"/>
                  <a:pt x="1024056" y="2218565"/>
                </a:cubicBezTo>
                <a:cubicBezTo>
                  <a:pt x="1019096" y="2241925"/>
                  <a:pt x="1013176" y="2268165"/>
                  <a:pt x="1014937" y="2292165"/>
                </a:cubicBezTo>
                <a:cubicBezTo>
                  <a:pt x="1016536" y="2313285"/>
                  <a:pt x="1018616" y="2333925"/>
                  <a:pt x="1025497" y="2354085"/>
                </a:cubicBezTo>
                <a:cubicBezTo>
                  <a:pt x="1029336" y="2365605"/>
                  <a:pt x="1035256" y="2376005"/>
                  <a:pt x="1034616" y="2388645"/>
                </a:cubicBezTo>
                <a:cubicBezTo>
                  <a:pt x="1033977" y="2401605"/>
                  <a:pt x="1027736" y="2410885"/>
                  <a:pt x="1030457" y="2424485"/>
                </a:cubicBezTo>
                <a:cubicBezTo>
                  <a:pt x="1031736" y="2430565"/>
                  <a:pt x="1036056" y="2435685"/>
                  <a:pt x="1042616" y="2436485"/>
                </a:cubicBezTo>
                <a:cubicBezTo>
                  <a:pt x="1065656" y="2439045"/>
                  <a:pt x="1087897" y="2437605"/>
                  <a:pt x="1110616" y="2432965"/>
                </a:cubicBezTo>
                <a:cubicBezTo>
                  <a:pt x="1136056" y="2427685"/>
                  <a:pt x="1162457" y="2429605"/>
                  <a:pt x="1188376" y="2427365"/>
                </a:cubicBezTo>
                <a:cubicBezTo>
                  <a:pt x="1237177" y="2423205"/>
                  <a:pt x="1277496" y="2403685"/>
                  <a:pt x="1319897" y="2380965"/>
                </a:cubicBezTo>
                <a:cubicBezTo>
                  <a:pt x="1341496" y="2369445"/>
                  <a:pt x="1364376" y="2360645"/>
                  <a:pt x="1385656" y="2348325"/>
                </a:cubicBezTo>
                <a:cubicBezTo>
                  <a:pt x="1407576" y="2335685"/>
                  <a:pt x="1428217" y="2321285"/>
                  <a:pt x="1448217" y="2305765"/>
                </a:cubicBezTo>
                <a:cubicBezTo>
                  <a:pt x="1490937" y="2272645"/>
                  <a:pt x="1531097" y="2236165"/>
                  <a:pt x="1569177" y="2197925"/>
                </a:cubicBezTo>
                <a:cubicBezTo>
                  <a:pt x="1607416" y="2159525"/>
                  <a:pt x="1645017" y="2119205"/>
                  <a:pt x="1677656" y="2075845"/>
                </a:cubicBezTo>
                <a:cubicBezTo>
                  <a:pt x="1685017" y="2066085"/>
                  <a:pt x="1692057" y="2056325"/>
                  <a:pt x="1699097" y="2046405"/>
                </a:cubicBezTo>
                <a:cubicBezTo>
                  <a:pt x="1699576" y="2050085"/>
                  <a:pt x="1700217" y="2053925"/>
                  <a:pt x="1701017" y="2057605"/>
                </a:cubicBezTo>
                <a:cubicBezTo>
                  <a:pt x="1702616" y="2066245"/>
                  <a:pt x="1704217" y="2074885"/>
                  <a:pt x="1705816" y="2083525"/>
                </a:cubicBezTo>
                <a:cubicBezTo>
                  <a:pt x="1705177" y="2100645"/>
                  <a:pt x="1704536" y="2117925"/>
                  <a:pt x="1704696" y="2135205"/>
                </a:cubicBezTo>
                <a:cubicBezTo>
                  <a:pt x="1704856" y="2156005"/>
                  <a:pt x="1705336" y="2176645"/>
                  <a:pt x="1706776" y="2197285"/>
                </a:cubicBezTo>
                <a:cubicBezTo>
                  <a:pt x="1708217" y="2218085"/>
                  <a:pt x="1706776" y="2238725"/>
                  <a:pt x="1707736" y="2259525"/>
                </a:cubicBezTo>
                <a:cubicBezTo>
                  <a:pt x="1708696" y="2279845"/>
                  <a:pt x="1708536" y="2298085"/>
                  <a:pt x="1705977" y="2318405"/>
                </a:cubicBezTo>
                <a:cubicBezTo>
                  <a:pt x="1703257" y="2338885"/>
                  <a:pt x="1700376" y="2358885"/>
                  <a:pt x="1700376" y="2379525"/>
                </a:cubicBezTo>
                <a:cubicBezTo>
                  <a:pt x="1700376" y="2423685"/>
                  <a:pt x="1702296" y="2467845"/>
                  <a:pt x="1697177" y="2511685"/>
                </a:cubicBezTo>
                <a:cubicBezTo>
                  <a:pt x="1686616" y="2600325"/>
                  <a:pt x="1679416" y="2689125"/>
                  <a:pt x="1668376" y="2777765"/>
                </a:cubicBezTo>
                <a:cubicBezTo>
                  <a:pt x="1663576" y="2816165"/>
                  <a:pt x="1654296" y="2855845"/>
                  <a:pt x="1644536" y="2893445"/>
                </a:cubicBezTo>
                <a:cubicBezTo>
                  <a:pt x="1636696" y="2923205"/>
                  <a:pt x="1634456" y="2952325"/>
                  <a:pt x="1617816" y="2978085"/>
                </a:cubicBezTo>
                <a:cubicBezTo>
                  <a:pt x="1613656" y="2979525"/>
                  <a:pt x="1610137" y="2983045"/>
                  <a:pt x="1609017" y="2988965"/>
                </a:cubicBezTo>
                <a:cubicBezTo>
                  <a:pt x="1608696" y="2990725"/>
                  <a:pt x="1608376" y="2992485"/>
                  <a:pt x="1608057" y="2994245"/>
                </a:cubicBezTo>
                <a:cubicBezTo>
                  <a:pt x="1605496" y="3009605"/>
                  <a:pt x="1624376" y="3013925"/>
                  <a:pt x="1633496" y="3004805"/>
                </a:cubicBezTo>
                <a:cubicBezTo>
                  <a:pt x="1654616" y="2983365"/>
                  <a:pt x="1664057" y="2949605"/>
                  <a:pt x="1668217" y="2920645"/>
                </a:cubicBezTo>
                <a:cubicBezTo>
                  <a:pt x="1670937" y="2900965"/>
                  <a:pt x="1677977" y="2882245"/>
                  <a:pt x="1681017" y="2862565"/>
                </a:cubicBezTo>
                <a:cubicBezTo>
                  <a:pt x="1684217" y="2841925"/>
                  <a:pt x="1689816" y="2821925"/>
                  <a:pt x="1693816" y="2801445"/>
                </a:cubicBezTo>
                <a:cubicBezTo>
                  <a:pt x="1702937" y="2756165"/>
                  <a:pt x="1705017" y="2708485"/>
                  <a:pt x="1709496" y="2662565"/>
                </a:cubicBezTo>
                <a:cubicBezTo>
                  <a:pt x="1714137" y="2615845"/>
                  <a:pt x="1718616" y="2569125"/>
                  <a:pt x="1724376" y="2522565"/>
                </a:cubicBezTo>
                <a:cubicBezTo>
                  <a:pt x="1729656" y="2479365"/>
                  <a:pt x="1728696" y="2436165"/>
                  <a:pt x="1728057" y="2392645"/>
                </a:cubicBezTo>
                <a:cubicBezTo>
                  <a:pt x="1727416" y="2350885"/>
                  <a:pt x="1739416" y="2309605"/>
                  <a:pt x="1735576" y="2268005"/>
                </a:cubicBezTo>
                <a:cubicBezTo>
                  <a:pt x="1733656" y="2247845"/>
                  <a:pt x="1736856" y="2227525"/>
                  <a:pt x="1734456" y="2207685"/>
                </a:cubicBezTo>
                <a:cubicBezTo>
                  <a:pt x="1731736" y="2184805"/>
                  <a:pt x="1730616" y="2161765"/>
                  <a:pt x="1729816" y="2138725"/>
                </a:cubicBezTo>
                <a:cubicBezTo>
                  <a:pt x="1728536" y="2097445"/>
                  <a:pt x="1730776" y="2054405"/>
                  <a:pt x="1722937" y="2013765"/>
                </a:cubicBezTo>
                <a:cubicBezTo>
                  <a:pt x="1722937" y="2013445"/>
                  <a:pt x="1722776" y="2013125"/>
                  <a:pt x="1722616" y="2012805"/>
                </a:cubicBezTo>
                <a:cubicBezTo>
                  <a:pt x="1738616" y="1989605"/>
                  <a:pt x="1754456" y="1966085"/>
                  <a:pt x="1771097" y="1943205"/>
                </a:cubicBezTo>
                <a:cubicBezTo>
                  <a:pt x="1780217" y="1930565"/>
                  <a:pt x="1789017" y="1917765"/>
                  <a:pt x="1797336" y="1904645"/>
                </a:cubicBezTo>
                <a:cubicBezTo>
                  <a:pt x="1797656" y="1910245"/>
                  <a:pt x="1797977" y="1915845"/>
                  <a:pt x="1798296" y="1921445"/>
                </a:cubicBezTo>
                <a:cubicBezTo>
                  <a:pt x="1799416" y="1946085"/>
                  <a:pt x="1799416" y="1970565"/>
                  <a:pt x="1800696" y="1995205"/>
                </a:cubicBezTo>
                <a:cubicBezTo>
                  <a:pt x="1803257" y="2044325"/>
                  <a:pt x="1804856" y="2093605"/>
                  <a:pt x="1806296" y="2142725"/>
                </a:cubicBezTo>
                <a:cubicBezTo>
                  <a:pt x="1807736" y="2188005"/>
                  <a:pt x="1806296" y="2233125"/>
                  <a:pt x="1806616" y="2278245"/>
                </a:cubicBezTo>
                <a:cubicBezTo>
                  <a:pt x="1806776" y="2303045"/>
                  <a:pt x="1807576" y="2327845"/>
                  <a:pt x="1806937" y="2352805"/>
                </a:cubicBezTo>
                <a:cubicBezTo>
                  <a:pt x="1806296" y="2377285"/>
                  <a:pt x="1802776" y="2401445"/>
                  <a:pt x="1800856" y="2425765"/>
                </a:cubicBezTo>
                <a:cubicBezTo>
                  <a:pt x="1799257" y="2447205"/>
                  <a:pt x="1798616" y="2468805"/>
                  <a:pt x="1796536" y="2490085"/>
                </a:cubicBezTo>
                <a:cubicBezTo>
                  <a:pt x="1793977" y="2515365"/>
                  <a:pt x="1785977" y="2539045"/>
                  <a:pt x="1781336" y="2563845"/>
                </a:cubicBezTo>
                <a:cubicBezTo>
                  <a:pt x="1771897" y="2612645"/>
                  <a:pt x="1773977" y="2662565"/>
                  <a:pt x="1762937" y="2711365"/>
                </a:cubicBezTo>
                <a:cubicBezTo>
                  <a:pt x="1752536" y="2757285"/>
                  <a:pt x="1746137" y="2803845"/>
                  <a:pt x="1736696" y="2849925"/>
                </a:cubicBezTo>
                <a:cubicBezTo>
                  <a:pt x="1731897" y="2873445"/>
                  <a:pt x="1727257" y="2896005"/>
                  <a:pt x="1717496" y="2918085"/>
                </a:cubicBezTo>
                <a:cubicBezTo>
                  <a:pt x="1713977" y="2926085"/>
                  <a:pt x="1713977" y="2934245"/>
                  <a:pt x="1711097" y="2942405"/>
                </a:cubicBezTo>
                <a:cubicBezTo>
                  <a:pt x="1709656" y="2946405"/>
                  <a:pt x="1706137" y="2947685"/>
                  <a:pt x="1705496" y="2952485"/>
                </a:cubicBezTo>
                <a:cubicBezTo>
                  <a:pt x="1705017" y="2956005"/>
                  <a:pt x="1704696" y="2959685"/>
                  <a:pt x="1704536" y="2963205"/>
                </a:cubicBezTo>
                <a:cubicBezTo>
                  <a:pt x="1702776" y="2972485"/>
                  <a:pt x="1709496" y="2977765"/>
                  <a:pt x="1716696" y="2978405"/>
                </a:cubicBezTo>
                <a:cubicBezTo>
                  <a:pt x="1723897" y="2979685"/>
                  <a:pt x="1731736" y="2976165"/>
                  <a:pt x="1732376" y="2966885"/>
                </a:cubicBezTo>
                <a:cubicBezTo>
                  <a:pt x="1733496" y="2960805"/>
                  <a:pt x="1734776" y="2959045"/>
                  <a:pt x="1737656" y="2953445"/>
                </a:cubicBezTo>
                <a:cubicBezTo>
                  <a:pt x="1741656" y="2946085"/>
                  <a:pt x="1740376" y="2936645"/>
                  <a:pt x="1744057" y="2929125"/>
                </a:cubicBezTo>
                <a:cubicBezTo>
                  <a:pt x="1753496" y="2908805"/>
                  <a:pt x="1757496" y="2888005"/>
                  <a:pt x="1762456" y="2866405"/>
                </a:cubicBezTo>
                <a:cubicBezTo>
                  <a:pt x="1773336" y="2818405"/>
                  <a:pt x="1779897" y="2769445"/>
                  <a:pt x="1790137" y="2721285"/>
                </a:cubicBezTo>
                <a:cubicBezTo>
                  <a:pt x="1800376" y="2672645"/>
                  <a:pt x="1801336" y="2623525"/>
                  <a:pt x="1808856" y="2574405"/>
                </a:cubicBezTo>
                <a:cubicBezTo>
                  <a:pt x="1812696" y="2549285"/>
                  <a:pt x="1821177" y="2525445"/>
                  <a:pt x="1824536" y="2500325"/>
                </a:cubicBezTo>
                <a:cubicBezTo>
                  <a:pt x="1827576" y="2476805"/>
                  <a:pt x="1828057" y="2452965"/>
                  <a:pt x="1829496" y="2429445"/>
                </a:cubicBezTo>
                <a:cubicBezTo>
                  <a:pt x="1832536" y="2383845"/>
                  <a:pt x="1836057" y="2339525"/>
                  <a:pt x="1835097" y="2293605"/>
                </a:cubicBezTo>
                <a:cubicBezTo>
                  <a:pt x="1834137" y="2246405"/>
                  <a:pt x="1836057" y="2199205"/>
                  <a:pt x="1834456" y="2152005"/>
                </a:cubicBezTo>
                <a:cubicBezTo>
                  <a:pt x="1832856" y="2102885"/>
                  <a:pt x="1831736" y="2053445"/>
                  <a:pt x="1827897" y="2004325"/>
                </a:cubicBezTo>
                <a:cubicBezTo>
                  <a:pt x="1824376" y="1960485"/>
                  <a:pt x="1825177" y="1914565"/>
                  <a:pt x="1817336" y="1871045"/>
                </a:cubicBezTo>
                <a:cubicBezTo>
                  <a:pt x="1827736" y="1849765"/>
                  <a:pt x="1832376" y="1828805"/>
                  <a:pt x="1835576" y="1804485"/>
                </a:cubicBezTo>
                <a:cubicBezTo>
                  <a:pt x="1836856" y="1794885"/>
                  <a:pt x="1838937" y="1785445"/>
                  <a:pt x="1841177" y="1776165"/>
                </a:cubicBezTo>
                <a:cubicBezTo>
                  <a:pt x="1846137" y="1782725"/>
                  <a:pt x="1851576" y="1789125"/>
                  <a:pt x="1857816" y="1795205"/>
                </a:cubicBezTo>
                <a:cubicBezTo>
                  <a:pt x="1871576" y="1808645"/>
                  <a:pt x="1889977" y="1815845"/>
                  <a:pt x="1906456" y="1825445"/>
                </a:cubicBezTo>
                <a:cubicBezTo>
                  <a:pt x="1940376" y="1845445"/>
                  <a:pt x="1983897" y="1855525"/>
                  <a:pt x="2022616" y="1861285"/>
                </a:cubicBezTo>
                <a:cubicBezTo>
                  <a:pt x="2066616" y="1867685"/>
                  <a:pt x="2111736" y="1863685"/>
                  <a:pt x="2155897" y="1868005"/>
                </a:cubicBezTo>
                <a:cubicBezTo>
                  <a:pt x="2196217" y="1872005"/>
                  <a:pt x="2239097" y="1873605"/>
                  <a:pt x="2275257" y="1893605"/>
                </a:cubicBezTo>
                <a:cubicBezTo>
                  <a:pt x="2284217" y="1898565"/>
                  <a:pt x="2296857" y="1888485"/>
                  <a:pt x="2294616" y="1878725"/>
                </a:cubicBezTo>
                <a:cubicBezTo>
                  <a:pt x="2287257" y="1847685"/>
                  <a:pt x="2268857" y="1822405"/>
                  <a:pt x="2254296" y="1794565"/>
                </a:cubicBezTo>
                <a:cubicBezTo>
                  <a:pt x="2239097" y="1765605"/>
                  <a:pt x="2233977" y="1732485"/>
                  <a:pt x="2217656" y="1703685"/>
                </a:cubicBezTo>
                <a:cubicBezTo>
                  <a:pt x="2200857" y="1674085"/>
                  <a:pt x="2192057" y="1641125"/>
                  <a:pt x="2173496" y="1612325"/>
                </a:cubicBezTo>
                <a:cubicBezTo>
                  <a:pt x="2169017" y="1605285"/>
                  <a:pt x="2163416" y="1599525"/>
                  <a:pt x="2157656" y="1593765"/>
                </a:cubicBezTo>
                <a:cubicBezTo>
                  <a:pt x="2227897" y="1609445"/>
                  <a:pt x="2300376" y="1616965"/>
                  <a:pt x="2371097" y="1617125"/>
                </a:cubicBezTo>
                <a:cubicBezTo>
                  <a:pt x="2476696" y="1617445"/>
                  <a:pt x="2580376" y="1602085"/>
                  <a:pt x="2677656" y="1560165"/>
                </a:cubicBezTo>
                <a:cubicBezTo>
                  <a:pt x="2721177" y="1541445"/>
                  <a:pt x="2761816" y="1517605"/>
                  <a:pt x="2794776" y="1483205"/>
                </a:cubicBezTo>
                <a:cubicBezTo>
                  <a:pt x="2810616" y="1466565"/>
                  <a:pt x="2823736" y="1447845"/>
                  <a:pt x="2838937" y="1430565"/>
                </a:cubicBezTo>
                <a:cubicBezTo>
                  <a:pt x="2846296" y="1422245"/>
                  <a:pt x="2851736" y="1412005"/>
                  <a:pt x="2857336" y="1402565"/>
                </a:cubicBezTo>
                <a:cubicBezTo>
                  <a:pt x="2865336" y="1388805"/>
                  <a:pt x="2875416" y="1378885"/>
                  <a:pt x="2886776" y="1368005"/>
                </a:cubicBezTo>
                <a:cubicBezTo>
                  <a:pt x="2922937" y="1333285"/>
                  <a:pt x="2948696" y="1287525"/>
                  <a:pt x="2974456" y="1244805"/>
                </a:cubicBezTo>
                <a:cubicBezTo>
                  <a:pt x="3001336" y="1200005"/>
                  <a:pt x="3026137" y="1153285"/>
                  <a:pt x="3044857" y="1104485"/>
                </a:cubicBezTo>
                <a:cubicBezTo>
                  <a:pt x="3053977" y="1080805"/>
                  <a:pt x="3060857" y="1056165"/>
                  <a:pt x="3066137" y="1031205"/>
                </a:cubicBezTo>
                <a:cubicBezTo>
                  <a:pt x="3071416" y="1004965"/>
                  <a:pt x="3067416" y="978885"/>
                  <a:pt x="3070456" y="953445"/>
                </a:cubicBezTo>
                <a:close/>
                <a:moveTo>
                  <a:pt x="3032536" y="945445"/>
                </a:moveTo>
                <a:cubicBezTo>
                  <a:pt x="3031576" y="947685"/>
                  <a:pt x="3030616" y="949765"/>
                  <a:pt x="3030137" y="951045"/>
                </a:cubicBezTo>
                <a:cubicBezTo>
                  <a:pt x="3025816" y="961765"/>
                  <a:pt x="3021336" y="971845"/>
                  <a:pt x="3015736" y="982085"/>
                </a:cubicBezTo>
                <a:cubicBezTo>
                  <a:pt x="3001977" y="1007205"/>
                  <a:pt x="2989017" y="1032805"/>
                  <a:pt x="2974296" y="1057445"/>
                </a:cubicBezTo>
                <a:cubicBezTo>
                  <a:pt x="2946776" y="1103845"/>
                  <a:pt x="2912857" y="1144485"/>
                  <a:pt x="2880217" y="1187205"/>
                </a:cubicBezTo>
                <a:cubicBezTo>
                  <a:pt x="2847416" y="1230245"/>
                  <a:pt x="2803257" y="1264645"/>
                  <a:pt x="2762776" y="1300005"/>
                </a:cubicBezTo>
                <a:cubicBezTo>
                  <a:pt x="2722937" y="1334725"/>
                  <a:pt x="2679736" y="1366725"/>
                  <a:pt x="2629496" y="1384965"/>
                </a:cubicBezTo>
                <a:cubicBezTo>
                  <a:pt x="2605816" y="1393605"/>
                  <a:pt x="2581017" y="1398245"/>
                  <a:pt x="2557017" y="1405765"/>
                </a:cubicBezTo>
                <a:cubicBezTo>
                  <a:pt x="2530456" y="1414245"/>
                  <a:pt x="2503897" y="1423365"/>
                  <a:pt x="2477177" y="1431685"/>
                </a:cubicBezTo>
                <a:cubicBezTo>
                  <a:pt x="2425017" y="1447685"/>
                  <a:pt x="2366937" y="1444965"/>
                  <a:pt x="2313177" y="1443845"/>
                </a:cubicBezTo>
                <a:cubicBezTo>
                  <a:pt x="2256536" y="1442725"/>
                  <a:pt x="2199897" y="1437925"/>
                  <a:pt x="2143576" y="1431525"/>
                </a:cubicBezTo>
                <a:cubicBezTo>
                  <a:pt x="2086616" y="1425125"/>
                  <a:pt x="2029177" y="1419205"/>
                  <a:pt x="1972696" y="1409765"/>
                </a:cubicBezTo>
                <a:cubicBezTo>
                  <a:pt x="1944057" y="1404965"/>
                  <a:pt x="1915897" y="1398245"/>
                  <a:pt x="1887257" y="1393605"/>
                </a:cubicBezTo>
                <a:cubicBezTo>
                  <a:pt x="1870296" y="1390885"/>
                  <a:pt x="1853496" y="1385925"/>
                  <a:pt x="1836536" y="1382725"/>
                </a:cubicBezTo>
                <a:cubicBezTo>
                  <a:pt x="1837336" y="1382245"/>
                  <a:pt x="1837977" y="1381765"/>
                  <a:pt x="1838616" y="1381285"/>
                </a:cubicBezTo>
                <a:cubicBezTo>
                  <a:pt x="1845816" y="1381285"/>
                  <a:pt x="1853017" y="1380165"/>
                  <a:pt x="1860057" y="1378725"/>
                </a:cubicBezTo>
                <a:cubicBezTo>
                  <a:pt x="1875736" y="1380165"/>
                  <a:pt x="1891097" y="1373925"/>
                  <a:pt x="1907097" y="1374245"/>
                </a:cubicBezTo>
                <a:cubicBezTo>
                  <a:pt x="1930616" y="1374725"/>
                  <a:pt x="1953656" y="1377445"/>
                  <a:pt x="1977336" y="1375685"/>
                </a:cubicBezTo>
                <a:cubicBezTo>
                  <a:pt x="2032856" y="1371365"/>
                  <a:pt x="2087897" y="1373605"/>
                  <a:pt x="2142616" y="1383045"/>
                </a:cubicBezTo>
                <a:cubicBezTo>
                  <a:pt x="2169336" y="1387685"/>
                  <a:pt x="2195897" y="1392645"/>
                  <a:pt x="2222776" y="1395205"/>
                </a:cubicBezTo>
                <a:cubicBezTo>
                  <a:pt x="2252376" y="1397925"/>
                  <a:pt x="2282456" y="1397125"/>
                  <a:pt x="2312217" y="1397285"/>
                </a:cubicBezTo>
                <a:cubicBezTo>
                  <a:pt x="2366776" y="1397605"/>
                  <a:pt x="2421177" y="1396805"/>
                  <a:pt x="2475097" y="1388485"/>
                </a:cubicBezTo>
                <a:cubicBezTo>
                  <a:pt x="2528376" y="1380485"/>
                  <a:pt x="2577656" y="1357925"/>
                  <a:pt x="2625496" y="1334085"/>
                </a:cubicBezTo>
                <a:cubicBezTo>
                  <a:pt x="2672536" y="1310725"/>
                  <a:pt x="2713017" y="1275365"/>
                  <a:pt x="2754296" y="1243365"/>
                </a:cubicBezTo>
                <a:cubicBezTo>
                  <a:pt x="2793656" y="1212805"/>
                  <a:pt x="2827576" y="1175685"/>
                  <a:pt x="2863897" y="1141605"/>
                </a:cubicBezTo>
                <a:cubicBezTo>
                  <a:pt x="2899257" y="1108165"/>
                  <a:pt x="2928536" y="1067365"/>
                  <a:pt x="2960376" y="1030725"/>
                </a:cubicBezTo>
                <a:cubicBezTo>
                  <a:pt x="2985177" y="1002565"/>
                  <a:pt x="3009336" y="974405"/>
                  <a:pt x="3032536" y="945445"/>
                </a:cubicBezTo>
                <a:close/>
                <a:moveTo>
                  <a:pt x="1798776" y="1327845"/>
                </a:moveTo>
                <a:cubicBezTo>
                  <a:pt x="1802616" y="1291205"/>
                  <a:pt x="1801977" y="1254565"/>
                  <a:pt x="1800217" y="1217925"/>
                </a:cubicBezTo>
                <a:cubicBezTo>
                  <a:pt x="1799257" y="1198405"/>
                  <a:pt x="1797017" y="1179045"/>
                  <a:pt x="1795416" y="1159525"/>
                </a:cubicBezTo>
                <a:cubicBezTo>
                  <a:pt x="1793816" y="1140165"/>
                  <a:pt x="1795097" y="1120805"/>
                  <a:pt x="1793177" y="1101445"/>
                </a:cubicBezTo>
                <a:cubicBezTo>
                  <a:pt x="1789336" y="1062885"/>
                  <a:pt x="1786296" y="1024325"/>
                  <a:pt x="1778776" y="986245"/>
                </a:cubicBezTo>
                <a:cubicBezTo>
                  <a:pt x="1771416" y="949285"/>
                  <a:pt x="1761496" y="913445"/>
                  <a:pt x="1747576" y="878405"/>
                </a:cubicBezTo>
                <a:cubicBezTo>
                  <a:pt x="1740536" y="860645"/>
                  <a:pt x="1731257" y="844005"/>
                  <a:pt x="1723736" y="826565"/>
                </a:cubicBezTo>
                <a:cubicBezTo>
                  <a:pt x="1715897" y="808805"/>
                  <a:pt x="1709496" y="790245"/>
                  <a:pt x="1700376" y="772965"/>
                </a:cubicBezTo>
                <a:cubicBezTo>
                  <a:pt x="1683257" y="740965"/>
                  <a:pt x="1669656" y="709125"/>
                  <a:pt x="1648217" y="679525"/>
                </a:cubicBezTo>
                <a:cubicBezTo>
                  <a:pt x="1637656" y="664965"/>
                  <a:pt x="1625816" y="650565"/>
                  <a:pt x="1611897" y="639525"/>
                </a:cubicBezTo>
                <a:cubicBezTo>
                  <a:pt x="1650456" y="648965"/>
                  <a:pt x="1688856" y="659045"/>
                  <a:pt x="1727257" y="668325"/>
                </a:cubicBezTo>
                <a:cubicBezTo>
                  <a:pt x="1728536" y="668645"/>
                  <a:pt x="1729656" y="668965"/>
                  <a:pt x="1730937" y="669285"/>
                </a:cubicBezTo>
                <a:cubicBezTo>
                  <a:pt x="1738776" y="675205"/>
                  <a:pt x="1747416" y="680325"/>
                  <a:pt x="1753656" y="684645"/>
                </a:cubicBezTo>
                <a:cubicBezTo>
                  <a:pt x="1781496" y="704325"/>
                  <a:pt x="1806937" y="730725"/>
                  <a:pt x="1829977" y="755845"/>
                </a:cubicBezTo>
                <a:cubicBezTo>
                  <a:pt x="1875416" y="805605"/>
                  <a:pt x="1899576" y="871525"/>
                  <a:pt x="1920217" y="934565"/>
                </a:cubicBezTo>
                <a:cubicBezTo>
                  <a:pt x="1930937" y="967205"/>
                  <a:pt x="1932856" y="1001125"/>
                  <a:pt x="1935736" y="1035045"/>
                </a:cubicBezTo>
                <a:cubicBezTo>
                  <a:pt x="1937017" y="1051365"/>
                  <a:pt x="1939416" y="1067685"/>
                  <a:pt x="1940536" y="1084005"/>
                </a:cubicBezTo>
                <a:cubicBezTo>
                  <a:pt x="1941656" y="1102085"/>
                  <a:pt x="1939097" y="1120645"/>
                  <a:pt x="1937177" y="1138565"/>
                </a:cubicBezTo>
                <a:cubicBezTo>
                  <a:pt x="1933656" y="1172165"/>
                  <a:pt x="1928856" y="1205605"/>
                  <a:pt x="1924536" y="1239045"/>
                </a:cubicBezTo>
                <a:cubicBezTo>
                  <a:pt x="1922776" y="1252965"/>
                  <a:pt x="1918296" y="1267845"/>
                  <a:pt x="1913816" y="1281125"/>
                </a:cubicBezTo>
                <a:cubicBezTo>
                  <a:pt x="1911257" y="1288645"/>
                  <a:pt x="1905977" y="1295365"/>
                  <a:pt x="1900217" y="1301765"/>
                </a:cubicBezTo>
                <a:cubicBezTo>
                  <a:pt x="1873977" y="1323845"/>
                  <a:pt x="1843736" y="1342085"/>
                  <a:pt x="1815576" y="1360165"/>
                </a:cubicBezTo>
                <a:cubicBezTo>
                  <a:pt x="1810776" y="1363205"/>
                  <a:pt x="1805977" y="1366245"/>
                  <a:pt x="1801177" y="1369125"/>
                </a:cubicBezTo>
                <a:cubicBezTo>
                  <a:pt x="1798137" y="1370245"/>
                  <a:pt x="1794937" y="1371525"/>
                  <a:pt x="1791897" y="1372805"/>
                </a:cubicBezTo>
                <a:cubicBezTo>
                  <a:pt x="1793177" y="1368645"/>
                  <a:pt x="1794456" y="1364485"/>
                  <a:pt x="1795097" y="1360005"/>
                </a:cubicBezTo>
                <a:cubicBezTo>
                  <a:pt x="1796057" y="1349605"/>
                  <a:pt x="1797496" y="1338725"/>
                  <a:pt x="1798776" y="1327845"/>
                </a:cubicBezTo>
                <a:close/>
                <a:moveTo>
                  <a:pt x="1474456" y="1366885"/>
                </a:moveTo>
                <a:cubicBezTo>
                  <a:pt x="1442937" y="1348965"/>
                  <a:pt x="1414456" y="1325925"/>
                  <a:pt x="1389496" y="1299685"/>
                </a:cubicBezTo>
                <a:cubicBezTo>
                  <a:pt x="1365177" y="1274085"/>
                  <a:pt x="1339097" y="1253765"/>
                  <a:pt x="1322296" y="1221925"/>
                </a:cubicBezTo>
                <a:cubicBezTo>
                  <a:pt x="1306296" y="1191205"/>
                  <a:pt x="1288217" y="1162565"/>
                  <a:pt x="1276217" y="1129925"/>
                </a:cubicBezTo>
                <a:cubicBezTo>
                  <a:pt x="1263576" y="1095365"/>
                  <a:pt x="1265656" y="1057605"/>
                  <a:pt x="1261336" y="1021445"/>
                </a:cubicBezTo>
                <a:cubicBezTo>
                  <a:pt x="1256536" y="982085"/>
                  <a:pt x="1250137" y="943365"/>
                  <a:pt x="1255257" y="903685"/>
                </a:cubicBezTo>
                <a:cubicBezTo>
                  <a:pt x="1259897" y="867525"/>
                  <a:pt x="1271897" y="832965"/>
                  <a:pt x="1282937" y="798565"/>
                </a:cubicBezTo>
                <a:cubicBezTo>
                  <a:pt x="1288217" y="781925"/>
                  <a:pt x="1294937" y="765605"/>
                  <a:pt x="1301656" y="749605"/>
                </a:cubicBezTo>
                <a:cubicBezTo>
                  <a:pt x="1303257" y="745925"/>
                  <a:pt x="1304856" y="742245"/>
                  <a:pt x="1306456" y="738725"/>
                </a:cubicBezTo>
                <a:cubicBezTo>
                  <a:pt x="1319897" y="727205"/>
                  <a:pt x="1332536" y="714565"/>
                  <a:pt x="1344696" y="701765"/>
                </a:cubicBezTo>
                <a:cubicBezTo>
                  <a:pt x="1356217" y="689765"/>
                  <a:pt x="1366776" y="676805"/>
                  <a:pt x="1377336" y="664005"/>
                </a:cubicBezTo>
                <a:cubicBezTo>
                  <a:pt x="1379736" y="664485"/>
                  <a:pt x="1382456" y="664005"/>
                  <a:pt x="1384376" y="661605"/>
                </a:cubicBezTo>
                <a:cubicBezTo>
                  <a:pt x="1393017" y="650405"/>
                  <a:pt x="1403416" y="640645"/>
                  <a:pt x="1413336" y="630565"/>
                </a:cubicBezTo>
                <a:cubicBezTo>
                  <a:pt x="1409017" y="640965"/>
                  <a:pt x="1404376" y="651365"/>
                  <a:pt x="1401656" y="662405"/>
                </a:cubicBezTo>
                <a:cubicBezTo>
                  <a:pt x="1390616" y="707045"/>
                  <a:pt x="1383736" y="751845"/>
                  <a:pt x="1378296" y="797445"/>
                </a:cubicBezTo>
                <a:cubicBezTo>
                  <a:pt x="1372696" y="844325"/>
                  <a:pt x="1374296" y="889925"/>
                  <a:pt x="1377977" y="936965"/>
                </a:cubicBezTo>
                <a:cubicBezTo>
                  <a:pt x="1381816" y="985605"/>
                  <a:pt x="1377496" y="1034085"/>
                  <a:pt x="1387897" y="1082405"/>
                </a:cubicBezTo>
                <a:cubicBezTo>
                  <a:pt x="1396856" y="1123845"/>
                  <a:pt x="1415897" y="1162565"/>
                  <a:pt x="1435257" y="1199845"/>
                </a:cubicBezTo>
                <a:cubicBezTo>
                  <a:pt x="1444376" y="1217445"/>
                  <a:pt x="1454296" y="1235045"/>
                  <a:pt x="1464696" y="1252005"/>
                </a:cubicBezTo>
                <a:cubicBezTo>
                  <a:pt x="1476376" y="1270885"/>
                  <a:pt x="1492376" y="1286405"/>
                  <a:pt x="1504696" y="1304645"/>
                </a:cubicBezTo>
                <a:cubicBezTo>
                  <a:pt x="1516376" y="1321925"/>
                  <a:pt x="1537816" y="1335365"/>
                  <a:pt x="1553656" y="1348325"/>
                </a:cubicBezTo>
                <a:cubicBezTo>
                  <a:pt x="1568856" y="1360805"/>
                  <a:pt x="1583416" y="1375845"/>
                  <a:pt x="1602137" y="1383205"/>
                </a:cubicBezTo>
                <a:cubicBezTo>
                  <a:pt x="1620696" y="1390405"/>
                  <a:pt x="1635736" y="1400485"/>
                  <a:pt x="1655897" y="1403525"/>
                </a:cubicBezTo>
                <a:cubicBezTo>
                  <a:pt x="1663897" y="1404805"/>
                  <a:pt x="1671736" y="1407045"/>
                  <a:pt x="1679576" y="1409765"/>
                </a:cubicBezTo>
                <a:cubicBezTo>
                  <a:pt x="1665977" y="1411525"/>
                  <a:pt x="1652217" y="1412325"/>
                  <a:pt x="1639416" y="1410725"/>
                </a:cubicBezTo>
                <a:cubicBezTo>
                  <a:pt x="1597177" y="1405285"/>
                  <a:pt x="1555416" y="1396485"/>
                  <a:pt x="1513496" y="1388805"/>
                </a:cubicBezTo>
                <a:cubicBezTo>
                  <a:pt x="1500217" y="1382405"/>
                  <a:pt x="1487416" y="1374245"/>
                  <a:pt x="1474456" y="1366885"/>
                </a:cubicBezTo>
                <a:close/>
                <a:moveTo>
                  <a:pt x="1665816" y="1389285"/>
                </a:moveTo>
                <a:cubicBezTo>
                  <a:pt x="1657656" y="1386085"/>
                  <a:pt x="1648376" y="1386885"/>
                  <a:pt x="1640057" y="1383525"/>
                </a:cubicBezTo>
                <a:cubicBezTo>
                  <a:pt x="1630776" y="1379845"/>
                  <a:pt x="1622296" y="1375685"/>
                  <a:pt x="1613496" y="1371045"/>
                </a:cubicBezTo>
                <a:cubicBezTo>
                  <a:pt x="1594776" y="1361285"/>
                  <a:pt x="1579576" y="1349765"/>
                  <a:pt x="1563576" y="1336005"/>
                </a:cubicBezTo>
                <a:cubicBezTo>
                  <a:pt x="1546616" y="1321445"/>
                  <a:pt x="1526456" y="1308805"/>
                  <a:pt x="1513816" y="1290085"/>
                </a:cubicBezTo>
                <a:cubicBezTo>
                  <a:pt x="1503736" y="1275205"/>
                  <a:pt x="1491097" y="1261925"/>
                  <a:pt x="1480536" y="1247525"/>
                </a:cubicBezTo>
                <a:cubicBezTo>
                  <a:pt x="1468536" y="1231365"/>
                  <a:pt x="1458937" y="1211685"/>
                  <a:pt x="1449656" y="1193765"/>
                </a:cubicBezTo>
                <a:cubicBezTo>
                  <a:pt x="1429496" y="1155525"/>
                  <a:pt x="1410776" y="1116325"/>
                  <a:pt x="1401496" y="1073925"/>
                </a:cubicBezTo>
                <a:cubicBezTo>
                  <a:pt x="1392376" y="1032645"/>
                  <a:pt x="1394776" y="989925"/>
                  <a:pt x="1393177" y="948005"/>
                </a:cubicBezTo>
                <a:cubicBezTo>
                  <a:pt x="1391416" y="902085"/>
                  <a:pt x="1386296" y="857925"/>
                  <a:pt x="1390296" y="811845"/>
                </a:cubicBezTo>
                <a:cubicBezTo>
                  <a:pt x="1393977" y="768965"/>
                  <a:pt x="1397336" y="723045"/>
                  <a:pt x="1408536" y="681445"/>
                </a:cubicBezTo>
                <a:cubicBezTo>
                  <a:pt x="1413177" y="664325"/>
                  <a:pt x="1416376" y="647365"/>
                  <a:pt x="1422776" y="630565"/>
                </a:cubicBezTo>
                <a:cubicBezTo>
                  <a:pt x="1424696" y="625605"/>
                  <a:pt x="1425977" y="620485"/>
                  <a:pt x="1427257" y="615365"/>
                </a:cubicBezTo>
                <a:cubicBezTo>
                  <a:pt x="1429017" y="613285"/>
                  <a:pt x="1430776" y="611045"/>
                  <a:pt x="1432536" y="608805"/>
                </a:cubicBezTo>
                <a:cubicBezTo>
                  <a:pt x="1434937" y="605605"/>
                  <a:pt x="1437177" y="602085"/>
                  <a:pt x="1439257" y="598405"/>
                </a:cubicBezTo>
                <a:cubicBezTo>
                  <a:pt x="1441017" y="596965"/>
                  <a:pt x="1442937" y="595685"/>
                  <a:pt x="1444856" y="594245"/>
                </a:cubicBezTo>
                <a:cubicBezTo>
                  <a:pt x="1451736" y="589445"/>
                  <a:pt x="1454137" y="581765"/>
                  <a:pt x="1455097" y="573925"/>
                </a:cubicBezTo>
                <a:cubicBezTo>
                  <a:pt x="1460217" y="578885"/>
                  <a:pt x="1464376" y="585765"/>
                  <a:pt x="1469496" y="590245"/>
                </a:cubicBezTo>
                <a:cubicBezTo>
                  <a:pt x="1472696" y="593125"/>
                  <a:pt x="1476696" y="595365"/>
                  <a:pt x="1480856" y="597605"/>
                </a:cubicBezTo>
                <a:cubicBezTo>
                  <a:pt x="1491416" y="613605"/>
                  <a:pt x="1500856" y="630245"/>
                  <a:pt x="1509816" y="647365"/>
                </a:cubicBezTo>
                <a:cubicBezTo>
                  <a:pt x="1527736" y="681605"/>
                  <a:pt x="1546616" y="715685"/>
                  <a:pt x="1561336" y="751365"/>
                </a:cubicBezTo>
                <a:cubicBezTo>
                  <a:pt x="1576376" y="787525"/>
                  <a:pt x="1591416" y="823685"/>
                  <a:pt x="1605656" y="860325"/>
                </a:cubicBezTo>
                <a:cubicBezTo>
                  <a:pt x="1620057" y="897125"/>
                  <a:pt x="1642137" y="932325"/>
                  <a:pt x="1651257" y="971205"/>
                </a:cubicBezTo>
                <a:cubicBezTo>
                  <a:pt x="1659897" y="1008325"/>
                  <a:pt x="1660057" y="1046885"/>
                  <a:pt x="1666456" y="1084325"/>
                </a:cubicBezTo>
                <a:cubicBezTo>
                  <a:pt x="1672376" y="1119365"/>
                  <a:pt x="1682456" y="1153445"/>
                  <a:pt x="1690296" y="1188005"/>
                </a:cubicBezTo>
                <a:cubicBezTo>
                  <a:pt x="1698776" y="1224965"/>
                  <a:pt x="1702137" y="1262245"/>
                  <a:pt x="1708376" y="1299365"/>
                </a:cubicBezTo>
                <a:cubicBezTo>
                  <a:pt x="1711416" y="1317765"/>
                  <a:pt x="1713177" y="1336805"/>
                  <a:pt x="1713977" y="1355525"/>
                </a:cubicBezTo>
                <a:cubicBezTo>
                  <a:pt x="1714456" y="1366565"/>
                  <a:pt x="1717977" y="1376485"/>
                  <a:pt x="1717656" y="1387685"/>
                </a:cubicBezTo>
                <a:cubicBezTo>
                  <a:pt x="1717656" y="1389125"/>
                  <a:pt x="1717816" y="1396645"/>
                  <a:pt x="1717017" y="1400965"/>
                </a:cubicBezTo>
                <a:cubicBezTo>
                  <a:pt x="1717017" y="1400965"/>
                  <a:pt x="1716856" y="1400965"/>
                  <a:pt x="1716856" y="1401125"/>
                </a:cubicBezTo>
                <a:cubicBezTo>
                  <a:pt x="1714137" y="1400325"/>
                  <a:pt x="1711097" y="1401125"/>
                  <a:pt x="1709336" y="1402885"/>
                </a:cubicBezTo>
                <a:cubicBezTo>
                  <a:pt x="1694296" y="1399845"/>
                  <a:pt x="1680057" y="1394885"/>
                  <a:pt x="1665816" y="1389285"/>
                </a:cubicBezTo>
                <a:close/>
                <a:moveTo>
                  <a:pt x="1722616" y="1279045"/>
                </a:moveTo>
                <a:cubicBezTo>
                  <a:pt x="1719416" y="1258085"/>
                  <a:pt x="1717816" y="1237285"/>
                  <a:pt x="1713496" y="1216485"/>
                </a:cubicBezTo>
                <a:cubicBezTo>
                  <a:pt x="1705656" y="1179845"/>
                  <a:pt x="1697656" y="1143045"/>
                  <a:pt x="1689177" y="1106725"/>
                </a:cubicBezTo>
                <a:cubicBezTo>
                  <a:pt x="1679416" y="1065285"/>
                  <a:pt x="1677336" y="1023205"/>
                  <a:pt x="1669977" y="981445"/>
                </a:cubicBezTo>
                <a:cubicBezTo>
                  <a:pt x="1663416" y="943525"/>
                  <a:pt x="1644536" y="906245"/>
                  <a:pt x="1627897" y="871845"/>
                </a:cubicBezTo>
                <a:cubicBezTo>
                  <a:pt x="1609017" y="833125"/>
                  <a:pt x="1594456" y="791525"/>
                  <a:pt x="1577336" y="751845"/>
                </a:cubicBezTo>
                <a:cubicBezTo>
                  <a:pt x="1560376" y="712325"/>
                  <a:pt x="1539576" y="674245"/>
                  <a:pt x="1518616" y="636645"/>
                </a:cubicBezTo>
                <a:cubicBezTo>
                  <a:pt x="1513336" y="627205"/>
                  <a:pt x="1508057" y="617925"/>
                  <a:pt x="1502296" y="608965"/>
                </a:cubicBezTo>
                <a:cubicBezTo>
                  <a:pt x="1524057" y="621285"/>
                  <a:pt x="1549496" y="624965"/>
                  <a:pt x="1573816" y="630565"/>
                </a:cubicBezTo>
                <a:cubicBezTo>
                  <a:pt x="1575257" y="630885"/>
                  <a:pt x="1576696" y="631205"/>
                  <a:pt x="1578137" y="631525"/>
                </a:cubicBezTo>
                <a:cubicBezTo>
                  <a:pt x="1609496" y="644165"/>
                  <a:pt x="1630456" y="677605"/>
                  <a:pt x="1648376" y="704485"/>
                </a:cubicBezTo>
                <a:cubicBezTo>
                  <a:pt x="1667097" y="732805"/>
                  <a:pt x="1680856" y="764965"/>
                  <a:pt x="1693977" y="796005"/>
                </a:cubicBezTo>
                <a:cubicBezTo>
                  <a:pt x="1707416" y="827525"/>
                  <a:pt x="1722137" y="858725"/>
                  <a:pt x="1734776" y="890725"/>
                </a:cubicBezTo>
                <a:cubicBezTo>
                  <a:pt x="1747897" y="924325"/>
                  <a:pt x="1756376" y="959525"/>
                  <a:pt x="1763097" y="994885"/>
                </a:cubicBezTo>
                <a:cubicBezTo>
                  <a:pt x="1775897" y="1062405"/>
                  <a:pt x="1776217" y="1132165"/>
                  <a:pt x="1781336" y="1200645"/>
                </a:cubicBezTo>
                <a:cubicBezTo>
                  <a:pt x="1782616" y="1218405"/>
                  <a:pt x="1783097" y="1236165"/>
                  <a:pt x="1783576" y="1253765"/>
                </a:cubicBezTo>
                <a:cubicBezTo>
                  <a:pt x="1784057" y="1270405"/>
                  <a:pt x="1781496" y="1286725"/>
                  <a:pt x="1781656" y="1303205"/>
                </a:cubicBezTo>
                <a:cubicBezTo>
                  <a:pt x="1781977" y="1321605"/>
                  <a:pt x="1778937" y="1339845"/>
                  <a:pt x="1776696" y="1358085"/>
                </a:cubicBezTo>
                <a:cubicBezTo>
                  <a:pt x="1775736" y="1365445"/>
                  <a:pt x="1773496" y="1372005"/>
                  <a:pt x="1771576" y="1379205"/>
                </a:cubicBezTo>
                <a:cubicBezTo>
                  <a:pt x="1771416" y="1379525"/>
                  <a:pt x="1771416" y="1379845"/>
                  <a:pt x="1771257" y="1380325"/>
                </a:cubicBezTo>
                <a:cubicBezTo>
                  <a:pt x="1770137" y="1381125"/>
                  <a:pt x="1769017" y="1382085"/>
                  <a:pt x="1768217" y="1383045"/>
                </a:cubicBezTo>
                <a:cubicBezTo>
                  <a:pt x="1768057" y="1383045"/>
                  <a:pt x="1767736" y="1383205"/>
                  <a:pt x="1767576" y="1383365"/>
                </a:cubicBezTo>
                <a:cubicBezTo>
                  <a:pt x="1761656" y="1384965"/>
                  <a:pt x="1756057" y="1387525"/>
                  <a:pt x="1750456" y="1390085"/>
                </a:cubicBezTo>
                <a:cubicBezTo>
                  <a:pt x="1745656" y="1387845"/>
                  <a:pt x="1740057" y="1389445"/>
                  <a:pt x="1736057" y="1393285"/>
                </a:cubicBezTo>
                <a:cubicBezTo>
                  <a:pt x="1736057" y="1390405"/>
                  <a:pt x="1735416" y="1387525"/>
                  <a:pt x="1734296" y="1385125"/>
                </a:cubicBezTo>
                <a:cubicBezTo>
                  <a:pt x="1733816" y="1370245"/>
                  <a:pt x="1731416" y="1356005"/>
                  <a:pt x="1730456" y="1340965"/>
                </a:cubicBezTo>
                <a:cubicBezTo>
                  <a:pt x="1729336" y="1320165"/>
                  <a:pt x="1725656" y="1299685"/>
                  <a:pt x="1722616" y="1279045"/>
                </a:cubicBezTo>
                <a:close/>
                <a:moveTo>
                  <a:pt x="1949816" y="1187205"/>
                </a:moveTo>
                <a:cubicBezTo>
                  <a:pt x="1954296" y="1152325"/>
                  <a:pt x="1960057" y="1116805"/>
                  <a:pt x="1958616" y="1081605"/>
                </a:cubicBezTo>
                <a:cubicBezTo>
                  <a:pt x="1957177" y="1045925"/>
                  <a:pt x="1953177" y="1008165"/>
                  <a:pt x="1947576" y="972965"/>
                </a:cubicBezTo>
                <a:cubicBezTo>
                  <a:pt x="1942137" y="938725"/>
                  <a:pt x="1928696" y="906405"/>
                  <a:pt x="1916856" y="874085"/>
                </a:cubicBezTo>
                <a:cubicBezTo>
                  <a:pt x="1904856" y="841445"/>
                  <a:pt x="1889177" y="809285"/>
                  <a:pt x="1869656" y="780485"/>
                </a:cubicBezTo>
                <a:cubicBezTo>
                  <a:pt x="1850616" y="752325"/>
                  <a:pt x="1825177" y="728645"/>
                  <a:pt x="1800057" y="705925"/>
                </a:cubicBezTo>
                <a:cubicBezTo>
                  <a:pt x="1790616" y="697445"/>
                  <a:pt x="1781177" y="689285"/>
                  <a:pt x="1771257" y="681765"/>
                </a:cubicBezTo>
                <a:cubicBezTo>
                  <a:pt x="1804057" y="693605"/>
                  <a:pt x="1834937" y="710085"/>
                  <a:pt x="1861977" y="732965"/>
                </a:cubicBezTo>
                <a:cubicBezTo>
                  <a:pt x="1898456" y="764005"/>
                  <a:pt x="1934456" y="796645"/>
                  <a:pt x="1960376" y="837285"/>
                </a:cubicBezTo>
                <a:cubicBezTo>
                  <a:pt x="1973496" y="857765"/>
                  <a:pt x="1984376" y="881285"/>
                  <a:pt x="1993177" y="903845"/>
                </a:cubicBezTo>
                <a:cubicBezTo>
                  <a:pt x="2002937" y="928965"/>
                  <a:pt x="2005017" y="958245"/>
                  <a:pt x="2007097" y="984965"/>
                </a:cubicBezTo>
                <a:cubicBezTo>
                  <a:pt x="2011097" y="1037445"/>
                  <a:pt x="2009336" y="1090405"/>
                  <a:pt x="1998296" y="1142085"/>
                </a:cubicBezTo>
                <a:cubicBezTo>
                  <a:pt x="1988696" y="1186565"/>
                  <a:pt x="1966937" y="1227205"/>
                  <a:pt x="1938776" y="1262725"/>
                </a:cubicBezTo>
                <a:cubicBezTo>
                  <a:pt x="1944376" y="1237925"/>
                  <a:pt x="1946616" y="1212645"/>
                  <a:pt x="1949816" y="1187205"/>
                </a:cubicBezTo>
                <a:close/>
                <a:moveTo>
                  <a:pt x="2968857" y="994885"/>
                </a:moveTo>
                <a:cubicBezTo>
                  <a:pt x="2967257" y="996805"/>
                  <a:pt x="2965496" y="998725"/>
                  <a:pt x="2963736" y="1000645"/>
                </a:cubicBezTo>
                <a:cubicBezTo>
                  <a:pt x="2963416" y="1000165"/>
                  <a:pt x="2963097" y="999685"/>
                  <a:pt x="2962616" y="999205"/>
                </a:cubicBezTo>
                <a:cubicBezTo>
                  <a:pt x="2964857" y="997765"/>
                  <a:pt x="2966937" y="996325"/>
                  <a:pt x="2968857" y="994885"/>
                </a:cubicBezTo>
                <a:close/>
                <a:moveTo>
                  <a:pt x="2943416" y="1024165"/>
                </a:moveTo>
                <a:cubicBezTo>
                  <a:pt x="2935097" y="1033765"/>
                  <a:pt x="2926616" y="1043365"/>
                  <a:pt x="2918296" y="1053125"/>
                </a:cubicBezTo>
                <a:cubicBezTo>
                  <a:pt x="2902937" y="1070725"/>
                  <a:pt x="2889177" y="1089445"/>
                  <a:pt x="2873177" y="1106725"/>
                </a:cubicBezTo>
                <a:cubicBezTo>
                  <a:pt x="2854616" y="1126565"/>
                  <a:pt x="2834137" y="1144005"/>
                  <a:pt x="2815257" y="1163365"/>
                </a:cubicBezTo>
                <a:cubicBezTo>
                  <a:pt x="2798776" y="1180325"/>
                  <a:pt x="2782937" y="1197765"/>
                  <a:pt x="2764857" y="1213125"/>
                </a:cubicBezTo>
                <a:cubicBezTo>
                  <a:pt x="2743097" y="1231525"/>
                  <a:pt x="2720057" y="1248325"/>
                  <a:pt x="2697656" y="1265765"/>
                </a:cubicBezTo>
                <a:cubicBezTo>
                  <a:pt x="2676376" y="1282245"/>
                  <a:pt x="2654776" y="1298885"/>
                  <a:pt x="2631097" y="1312005"/>
                </a:cubicBezTo>
                <a:cubicBezTo>
                  <a:pt x="2605656" y="1326085"/>
                  <a:pt x="2578616" y="1336965"/>
                  <a:pt x="2552057" y="1348645"/>
                </a:cubicBezTo>
                <a:cubicBezTo>
                  <a:pt x="2499897" y="1371525"/>
                  <a:pt x="2443576" y="1377765"/>
                  <a:pt x="2387097" y="1379845"/>
                </a:cubicBezTo>
                <a:cubicBezTo>
                  <a:pt x="2329336" y="1382085"/>
                  <a:pt x="2269336" y="1384165"/>
                  <a:pt x="2211736" y="1378405"/>
                </a:cubicBezTo>
                <a:cubicBezTo>
                  <a:pt x="2155736" y="1372805"/>
                  <a:pt x="2101977" y="1360645"/>
                  <a:pt x="2045336" y="1359845"/>
                </a:cubicBezTo>
                <a:cubicBezTo>
                  <a:pt x="2022137" y="1359525"/>
                  <a:pt x="1999097" y="1360645"/>
                  <a:pt x="1975897" y="1363045"/>
                </a:cubicBezTo>
                <a:cubicBezTo>
                  <a:pt x="1953977" y="1365285"/>
                  <a:pt x="1932376" y="1363045"/>
                  <a:pt x="1910456" y="1362885"/>
                </a:cubicBezTo>
                <a:cubicBezTo>
                  <a:pt x="1898296" y="1360805"/>
                  <a:pt x="1886456" y="1363845"/>
                  <a:pt x="1874456" y="1366565"/>
                </a:cubicBezTo>
                <a:cubicBezTo>
                  <a:pt x="1869177" y="1367845"/>
                  <a:pt x="1863897" y="1368805"/>
                  <a:pt x="1858776" y="1369605"/>
                </a:cubicBezTo>
                <a:cubicBezTo>
                  <a:pt x="1857816" y="1369605"/>
                  <a:pt x="1856696" y="1369445"/>
                  <a:pt x="1855736" y="1369445"/>
                </a:cubicBezTo>
                <a:cubicBezTo>
                  <a:pt x="1859257" y="1366885"/>
                  <a:pt x="1862776" y="1364485"/>
                  <a:pt x="1866137" y="1362085"/>
                </a:cubicBezTo>
                <a:cubicBezTo>
                  <a:pt x="1883257" y="1350245"/>
                  <a:pt x="1899576" y="1338565"/>
                  <a:pt x="1915097" y="1325925"/>
                </a:cubicBezTo>
                <a:cubicBezTo>
                  <a:pt x="1915736" y="1325605"/>
                  <a:pt x="1916376" y="1325445"/>
                  <a:pt x="1917017" y="1325125"/>
                </a:cubicBezTo>
                <a:cubicBezTo>
                  <a:pt x="1918616" y="1324485"/>
                  <a:pt x="1920376" y="1323685"/>
                  <a:pt x="1922137" y="1322725"/>
                </a:cubicBezTo>
                <a:cubicBezTo>
                  <a:pt x="1937336" y="1323045"/>
                  <a:pt x="1950776" y="1309445"/>
                  <a:pt x="1964536" y="1304005"/>
                </a:cubicBezTo>
                <a:cubicBezTo>
                  <a:pt x="1976696" y="1299205"/>
                  <a:pt x="1990776" y="1299365"/>
                  <a:pt x="2003576" y="1297605"/>
                </a:cubicBezTo>
                <a:cubicBezTo>
                  <a:pt x="2017017" y="1295685"/>
                  <a:pt x="2030456" y="1294725"/>
                  <a:pt x="2044057" y="1294085"/>
                </a:cubicBezTo>
                <a:cubicBezTo>
                  <a:pt x="2095897" y="1291525"/>
                  <a:pt x="2146296" y="1300485"/>
                  <a:pt x="2197656" y="1304165"/>
                </a:cubicBezTo>
                <a:cubicBezTo>
                  <a:pt x="2221017" y="1305925"/>
                  <a:pt x="2244217" y="1307045"/>
                  <a:pt x="2267576" y="1307365"/>
                </a:cubicBezTo>
                <a:cubicBezTo>
                  <a:pt x="2292217" y="1307685"/>
                  <a:pt x="2316696" y="1311685"/>
                  <a:pt x="2341177" y="1313285"/>
                </a:cubicBezTo>
                <a:cubicBezTo>
                  <a:pt x="2391097" y="1316485"/>
                  <a:pt x="2442296" y="1320325"/>
                  <a:pt x="2492057" y="1313445"/>
                </a:cubicBezTo>
                <a:cubicBezTo>
                  <a:pt x="2537496" y="1307205"/>
                  <a:pt x="2582296" y="1291525"/>
                  <a:pt x="2623576" y="1272005"/>
                </a:cubicBezTo>
                <a:cubicBezTo>
                  <a:pt x="2644217" y="1262245"/>
                  <a:pt x="2665816" y="1251845"/>
                  <a:pt x="2684857" y="1239045"/>
                </a:cubicBezTo>
                <a:cubicBezTo>
                  <a:pt x="2706137" y="1224805"/>
                  <a:pt x="2723576" y="1208165"/>
                  <a:pt x="2742296" y="1190885"/>
                </a:cubicBezTo>
                <a:cubicBezTo>
                  <a:pt x="2777977" y="1158085"/>
                  <a:pt x="2813336" y="1125765"/>
                  <a:pt x="2850937" y="1095205"/>
                </a:cubicBezTo>
                <a:cubicBezTo>
                  <a:pt x="2881656" y="1070565"/>
                  <a:pt x="2914137" y="1049765"/>
                  <a:pt x="2943416" y="1024165"/>
                </a:cubicBezTo>
                <a:close/>
                <a:moveTo>
                  <a:pt x="2777977" y="1113925"/>
                </a:moveTo>
                <a:cubicBezTo>
                  <a:pt x="2785977" y="1110245"/>
                  <a:pt x="2794137" y="1105445"/>
                  <a:pt x="2802296" y="1100485"/>
                </a:cubicBezTo>
                <a:cubicBezTo>
                  <a:pt x="2812057" y="1096325"/>
                  <a:pt x="2821816" y="1091365"/>
                  <a:pt x="2831576" y="1085605"/>
                </a:cubicBezTo>
                <a:cubicBezTo>
                  <a:pt x="2853017" y="1072805"/>
                  <a:pt x="2872217" y="1056485"/>
                  <a:pt x="2893496" y="1043205"/>
                </a:cubicBezTo>
                <a:cubicBezTo>
                  <a:pt x="2896857" y="1040965"/>
                  <a:pt x="2900376" y="1038885"/>
                  <a:pt x="2903897" y="1036805"/>
                </a:cubicBezTo>
                <a:cubicBezTo>
                  <a:pt x="2902937" y="1037445"/>
                  <a:pt x="2902137" y="1038245"/>
                  <a:pt x="2901177" y="1038885"/>
                </a:cubicBezTo>
                <a:cubicBezTo>
                  <a:pt x="2882776" y="1052325"/>
                  <a:pt x="2863576" y="1063525"/>
                  <a:pt x="2846137" y="1078405"/>
                </a:cubicBezTo>
                <a:cubicBezTo>
                  <a:pt x="2828057" y="1093765"/>
                  <a:pt x="2808857" y="1107525"/>
                  <a:pt x="2791257" y="1123365"/>
                </a:cubicBezTo>
                <a:cubicBezTo>
                  <a:pt x="2773017" y="1139845"/>
                  <a:pt x="2755736" y="1157285"/>
                  <a:pt x="2737496" y="1173605"/>
                </a:cubicBezTo>
                <a:cubicBezTo>
                  <a:pt x="2720376" y="1188965"/>
                  <a:pt x="2704857" y="1205125"/>
                  <a:pt x="2686137" y="1218725"/>
                </a:cubicBezTo>
                <a:cubicBezTo>
                  <a:pt x="2666776" y="1232805"/>
                  <a:pt x="2644696" y="1243525"/>
                  <a:pt x="2623257" y="1254245"/>
                </a:cubicBezTo>
                <a:cubicBezTo>
                  <a:pt x="2579576" y="1276005"/>
                  <a:pt x="2532376" y="1291525"/>
                  <a:pt x="2484057" y="1298565"/>
                </a:cubicBezTo>
                <a:cubicBezTo>
                  <a:pt x="2436217" y="1305605"/>
                  <a:pt x="2385656" y="1300965"/>
                  <a:pt x="2337496" y="1298245"/>
                </a:cubicBezTo>
                <a:cubicBezTo>
                  <a:pt x="2314937" y="1296965"/>
                  <a:pt x="2292536" y="1293605"/>
                  <a:pt x="2269977" y="1293285"/>
                </a:cubicBezTo>
                <a:cubicBezTo>
                  <a:pt x="2244536" y="1292965"/>
                  <a:pt x="2219257" y="1291845"/>
                  <a:pt x="2193816" y="1290245"/>
                </a:cubicBezTo>
                <a:cubicBezTo>
                  <a:pt x="2145496" y="1287205"/>
                  <a:pt x="2098296" y="1280165"/>
                  <a:pt x="2049656" y="1281605"/>
                </a:cubicBezTo>
                <a:cubicBezTo>
                  <a:pt x="2025496" y="1282245"/>
                  <a:pt x="2001816" y="1286085"/>
                  <a:pt x="1977977" y="1288965"/>
                </a:cubicBezTo>
                <a:cubicBezTo>
                  <a:pt x="1968376" y="1290245"/>
                  <a:pt x="1958937" y="1294085"/>
                  <a:pt x="1950296" y="1298245"/>
                </a:cubicBezTo>
                <a:cubicBezTo>
                  <a:pt x="1946296" y="1300165"/>
                  <a:pt x="1942616" y="1302885"/>
                  <a:pt x="1938937" y="1305445"/>
                </a:cubicBezTo>
                <a:cubicBezTo>
                  <a:pt x="1949336" y="1295365"/>
                  <a:pt x="1959257" y="1284645"/>
                  <a:pt x="1968376" y="1272485"/>
                </a:cubicBezTo>
                <a:cubicBezTo>
                  <a:pt x="1971897" y="1267845"/>
                  <a:pt x="1975097" y="1263205"/>
                  <a:pt x="1978296" y="1258565"/>
                </a:cubicBezTo>
                <a:cubicBezTo>
                  <a:pt x="1989177" y="1253925"/>
                  <a:pt x="2003416" y="1250565"/>
                  <a:pt x="2009177" y="1249125"/>
                </a:cubicBezTo>
                <a:cubicBezTo>
                  <a:pt x="2026937" y="1244485"/>
                  <a:pt x="2045177" y="1239845"/>
                  <a:pt x="2063416" y="1237605"/>
                </a:cubicBezTo>
                <a:cubicBezTo>
                  <a:pt x="2082776" y="1235365"/>
                  <a:pt x="2103576" y="1236325"/>
                  <a:pt x="2123097" y="1237125"/>
                </a:cubicBezTo>
                <a:cubicBezTo>
                  <a:pt x="2140057" y="1237765"/>
                  <a:pt x="2157017" y="1236005"/>
                  <a:pt x="2173977" y="1235205"/>
                </a:cubicBezTo>
                <a:cubicBezTo>
                  <a:pt x="2214296" y="1233445"/>
                  <a:pt x="2255097" y="1237765"/>
                  <a:pt x="2295416" y="1238565"/>
                </a:cubicBezTo>
                <a:cubicBezTo>
                  <a:pt x="2313656" y="1238885"/>
                  <a:pt x="2331897" y="1237765"/>
                  <a:pt x="2349977" y="1236805"/>
                </a:cubicBezTo>
                <a:cubicBezTo>
                  <a:pt x="2370776" y="1235685"/>
                  <a:pt x="2391736" y="1237925"/>
                  <a:pt x="2412536" y="1237605"/>
                </a:cubicBezTo>
                <a:cubicBezTo>
                  <a:pt x="2492217" y="1235845"/>
                  <a:pt x="2566296" y="1207205"/>
                  <a:pt x="2640057" y="1180805"/>
                </a:cubicBezTo>
                <a:cubicBezTo>
                  <a:pt x="2655897" y="1175205"/>
                  <a:pt x="2668857" y="1167845"/>
                  <a:pt x="2683097" y="1158885"/>
                </a:cubicBezTo>
                <a:cubicBezTo>
                  <a:pt x="2700696" y="1147685"/>
                  <a:pt x="2720057" y="1140645"/>
                  <a:pt x="2738137" y="1130725"/>
                </a:cubicBezTo>
                <a:cubicBezTo>
                  <a:pt x="2750296" y="1124005"/>
                  <a:pt x="2765017" y="1119845"/>
                  <a:pt x="2777977" y="1113925"/>
                </a:cubicBezTo>
                <a:close/>
                <a:moveTo>
                  <a:pt x="2695416" y="1125125"/>
                </a:moveTo>
                <a:cubicBezTo>
                  <a:pt x="2701977" y="1124485"/>
                  <a:pt x="2708536" y="1123685"/>
                  <a:pt x="2714937" y="1122885"/>
                </a:cubicBezTo>
                <a:cubicBezTo>
                  <a:pt x="2685336" y="1136005"/>
                  <a:pt x="2659416" y="1157605"/>
                  <a:pt x="2628696" y="1168645"/>
                </a:cubicBezTo>
                <a:cubicBezTo>
                  <a:pt x="2547736" y="1197605"/>
                  <a:pt x="2468217" y="1225605"/>
                  <a:pt x="2380857" y="1223205"/>
                </a:cubicBezTo>
                <a:cubicBezTo>
                  <a:pt x="2363257" y="1222725"/>
                  <a:pt x="2345816" y="1223205"/>
                  <a:pt x="2328217" y="1224005"/>
                </a:cubicBezTo>
                <a:cubicBezTo>
                  <a:pt x="2306137" y="1225125"/>
                  <a:pt x="2283897" y="1222085"/>
                  <a:pt x="2262137" y="1223045"/>
                </a:cubicBezTo>
                <a:cubicBezTo>
                  <a:pt x="2222776" y="1224645"/>
                  <a:pt x="2183736" y="1221445"/>
                  <a:pt x="2144217" y="1224325"/>
                </a:cubicBezTo>
                <a:cubicBezTo>
                  <a:pt x="2112696" y="1226565"/>
                  <a:pt x="2081496" y="1222885"/>
                  <a:pt x="2050456" y="1227845"/>
                </a:cubicBezTo>
                <a:cubicBezTo>
                  <a:pt x="2058296" y="1224165"/>
                  <a:pt x="2065496" y="1220165"/>
                  <a:pt x="2071736" y="1217285"/>
                </a:cubicBezTo>
                <a:cubicBezTo>
                  <a:pt x="2074937" y="1215685"/>
                  <a:pt x="2078137" y="1214085"/>
                  <a:pt x="2081336" y="1212645"/>
                </a:cubicBezTo>
                <a:cubicBezTo>
                  <a:pt x="2086456" y="1211365"/>
                  <a:pt x="2091576" y="1210085"/>
                  <a:pt x="2096536" y="1208325"/>
                </a:cubicBezTo>
                <a:cubicBezTo>
                  <a:pt x="2120057" y="1200645"/>
                  <a:pt x="2145977" y="1199205"/>
                  <a:pt x="2170296" y="1196165"/>
                </a:cubicBezTo>
                <a:cubicBezTo>
                  <a:pt x="2194616" y="1193125"/>
                  <a:pt x="2218456" y="1187845"/>
                  <a:pt x="2242776" y="1184485"/>
                </a:cubicBezTo>
                <a:cubicBezTo>
                  <a:pt x="2293336" y="1177445"/>
                  <a:pt x="2344217" y="1176485"/>
                  <a:pt x="2394937" y="1168485"/>
                </a:cubicBezTo>
                <a:cubicBezTo>
                  <a:pt x="2418776" y="1164645"/>
                  <a:pt x="2442937" y="1164165"/>
                  <a:pt x="2466616" y="1159845"/>
                </a:cubicBezTo>
                <a:cubicBezTo>
                  <a:pt x="2491576" y="1155365"/>
                  <a:pt x="2514937" y="1147045"/>
                  <a:pt x="2540376" y="1144805"/>
                </a:cubicBezTo>
                <a:cubicBezTo>
                  <a:pt x="2547097" y="1144165"/>
                  <a:pt x="2553816" y="1143685"/>
                  <a:pt x="2560696" y="1143045"/>
                </a:cubicBezTo>
                <a:cubicBezTo>
                  <a:pt x="2566616" y="1141285"/>
                  <a:pt x="2572536" y="1139845"/>
                  <a:pt x="2578456" y="1138565"/>
                </a:cubicBezTo>
                <a:cubicBezTo>
                  <a:pt x="2600696" y="1133765"/>
                  <a:pt x="2623576" y="1130245"/>
                  <a:pt x="2646456" y="1130085"/>
                </a:cubicBezTo>
                <a:cubicBezTo>
                  <a:pt x="2649816" y="1130085"/>
                  <a:pt x="2654616" y="1129925"/>
                  <a:pt x="2660217" y="1130245"/>
                </a:cubicBezTo>
                <a:cubicBezTo>
                  <a:pt x="2671897" y="1128165"/>
                  <a:pt x="2683576" y="1126245"/>
                  <a:pt x="2695416" y="1125125"/>
                </a:cubicBezTo>
                <a:close/>
                <a:moveTo>
                  <a:pt x="2908057" y="752165"/>
                </a:moveTo>
                <a:cubicBezTo>
                  <a:pt x="2886456" y="797765"/>
                  <a:pt x="2867257" y="843845"/>
                  <a:pt x="2841816" y="887685"/>
                </a:cubicBezTo>
                <a:cubicBezTo>
                  <a:pt x="2816536" y="931205"/>
                  <a:pt x="2779416" y="969925"/>
                  <a:pt x="2744696" y="1006245"/>
                </a:cubicBezTo>
                <a:cubicBezTo>
                  <a:pt x="2708857" y="1044005"/>
                  <a:pt x="2669017" y="1077285"/>
                  <a:pt x="2626456" y="1107045"/>
                </a:cubicBezTo>
                <a:cubicBezTo>
                  <a:pt x="2610776" y="1110085"/>
                  <a:pt x="2594776" y="1112005"/>
                  <a:pt x="2578776" y="1113445"/>
                </a:cubicBezTo>
                <a:cubicBezTo>
                  <a:pt x="2589816" y="1107685"/>
                  <a:pt x="2600536" y="1101925"/>
                  <a:pt x="2611257" y="1094885"/>
                </a:cubicBezTo>
                <a:cubicBezTo>
                  <a:pt x="2627257" y="1084485"/>
                  <a:pt x="2644057" y="1072645"/>
                  <a:pt x="2656376" y="1057765"/>
                </a:cubicBezTo>
                <a:cubicBezTo>
                  <a:pt x="2669336" y="1041925"/>
                  <a:pt x="2688057" y="1030725"/>
                  <a:pt x="2702776" y="1016165"/>
                </a:cubicBezTo>
                <a:cubicBezTo>
                  <a:pt x="2735736" y="983845"/>
                  <a:pt x="2764696" y="951205"/>
                  <a:pt x="2791576" y="913605"/>
                </a:cubicBezTo>
                <a:cubicBezTo>
                  <a:pt x="2820217" y="873445"/>
                  <a:pt x="2848857" y="833925"/>
                  <a:pt x="2874776" y="792165"/>
                </a:cubicBezTo>
                <a:cubicBezTo>
                  <a:pt x="2887897" y="771205"/>
                  <a:pt x="2897017" y="748325"/>
                  <a:pt x="2910137" y="727525"/>
                </a:cubicBezTo>
                <a:cubicBezTo>
                  <a:pt x="2922296" y="707845"/>
                  <a:pt x="2933816" y="686885"/>
                  <a:pt x="2945017" y="666565"/>
                </a:cubicBezTo>
                <a:cubicBezTo>
                  <a:pt x="2945017" y="666405"/>
                  <a:pt x="2945017" y="666405"/>
                  <a:pt x="2945177" y="666405"/>
                </a:cubicBezTo>
                <a:cubicBezTo>
                  <a:pt x="2933977" y="695525"/>
                  <a:pt x="2921496" y="724005"/>
                  <a:pt x="2908057" y="752165"/>
                </a:cubicBezTo>
                <a:close/>
                <a:moveTo>
                  <a:pt x="3033177" y="264645"/>
                </a:moveTo>
                <a:cubicBezTo>
                  <a:pt x="3027416" y="324325"/>
                  <a:pt x="3017656" y="383845"/>
                  <a:pt x="3005336" y="442885"/>
                </a:cubicBezTo>
                <a:cubicBezTo>
                  <a:pt x="2996057" y="469925"/>
                  <a:pt x="2986137" y="496805"/>
                  <a:pt x="2979416" y="524645"/>
                </a:cubicBezTo>
                <a:cubicBezTo>
                  <a:pt x="2974296" y="545605"/>
                  <a:pt x="2971576" y="567205"/>
                  <a:pt x="2963576" y="587365"/>
                </a:cubicBezTo>
                <a:cubicBezTo>
                  <a:pt x="2959897" y="596485"/>
                  <a:pt x="2955097" y="605125"/>
                  <a:pt x="2950296" y="613765"/>
                </a:cubicBezTo>
                <a:cubicBezTo>
                  <a:pt x="2945177" y="622725"/>
                  <a:pt x="2942776" y="634405"/>
                  <a:pt x="2939257" y="644165"/>
                </a:cubicBezTo>
                <a:cubicBezTo>
                  <a:pt x="2931576" y="664965"/>
                  <a:pt x="2918137" y="683045"/>
                  <a:pt x="2907416" y="702405"/>
                </a:cubicBezTo>
                <a:cubicBezTo>
                  <a:pt x="2894616" y="725605"/>
                  <a:pt x="2884057" y="750725"/>
                  <a:pt x="2869977" y="773125"/>
                </a:cubicBezTo>
                <a:cubicBezTo>
                  <a:pt x="2823097" y="847845"/>
                  <a:pt x="2773496" y="924805"/>
                  <a:pt x="2711097" y="987525"/>
                </a:cubicBezTo>
                <a:cubicBezTo>
                  <a:pt x="2696536" y="1002245"/>
                  <a:pt x="2682137" y="1018565"/>
                  <a:pt x="2665017" y="1030405"/>
                </a:cubicBezTo>
                <a:cubicBezTo>
                  <a:pt x="2648696" y="1041605"/>
                  <a:pt x="2636696" y="1057925"/>
                  <a:pt x="2621496" y="1070885"/>
                </a:cubicBezTo>
                <a:cubicBezTo>
                  <a:pt x="2606456" y="1083525"/>
                  <a:pt x="2587576" y="1095525"/>
                  <a:pt x="2569816" y="1104005"/>
                </a:cubicBezTo>
                <a:cubicBezTo>
                  <a:pt x="2559416" y="1108965"/>
                  <a:pt x="2549177" y="1113925"/>
                  <a:pt x="2538137" y="1116965"/>
                </a:cubicBezTo>
                <a:cubicBezTo>
                  <a:pt x="2528696" y="1117765"/>
                  <a:pt x="2519257" y="1118725"/>
                  <a:pt x="2509816" y="1119685"/>
                </a:cubicBezTo>
                <a:cubicBezTo>
                  <a:pt x="2496217" y="1121125"/>
                  <a:pt x="2482137" y="1128005"/>
                  <a:pt x="2468536" y="1131045"/>
                </a:cubicBezTo>
                <a:cubicBezTo>
                  <a:pt x="2447416" y="1135525"/>
                  <a:pt x="2425816" y="1137925"/>
                  <a:pt x="2404217" y="1138885"/>
                </a:cubicBezTo>
                <a:cubicBezTo>
                  <a:pt x="2394776" y="1139365"/>
                  <a:pt x="2385177" y="1140645"/>
                  <a:pt x="2375736" y="1142085"/>
                </a:cubicBezTo>
                <a:cubicBezTo>
                  <a:pt x="2377017" y="1141605"/>
                  <a:pt x="2378137" y="1141125"/>
                  <a:pt x="2379416" y="1140645"/>
                </a:cubicBezTo>
                <a:cubicBezTo>
                  <a:pt x="2391576" y="1136165"/>
                  <a:pt x="2401656" y="1125605"/>
                  <a:pt x="2413656" y="1120165"/>
                </a:cubicBezTo>
                <a:cubicBezTo>
                  <a:pt x="2432217" y="1111685"/>
                  <a:pt x="2450137" y="1099525"/>
                  <a:pt x="2467257" y="1088485"/>
                </a:cubicBezTo>
                <a:cubicBezTo>
                  <a:pt x="2487736" y="1075205"/>
                  <a:pt x="2508857" y="1059685"/>
                  <a:pt x="2526296" y="1042405"/>
                </a:cubicBezTo>
                <a:cubicBezTo>
                  <a:pt x="2544217" y="1024645"/>
                  <a:pt x="2564217" y="1009285"/>
                  <a:pt x="2581977" y="991205"/>
                </a:cubicBezTo>
                <a:cubicBezTo>
                  <a:pt x="2602296" y="970565"/>
                  <a:pt x="2619576" y="946085"/>
                  <a:pt x="2636696" y="922725"/>
                </a:cubicBezTo>
                <a:cubicBezTo>
                  <a:pt x="2668536" y="878885"/>
                  <a:pt x="2696057" y="831205"/>
                  <a:pt x="2723097" y="784325"/>
                </a:cubicBezTo>
                <a:cubicBezTo>
                  <a:pt x="2751736" y="734405"/>
                  <a:pt x="2777336" y="682885"/>
                  <a:pt x="2805816" y="632965"/>
                </a:cubicBezTo>
                <a:cubicBezTo>
                  <a:pt x="2819097" y="609605"/>
                  <a:pt x="2829977" y="585285"/>
                  <a:pt x="2844696" y="562885"/>
                </a:cubicBezTo>
                <a:cubicBezTo>
                  <a:pt x="2859097" y="540645"/>
                  <a:pt x="2869336" y="517285"/>
                  <a:pt x="2880217" y="493125"/>
                </a:cubicBezTo>
                <a:cubicBezTo>
                  <a:pt x="2903097" y="442245"/>
                  <a:pt x="2929336" y="392805"/>
                  <a:pt x="2951897" y="341765"/>
                </a:cubicBezTo>
                <a:cubicBezTo>
                  <a:pt x="2974296" y="290885"/>
                  <a:pt x="2993336" y="238405"/>
                  <a:pt x="3012057" y="186085"/>
                </a:cubicBezTo>
                <a:cubicBezTo>
                  <a:pt x="3019576" y="164805"/>
                  <a:pt x="3027257" y="143045"/>
                  <a:pt x="3033496" y="120805"/>
                </a:cubicBezTo>
                <a:cubicBezTo>
                  <a:pt x="3035416" y="168325"/>
                  <a:pt x="3037816" y="216965"/>
                  <a:pt x="3033177" y="264645"/>
                </a:cubicBezTo>
                <a:close/>
                <a:moveTo>
                  <a:pt x="3039097" y="49925"/>
                </a:moveTo>
                <a:cubicBezTo>
                  <a:pt x="3012536" y="154405"/>
                  <a:pt x="2975416" y="256165"/>
                  <a:pt x="2930616" y="354245"/>
                </a:cubicBezTo>
                <a:cubicBezTo>
                  <a:pt x="2907257" y="405125"/>
                  <a:pt x="2881177" y="454565"/>
                  <a:pt x="2858296" y="505605"/>
                </a:cubicBezTo>
                <a:cubicBezTo>
                  <a:pt x="2847416" y="529925"/>
                  <a:pt x="2833656" y="551045"/>
                  <a:pt x="2820217" y="573925"/>
                </a:cubicBezTo>
                <a:cubicBezTo>
                  <a:pt x="2805977" y="598085"/>
                  <a:pt x="2794296" y="623845"/>
                  <a:pt x="2779736" y="647845"/>
                </a:cubicBezTo>
                <a:cubicBezTo>
                  <a:pt x="2749977" y="697125"/>
                  <a:pt x="2725977" y="749765"/>
                  <a:pt x="2696536" y="799365"/>
                </a:cubicBezTo>
                <a:cubicBezTo>
                  <a:pt x="2667897" y="847525"/>
                  <a:pt x="2638937" y="895525"/>
                  <a:pt x="2604536" y="939845"/>
                </a:cubicBezTo>
                <a:cubicBezTo>
                  <a:pt x="2570456" y="983525"/>
                  <a:pt x="2530296" y="1023845"/>
                  <a:pt x="2485496" y="1056485"/>
                </a:cubicBezTo>
                <a:cubicBezTo>
                  <a:pt x="2467736" y="1069445"/>
                  <a:pt x="2447897" y="1079685"/>
                  <a:pt x="2430456" y="1092805"/>
                </a:cubicBezTo>
                <a:cubicBezTo>
                  <a:pt x="2421336" y="1099685"/>
                  <a:pt x="2410937" y="1103365"/>
                  <a:pt x="2401177" y="1109125"/>
                </a:cubicBezTo>
                <a:cubicBezTo>
                  <a:pt x="2388696" y="1116485"/>
                  <a:pt x="2377017" y="1124325"/>
                  <a:pt x="2363897" y="1130405"/>
                </a:cubicBezTo>
                <a:cubicBezTo>
                  <a:pt x="2350616" y="1136485"/>
                  <a:pt x="2336696" y="1140325"/>
                  <a:pt x="2323257" y="1146245"/>
                </a:cubicBezTo>
                <a:cubicBezTo>
                  <a:pt x="2320217" y="1147525"/>
                  <a:pt x="2317017" y="1149285"/>
                  <a:pt x="2313656" y="1150885"/>
                </a:cubicBezTo>
                <a:cubicBezTo>
                  <a:pt x="2295097" y="1152165"/>
                  <a:pt x="2276536" y="1152485"/>
                  <a:pt x="2258137" y="1154565"/>
                </a:cubicBezTo>
                <a:cubicBezTo>
                  <a:pt x="2233177" y="1157285"/>
                  <a:pt x="2208696" y="1162085"/>
                  <a:pt x="2184057" y="1166885"/>
                </a:cubicBezTo>
                <a:cubicBezTo>
                  <a:pt x="2173336" y="1168965"/>
                  <a:pt x="2162616" y="1170405"/>
                  <a:pt x="2151736" y="1171845"/>
                </a:cubicBezTo>
                <a:cubicBezTo>
                  <a:pt x="2165656" y="1161285"/>
                  <a:pt x="2178616" y="1149605"/>
                  <a:pt x="2192536" y="1138885"/>
                </a:cubicBezTo>
                <a:cubicBezTo>
                  <a:pt x="2211736" y="1123845"/>
                  <a:pt x="2230296" y="1107845"/>
                  <a:pt x="2246937" y="1089765"/>
                </a:cubicBezTo>
                <a:cubicBezTo>
                  <a:pt x="2261977" y="1073605"/>
                  <a:pt x="2278776" y="1059205"/>
                  <a:pt x="2294456" y="1043845"/>
                </a:cubicBezTo>
                <a:cubicBezTo>
                  <a:pt x="2314456" y="1027685"/>
                  <a:pt x="2334776" y="1012165"/>
                  <a:pt x="2354296" y="995525"/>
                </a:cubicBezTo>
                <a:cubicBezTo>
                  <a:pt x="2374616" y="978245"/>
                  <a:pt x="2397816" y="964165"/>
                  <a:pt x="2416857" y="945445"/>
                </a:cubicBezTo>
                <a:cubicBezTo>
                  <a:pt x="2452857" y="910085"/>
                  <a:pt x="2483416" y="867525"/>
                  <a:pt x="2513496" y="827045"/>
                </a:cubicBezTo>
                <a:cubicBezTo>
                  <a:pt x="2527257" y="808645"/>
                  <a:pt x="2543097" y="791045"/>
                  <a:pt x="2558137" y="773605"/>
                </a:cubicBezTo>
                <a:cubicBezTo>
                  <a:pt x="2576857" y="751685"/>
                  <a:pt x="2593177" y="727525"/>
                  <a:pt x="2611097" y="704805"/>
                </a:cubicBezTo>
                <a:cubicBezTo>
                  <a:pt x="2626776" y="684805"/>
                  <a:pt x="2643097" y="665285"/>
                  <a:pt x="2658137" y="644645"/>
                </a:cubicBezTo>
                <a:cubicBezTo>
                  <a:pt x="2674616" y="622085"/>
                  <a:pt x="2687416" y="597445"/>
                  <a:pt x="2702296" y="573765"/>
                </a:cubicBezTo>
                <a:cubicBezTo>
                  <a:pt x="2731097" y="528165"/>
                  <a:pt x="2758937" y="482245"/>
                  <a:pt x="2789496" y="437765"/>
                </a:cubicBezTo>
                <a:cubicBezTo>
                  <a:pt x="2820376" y="392645"/>
                  <a:pt x="2856376" y="351365"/>
                  <a:pt x="2884217" y="304165"/>
                </a:cubicBezTo>
                <a:cubicBezTo>
                  <a:pt x="2896376" y="283365"/>
                  <a:pt x="2910137" y="263045"/>
                  <a:pt x="2921336" y="241765"/>
                </a:cubicBezTo>
                <a:cubicBezTo>
                  <a:pt x="2933816" y="218245"/>
                  <a:pt x="2946137" y="193125"/>
                  <a:pt x="2960857" y="170725"/>
                </a:cubicBezTo>
                <a:cubicBezTo>
                  <a:pt x="2969017" y="158405"/>
                  <a:pt x="2978937" y="147365"/>
                  <a:pt x="2987097" y="134885"/>
                </a:cubicBezTo>
                <a:cubicBezTo>
                  <a:pt x="2997017" y="119845"/>
                  <a:pt x="3005656" y="104165"/>
                  <a:pt x="3016217" y="89605"/>
                </a:cubicBezTo>
                <a:cubicBezTo>
                  <a:pt x="3024057" y="78565"/>
                  <a:pt x="3032857" y="64325"/>
                  <a:pt x="3039097" y="49925"/>
                </a:cubicBezTo>
                <a:close/>
                <a:moveTo>
                  <a:pt x="2490456" y="538885"/>
                </a:moveTo>
                <a:cubicBezTo>
                  <a:pt x="2494616" y="517925"/>
                  <a:pt x="2501017" y="498885"/>
                  <a:pt x="2509656" y="479365"/>
                </a:cubicBezTo>
                <a:cubicBezTo>
                  <a:pt x="2525177" y="444325"/>
                  <a:pt x="2543736" y="411525"/>
                  <a:pt x="2566456" y="380805"/>
                </a:cubicBezTo>
                <a:cubicBezTo>
                  <a:pt x="2588696" y="350565"/>
                  <a:pt x="2615576" y="322565"/>
                  <a:pt x="2642296" y="296165"/>
                </a:cubicBezTo>
                <a:cubicBezTo>
                  <a:pt x="2668376" y="270245"/>
                  <a:pt x="2693656" y="243845"/>
                  <a:pt x="2721336" y="219845"/>
                </a:cubicBezTo>
                <a:cubicBezTo>
                  <a:pt x="2733177" y="209445"/>
                  <a:pt x="2747416" y="200485"/>
                  <a:pt x="2758296" y="189125"/>
                </a:cubicBezTo>
                <a:cubicBezTo>
                  <a:pt x="2770776" y="176325"/>
                  <a:pt x="2789496" y="172485"/>
                  <a:pt x="2804857" y="164005"/>
                </a:cubicBezTo>
                <a:cubicBezTo>
                  <a:pt x="2834296" y="147845"/>
                  <a:pt x="2867576" y="142245"/>
                  <a:pt x="2897656" y="127845"/>
                </a:cubicBezTo>
                <a:cubicBezTo>
                  <a:pt x="2905177" y="124325"/>
                  <a:pt x="2912696" y="120485"/>
                  <a:pt x="2919897" y="116485"/>
                </a:cubicBezTo>
                <a:cubicBezTo>
                  <a:pt x="2913336" y="120805"/>
                  <a:pt x="2906776" y="125285"/>
                  <a:pt x="2900376" y="129765"/>
                </a:cubicBezTo>
                <a:cubicBezTo>
                  <a:pt x="2883097" y="142085"/>
                  <a:pt x="2866616" y="156805"/>
                  <a:pt x="2850137" y="170245"/>
                </a:cubicBezTo>
                <a:cubicBezTo>
                  <a:pt x="2817977" y="196645"/>
                  <a:pt x="2793336" y="230565"/>
                  <a:pt x="2762776" y="258885"/>
                </a:cubicBezTo>
                <a:cubicBezTo>
                  <a:pt x="2734616" y="284965"/>
                  <a:pt x="2709336" y="314085"/>
                  <a:pt x="2683897" y="342885"/>
                </a:cubicBezTo>
                <a:cubicBezTo>
                  <a:pt x="2657177" y="373125"/>
                  <a:pt x="2631736" y="406565"/>
                  <a:pt x="2608857" y="439845"/>
                </a:cubicBezTo>
                <a:cubicBezTo>
                  <a:pt x="2586776" y="472165"/>
                  <a:pt x="2567897" y="505925"/>
                  <a:pt x="2546296" y="538565"/>
                </a:cubicBezTo>
                <a:cubicBezTo>
                  <a:pt x="2537977" y="551205"/>
                  <a:pt x="2531736" y="564965"/>
                  <a:pt x="2525816" y="578885"/>
                </a:cubicBezTo>
                <a:cubicBezTo>
                  <a:pt x="2518776" y="595365"/>
                  <a:pt x="2508857" y="610885"/>
                  <a:pt x="2501017" y="627205"/>
                </a:cubicBezTo>
                <a:cubicBezTo>
                  <a:pt x="2492696" y="644645"/>
                  <a:pt x="2484857" y="662405"/>
                  <a:pt x="2474616" y="678885"/>
                </a:cubicBezTo>
                <a:cubicBezTo>
                  <a:pt x="2476696" y="656485"/>
                  <a:pt x="2478296" y="634085"/>
                  <a:pt x="2479257" y="611525"/>
                </a:cubicBezTo>
                <a:cubicBezTo>
                  <a:pt x="2479897" y="597445"/>
                  <a:pt x="2480217" y="583525"/>
                  <a:pt x="2480217" y="569445"/>
                </a:cubicBezTo>
                <a:cubicBezTo>
                  <a:pt x="2483576" y="559365"/>
                  <a:pt x="2488376" y="549605"/>
                  <a:pt x="2490456" y="538885"/>
                </a:cubicBezTo>
                <a:close/>
                <a:moveTo>
                  <a:pt x="2462616" y="777125"/>
                </a:moveTo>
                <a:cubicBezTo>
                  <a:pt x="2467897" y="755045"/>
                  <a:pt x="2469656" y="731845"/>
                  <a:pt x="2471897" y="709125"/>
                </a:cubicBezTo>
                <a:cubicBezTo>
                  <a:pt x="2485017" y="690245"/>
                  <a:pt x="2496217" y="669605"/>
                  <a:pt x="2505816" y="649285"/>
                </a:cubicBezTo>
                <a:cubicBezTo>
                  <a:pt x="2513977" y="632325"/>
                  <a:pt x="2521336" y="614885"/>
                  <a:pt x="2531257" y="598885"/>
                </a:cubicBezTo>
                <a:cubicBezTo>
                  <a:pt x="2540376" y="584165"/>
                  <a:pt x="2545177" y="566885"/>
                  <a:pt x="2554137" y="551845"/>
                </a:cubicBezTo>
                <a:cubicBezTo>
                  <a:pt x="2562616" y="537445"/>
                  <a:pt x="2573336" y="524485"/>
                  <a:pt x="2581496" y="509765"/>
                </a:cubicBezTo>
                <a:cubicBezTo>
                  <a:pt x="2591576" y="491525"/>
                  <a:pt x="2602937" y="474725"/>
                  <a:pt x="2614137" y="457285"/>
                </a:cubicBezTo>
                <a:cubicBezTo>
                  <a:pt x="2635736" y="424005"/>
                  <a:pt x="2661177" y="392005"/>
                  <a:pt x="2686296" y="361285"/>
                </a:cubicBezTo>
                <a:cubicBezTo>
                  <a:pt x="2698616" y="346085"/>
                  <a:pt x="2712857" y="332805"/>
                  <a:pt x="2725496" y="317765"/>
                </a:cubicBezTo>
                <a:cubicBezTo>
                  <a:pt x="2738456" y="302245"/>
                  <a:pt x="2751576" y="287525"/>
                  <a:pt x="2766456" y="273765"/>
                </a:cubicBezTo>
                <a:cubicBezTo>
                  <a:pt x="2797017" y="245765"/>
                  <a:pt x="2821977" y="212165"/>
                  <a:pt x="2853177" y="184965"/>
                </a:cubicBezTo>
                <a:cubicBezTo>
                  <a:pt x="2884057" y="157925"/>
                  <a:pt x="2917656" y="135045"/>
                  <a:pt x="2950456" y="110405"/>
                </a:cubicBezTo>
                <a:cubicBezTo>
                  <a:pt x="2973336" y="93125"/>
                  <a:pt x="2995097" y="74725"/>
                  <a:pt x="3017816" y="57285"/>
                </a:cubicBezTo>
                <a:cubicBezTo>
                  <a:pt x="3013177" y="65125"/>
                  <a:pt x="3009816" y="73605"/>
                  <a:pt x="3004376" y="80805"/>
                </a:cubicBezTo>
                <a:cubicBezTo>
                  <a:pt x="2987257" y="103845"/>
                  <a:pt x="2973496" y="128965"/>
                  <a:pt x="2956057" y="151845"/>
                </a:cubicBezTo>
                <a:cubicBezTo>
                  <a:pt x="2941336" y="171205"/>
                  <a:pt x="2932217" y="193445"/>
                  <a:pt x="2918937" y="213605"/>
                </a:cubicBezTo>
                <a:cubicBezTo>
                  <a:pt x="2912217" y="223525"/>
                  <a:pt x="2908376" y="235205"/>
                  <a:pt x="2901816" y="245285"/>
                </a:cubicBezTo>
                <a:cubicBezTo>
                  <a:pt x="2893816" y="257765"/>
                  <a:pt x="2886776" y="270725"/>
                  <a:pt x="2879257" y="283525"/>
                </a:cubicBezTo>
                <a:cubicBezTo>
                  <a:pt x="2865816" y="306405"/>
                  <a:pt x="2852857" y="329125"/>
                  <a:pt x="2836057" y="349765"/>
                </a:cubicBezTo>
                <a:cubicBezTo>
                  <a:pt x="2818296" y="371845"/>
                  <a:pt x="2801656" y="394405"/>
                  <a:pt x="2785336" y="417765"/>
                </a:cubicBezTo>
                <a:cubicBezTo>
                  <a:pt x="2754456" y="461925"/>
                  <a:pt x="2724696" y="507205"/>
                  <a:pt x="2697496" y="553765"/>
                </a:cubicBezTo>
                <a:cubicBezTo>
                  <a:pt x="2644057" y="645285"/>
                  <a:pt x="2577177" y="727525"/>
                  <a:pt x="2509496" y="808805"/>
                </a:cubicBezTo>
                <a:cubicBezTo>
                  <a:pt x="2476057" y="849125"/>
                  <a:pt x="2447416" y="893285"/>
                  <a:pt x="2411576" y="931525"/>
                </a:cubicBezTo>
                <a:cubicBezTo>
                  <a:pt x="2393496" y="950725"/>
                  <a:pt x="2370456" y="963525"/>
                  <a:pt x="2350937" y="980965"/>
                </a:cubicBezTo>
                <a:cubicBezTo>
                  <a:pt x="2348057" y="983525"/>
                  <a:pt x="2345177" y="985925"/>
                  <a:pt x="2342296" y="988485"/>
                </a:cubicBezTo>
                <a:cubicBezTo>
                  <a:pt x="2360696" y="964165"/>
                  <a:pt x="2377977" y="938725"/>
                  <a:pt x="2395416" y="914405"/>
                </a:cubicBezTo>
                <a:cubicBezTo>
                  <a:pt x="2425496" y="872485"/>
                  <a:pt x="2450616" y="827365"/>
                  <a:pt x="2462616" y="777125"/>
                </a:cubicBezTo>
                <a:close/>
                <a:moveTo>
                  <a:pt x="2446937" y="668005"/>
                </a:moveTo>
                <a:cubicBezTo>
                  <a:pt x="2442137" y="723685"/>
                  <a:pt x="2437656" y="778565"/>
                  <a:pt x="2413336" y="829765"/>
                </a:cubicBezTo>
                <a:cubicBezTo>
                  <a:pt x="2390616" y="877605"/>
                  <a:pt x="2355897" y="918885"/>
                  <a:pt x="2324857" y="961285"/>
                </a:cubicBezTo>
                <a:cubicBezTo>
                  <a:pt x="2310137" y="981445"/>
                  <a:pt x="2295416" y="1001925"/>
                  <a:pt x="2277656" y="1019685"/>
                </a:cubicBezTo>
                <a:cubicBezTo>
                  <a:pt x="2259897" y="1037445"/>
                  <a:pt x="2240217" y="1053125"/>
                  <a:pt x="2223736" y="1072005"/>
                </a:cubicBezTo>
                <a:cubicBezTo>
                  <a:pt x="2206776" y="1091525"/>
                  <a:pt x="2185336" y="1107365"/>
                  <a:pt x="2165017" y="1123205"/>
                </a:cubicBezTo>
                <a:cubicBezTo>
                  <a:pt x="2144217" y="1139365"/>
                  <a:pt x="2125496" y="1156165"/>
                  <a:pt x="2102456" y="1169445"/>
                </a:cubicBezTo>
                <a:cubicBezTo>
                  <a:pt x="2088057" y="1177605"/>
                  <a:pt x="2073017" y="1185285"/>
                  <a:pt x="2057656" y="1191845"/>
                </a:cubicBezTo>
                <a:cubicBezTo>
                  <a:pt x="2055097" y="1192485"/>
                  <a:pt x="2052696" y="1193125"/>
                  <a:pt x="2050137" y="1193765"/>
                </a:cubicBezTo>
                <a:cubicBezTo>
                  <a:pt x="2034776" y="1197605"/>
                  <a:pt x="2019897" y="1202725"/>
                  <a:pt x="2005177" y="1208485"/>
                </a:cubicBezTo>
                <a:cubicBezTo>
                  <a:pt x="2013656" y="1188965"/>
                  <a:pt x="2020217" y="1168965"/>
                  <a:pt x="2025017" y="1148485"/>
                </a:cubicBezTo>
                <a:cubicBezTo>
                  <a:pt x="2039416" y="1138885"/>
                  <a:pt x="2055257" y="1132485"/>
                  <a:pt x="2069496" y="1122725"/>
                </a:cubicBezTo>
                <a:cubicBezTo>
                  <a:pt x="2085496" y="1111685"/>
                  <a:pt x="2102937" y="1103045"/>
                  <a:pt x="2119097" y="1092005"/>
                </a:cubicBezTo>
                <a:cubicBezTo>
                  <a:pt x="2136217" y="1080325"/>
                  <a:pt x="2152057" y="1066885"/>
                  <a:pt x="2167097" y="1052805"/>
                </a:cubicBezTo>
                <a:cubicBezTo>
                  <a:pt x="2184057" y="1037125"/>
                  <a:pt x="2202137" y="1023365"/>
                  <a:pt x="2219416" y="1008005"/>
                </a:cubicBezTo>
                <a:cubicBezTo>
                  <a:pt x="2251897" y="979205"/>
                  <a:pt x="2269977" y="935045"/>
                  <a:pt x="2292536" y="898885"/>
                </a:cubicBezTo>
                <a:cubicBezTo>
                  <a:pt x="2314937" y="863045"/>
                  <a:pt x="2329977" y="821925"/>
                  <a:pt x="2346776" y="783045"/>
                </a:cubicBezTo>
                <a:cubicBezTo>
                  <a:pt x="2363736" y="743685"/>
                  <a:pt x="2374616" y="702405"/>
                  <a:pt x="2385656" y="660965"/>
                </a:cubicBezTo>
                <a:cubicBezTo>
                  <a:pt x="2397336" y="616965"/>
                  <a:pt x="2412696" y="574885"/>
                  <a:pt x="2421336" y="530245"/>
                </a:cubicBezTo>
                <a:cubicBezTo>
                  <a:pt x="2429816" y="486725"/>
                  <a:pt x="2429177" y="444485"/>
                  <a:pt x="2426296" y="400485"/>
                </a:cubicBezTo>
                <a:cubicBezTo>
                  <a:pt x="2425496" y="386565"/>
                  <a:pt x="2425177" y="372645"/>
                  <a:pt x="2424857" y="358725"/>
                </a:cubicBezTo>
                <a:cubicBezTo>
                  <a:pt x="2449656" y="460805"/>
                  <a:pt x="2455897" y="563525"/>
                  <a:pt x="2446937" y="668005"/>
                </a:cubicBezTo>
                <a:close/>
                <a:moveTo>
                  <a:pt x="2399736" y="261445"/>
                </a:moveTo>
                <a:cubicBezTo>
                  <a:pt x="2403736" y="272005"/>
                  <a:pt x="2405336" y="283525"/>
                  <a:pt x="2407257" y="294725"/>
                </a:cubicBezTo>
                <a:cubicBezTo>
                  <a:pt x="2408217" y="299845"/>
                  <a:pt x="2409336" y="304645"/>
                  <a:pt x="2410776" y="309605"/>
                </a:cubicBezTo>
                <a:cubicBezTo>
                  <a:pt x="2411416" y="316005"/>
                  <a:pt x="2412217" y="322405"/>
                  <a:pt x="2412696" y="328645"/>
                </a:cubicBezTo>
                <a:cubicBezTo>
                  <a:pt x="2414616" y="350405"/>
                  <a:pt x="2412857" y="373125"/>
                  <a:pt x="2413017" y="395045"/>
                </a:cubicBezTo>
                <a:cubicBezTo>
                  <a:pt x="2413177" y="416005"/>
                  <a:pt x="2415416" y="436965"/>
                  <a:pt x="2414776" y="458085"/>
                </a:cubicBezTo>
                <a:cubicBezTo>
                  <a:pt x="2414137" y="479685"/>
                  <a:pt x="2411097" y="501445"/>
                  <a:pt x="2407416" y="522885"/>
                </a:cubicBezTo>
                <a:cubicBezTo>
                  <a:pt x="2399736" y="567045"/>
                  <a:pt x="2383416" y="608325"/>
                  <a:pt x="2371736" y="651525"/>
                </a:cubicBezTo>
                <a:cubicBezTo>
                  <a:pt x="2360857" y="691845"/>
                  <a:pt x="2350937" y="733125"/>
                  <a:pt x="2334137" y="771525"/>
                </a:cubicBezTo>
                <a:cubicBezTo>
                  <a:pt x="2325496" y="791205"/>
                  <a:pt x="2317177" y="811045"/>
                  <a:pt x="2308376" y="830725"/>
                </a:cubicBezTo>
                <a:cubicBezTo>
                  <a:pt x="2303576" y="841445"/>
                  <a:pt x="2299097" y="851365"/>
                  <a:pt x="2293017" y="861445"/>
                </a:cubicBezTo>
                <a:cubicBezTo>
                  <a:pt x="2287576" y="870245"/>
                  <a:pt x="2285017" y="880645"/>
                  <a:pt x="2279257" y="889285"/>
                </a:cubicBezTo>
                <a:cubicBezTo>
                  <a:pt x="2255097" y="925925"/>
                  <a:pt x="2237977" y="969765"/>
                  <a:pt x="2204536" y="999365"/>
                </a:cubicBezTo>
                <a:cubicBezTo>
                  <a:pt x="2188857" y="1013445"/>
                  <a:pt x="2172217" y="1025445"/>
                  <a:pt x="2156857" y="1040005"/>
                </a:cubicBezTo>
                <a:cubicBezTo>
                  <a:pt x="2141816" y="1054245"/>
                  <a:pt x="2125656" y="1067205"/>
                  <a:pt x="2108857" y="1079205"/>
                </a:cubicBezTo>
                <a:cubicBezTo>
                  <a:pt x="2083736" y="1096965"/>
                  <a:pt x="2055736" y="1109925"/>
                  <a:pt x="2029656" y="1125925"/>
                </a:cubicBezTo>
                <a:cubicBezTo>
                  <a:pt x="2034616" y="1097925"/>
                  <a:pt x="2036856" y="1069285"/>
                  <a:pt x="2037017" y="1040165"/>
                </a:cubicBezTo>
                <a:cubicBezTo>
                  <a:pt x="2046296" y="1031685"/>
                  <a:pt x="2049496" y="1017765"/>
                  <a:pt x="2059257" y="1008965"/>
                </a:cubicBezTo>
                <a:cubicBezTo>
                  <a:pt x="2073816" y="995845"/>
                  <a:pt x="2086456" y="980485"/>
                  <a:pt x="2099257" y="965765"/>
                </a:cubicBezTo>
                <a:cubicBezTo>
                  <a:pt x="2125177" y="935845"/>
                  <a:pt x="2152217" y="904965"/>
                  <a:pt x="2172057" y="870565"/>
                </a:cubicBezTo>
                <a:cubicBezTo>
                  <a:pt x="2193816" y="832805"/>
                  <a:pt x="2214296" y="794245"/>
                  <a:pt x="2238456" y="758085"/>
                </a:cubicBezTo>
                <a:cubicBezTo>
                  <a:pt x="2262296" y="722405"/>
                  <a:pt x="2283576" y="682725"/>
                  <a:pt x="2301496" y="643845"/>
                </a:cubicBezTo>
                <a:cubicBezTo>
                  <a:pt x="2336857" y="566245"/>
                  <a:pt x="2363736" y="483685"/>
                  <a:pt x="2374456" y="399205"/>
                </a:cubicBezTo>
                <a:cubicBezTo>
                  <a:pt x="2379897" y="356805"/>
                  <a:pt x="2386296" y="315045"/>
                  <a:pt x="2383097" y="272165"/>
                </a:cubicBezTo>
                <a:cubicBezTo>
                  <a:pt x="2381656" y="252965"/>
                  <a:pt x="2378937" y="233605"/>
                  <a:pt x="2375416" y="214725"/>
                </a:cubicBezTo>
                <a:cubicBezTo>
                  <a:pt x="2384217" y="229925"/>
                  <a:pt x="2393496" y="244805"/>
                  <a:pt x="2399736" y="261445"/>
                </a:cubicBezTo>
                <a:close/>
                <a:moveTo>
                  <a:pt x="2269977" y="277925"/>
                </a:moveTo>
                <a:cubicBezTo>
                  <a:pt x="2274776" y="263045"/>
                  <a:pt x="2278456" y="247685"/>
                  <a:pt x="2282137" y="232485"/>
                </a:cubicBezTo>
                <a:cubicBezTo>
                  <a:pt x="2286616" y="213925"/>
                  <a:pt x="2285977" y="193285"/>
                  <a:pt x="2292057" y="175205"/>
                </a:cubicBezTo>
                <a:cubicBezTo>
                  <a:pt x="2297177" y="159685"/>
                  <a:pt x="2297336" y="142245"/>
                  <a:pt x="2300217" y="126245"/>
                </a:cubicBezTo>
                <a:cubicBezTo>
                  <a:pt x="2301977" y="116325"/>
                  <a:pt x="2304057" y="106565"/>
                  <a:pt x="2305816" y="96645"/>
                </a:cubicBezTo>
                <a:cubicBezTo>
                  <a:pt x="2307576" y="93765"/>
                  <a:pt x="2309177" y="91045"/>
                  <a:pt x="2310776" y="88005"/>
                </a:cubicBezTo>
                <a:cubicBezTo>
                  <a:pt x="2320696" y="103525"/>
                  <a:pt x="2329656" y="119525"/>
                  <a:pt x="2338937" y="135525"/>
                </a:cubicBezTo>
                <a:cubicBezTo>
                  <a:pt x="2346456" y="148325"/>
                  <a:pt x="2352217" y="162085"/>
                  <a:pt x="2357977" y="175845"/>
                </a:cubicBezTo>
                <a:cubicBezTo>
                  <a:pt x="2360536" y="192805"/>
                  <a:pt x="2362137" y="210085"/>
                  <a:pt x="2364376" y="227045"/>
                </a:cubicBezTo>
                <a:cubicBezTo>
                  <a:pt x="2367416" y="249285"/>
                  <a:pt x="2369656" y="271685"/>
                  <a:pt x="2370296" y="294245"/>
                </a:cubicBezTo>
                <a:cubicBezTo>
                  <a:pt x="2370937" y="317925"/>
                  <a:pt x="2366776" y="341285"/>
                  <a:pt x="2363736" y="364805"/>
                </a:cubicBezTo>
                <a:cubicBezTo>
                  <a:pt x="2358616" y="403685"/>
                  <a:pt x="2353017" y="441605"/>
                  <a:pt x="2344376" y="479845"/>
                </a:cubicBezTo>
                <a:cubicBezTo>
                  <a:pt x="2334137" y="525125"/>
                  <a:pt x="2314456" y="569285"/>
                  <a:pt x="2297656" y="612325"/>
                </a:cubicBezTo>
                <a:cubicBezTo>
                  <a:pt x="2281336" y="653925"/>
                  <a:pt x="2259097" y="692165"/>
                  <a:pt x="2236536" y="730565"/>
                </a:cubicBezTo>
                <a:cubicBezTo>
                  <a:pt x="2215097" y="766885"/>
                  <a:pt x="2193177" y="802885"/>
                  <a:pt x="2171736" y="839365"/>
                </a:cubicBezTo>
                <a:cubicBezTo>
                  <a:pt x="2150616" y="875205"/>
                  <a:pt x="2127416" y="909605"/>
                  <a:pt x="2099897" y="940805"/>
                </a:cubicBezTo>
                <a:cubicBezTo>
                  <a:pt x="2085656" y="956965"/>
                  <a:pt x="2071897" y="973445"/>
                  <a:pt x="2057017" y="989125"/>
                </a:cubicBezTo>
                <a:cubicBezTo>
                  <a:pt x="2050776" y="995685"/>
                  <a:pt x="2043736" y="1001285"/>
                  <a:pt x="2037656" y="1008165"/>
                </a:cubicBezTo>
                <a:cubicBezTo>
                  <a:pt x="2037496" y="1008325"/>
                  <a:pt x="2037336" y="1008645"/>
                  <a:pt x="2037177" y="1008805"/>
                </a:cubicBezTo>
                <a:cubicBezTo>
                  <a:pt x="2037017" y="1003845"/>
                  <a:pt x="2036856" y="998725"/>
                  <a:pt x="2036536" y="993765"/>
                </a:cubicBezTo>
                <a:cubicBezTo>
                  <a:pt x="2035257" y="968965"/>
                  <a:pt x="2032217" y="944005"/>
                  <a:pt x="2027416" y="919845"/>
                </a:cubicBezTo>
                <a:cubicBezTo>
                  <a:pt x="2024536" y="905445"/>
                  <a:pt x="2019257" y="892325"/>
                  <a:pt x="2013177" y="879525"/>
                </a:cubicBezTo>
                <a:cubicBezTo>
                  <a:pt x="2017336" y="866245"/>
                  <a:pt x="2024536" y="853125"/>
                  <a:pt x="2029017" y="840165"/>
                </a:cubicBezTo>
                <a:cubicBezTo>
                  <a:pt x="2034776" y="823045"/>
                  <a:pt x="2041977" y="806565"/>
                  <a:pt x="2047576" y="789445"/>
                </a:cubicBezTo>
                <a:cubicBezTo>
                  <a:pt x="2052057" y="775365"/>
                  <a:pt x="2062776" y="760645"/>
                  <a:pt x="2069656" y="747525"/>
                </a:cubicBezTo>
                <a:cubicBezTo>
                  <a:pt x="2078776" y="729925"/>
                  <a:pt x="2088696" y="712805"/>
                  <a:pt x="2097336" y="694885"/>
                </a:cubicBezTo>
                <a:cubicBezTo>
                  <a:pt x="2113017" y="662085"/>
                  <a:pt x="2122456" y="627045"/>
                  <a:pt x="2138776" y="594565"/>
                </a:cubicBezTo>
                <a:cubicBezTo>
                  <a:pt x="2155897" y="560005"/>
                  <a:pt x="2171576" y="524645"/>
                  <a:pt x="2189336" y="490405"/>
                </a:cubicBezTo>
                <a:cubicBezTo>
                  <a:pt x="2206296" y="457925"/>
                  <a:pt x="2216857" y="421925"/>
                  <a:pt x="2230137" y="387845"/>
                </a:cubicBezTo>
                <a:cubicBezTo>
                  <a:pt x="2244057" y="351365"/>
                  <a:pt x="2257977" y="314885"/>
                  <a:pt x="2269977" y="277925"/>
                </a:cubicBezTo>
                <a:close/>
                <a:moveTo>
                  <a:pt x="2212057" y="224325"/>
                </a:moveTo>
                <a:cubicBezTo>
                  <a:pt x="2233977" y="199205"/>
                  <a:pt x="2251897" y="171365"/>
                  <a:pt x="2270937" y="144165"/>
                </a:cubicBezTo>
                <a:cubicBezTo>
                  <a:pt x="2276857" y="135845"/>
                  <a:pt x="2283416" y="127525"/>
                  <a:pt x="2289816" y="119205"/>
                </a:cubicBezTo>
                <a:cubicBezTo>
                  <a:pt x="2285496" y="137925"/>
                  <a:pt x="2284376" y="157605"/>
                  <a:pt x="2278137" y="175685"/>
                </a:cubicBezTo>
                <a:cubicBezTo>
                  <a:pt x="2273496" y="189125"/>
                  <a:pt x="2274937" y="204965"/>
                  <a:pt x="2271416" y="218725"/>
                </a:cubicBezTo>
                <a:cubicBezTo>
                  <a:pt x="2266456" y="238885"/>
                  <a:pt x="2261177" y="258885"/>
                  <a:pt x="2254616" y="278725"/>
                </a:cubicBezTo>
                <a:cubicBezTo>
                  <a:pt x="2242296" y="315845"/>
                  <a:pt x="2227736" y="352005"/>
                  <a:pt x="2213336" y="388325"/>
                </a:cubicBezTo>
                <a:cubicBezTo>
                  <a:pt x="2199897" y="422405"/>
                  <a:pt x="2188857" y="457605"/>
                  <a:pt x="2171736" y="490085"/>
                </a:cubicBezTo>
                <a:cubicBezTo>
                  <a:pt x="2153816" y="524325"/>
                  <a:pt x="2138137" y="560005"/>
                  <a:pt x="2120857" y="594565"/>
                </a:cubicBezTo>
                <a:cubicBezTo>
                  <a:pt x="2104696" y="627045"/>
                  <a:pt x="2095257" y="662085"/>
                  <a:pt x="2079416" y="694725"/>
                </a:cubicBezTo>
                <a:cubicBezTo>
                  <a:pt x="2071736" y="710565"/>
                  <a:pt x="2062937" y="725765"/>
                  <a:pt x="2054616" y="741285"/>
                </a:cubicBezTo>
                <a:cubicBezTo>
                  <a:pt x="2046456" y="756485"/>
                  <a:pt x="2035897" y="772805"/>
                  <a:pt x="2030616" y="789125"/>
                </a:cubicBezTo>
                <a:cubicBezTo>
                  <a:pt x="2025017" y="806085"/>
                  <a:pt x="2017656" y="822565"/>
                  <a:pt x="2012057" y="839685"/>
                </a:cubicBezTo>
                <a:cubicBezTo>
                  <a:pt x="2009656" y="846725"/>
                  <a:pt x="2006616" y="853445"/>
                  <a:pt x="2003736" y="860325"/>
                </a:cubicBezTo>
                <a:cubicBezTo>
                  <a:pt x="2001977" y="856645"/>
                  <a:pt x="2000057" y="852805"/>
                  <a:pt x="1998296" y="848965"/>
                </a:cubicBezTo>
                <a:cubicBezTo>
                  <a:pt x="1988057" y="826565"/>
                  <a:pt x="1974137" y="806405"/>
                  <a:pt x="1958296" y="787845"/>
                </a:cubicBezTo>
                <a:cubicBezTo>
                  <a:pt x="1958296" y="777605"/>
                  <a:pt x="1958137" y="767205"/>
                  <a:pt x="1959416" y="756805"/>
                </a:cubicBezTo>
                <a:cubicBezTo>
                  <a:pt x="1961816" y="737605"/>
                  <a:pt x="1964536" y="719205"/>
                  <a:pt x="1970296" y="700645"/>
                </a:cubicBezTo>
                <a:cubicBezTo>
                  <a:pt x="1980696" y="667045"/>
                  <a:pt x="1996856" y="635365"/>
                  <a:pt x="2008217" y="602085"/>
                </a:cubicBezTo>
                <a:cubicBezTo>
                  <a:pt x="2019897" y="567845"/>
                  <a:pt x="2032057" y="535365"/>
                  <a:pt x="2049656" y="503525"/>
                </a:cubicBezTo>
                <a:cubicBezTo>
                  <a:pt x="2068217" y="469765"/>
                  <a:pt x="2088536" y="436805"/>
                  <a:pt x="2108217" y="403525"/>
                </a:cubicBezTo>
                <a:cubicBezTo>
                  <a:pt x="2141496" y="347045"/>
                  <a:pt x="2172857" y="289605"/>
                  <a:pt x="2206776" y="233445"/>
                </a:cubicBezTo>
                <a:cubicBezTo>
                  <a:pt x="2208376" y="230405"/>
                  <a:pt x="2210296" y="227365"/>
                  <a:pt x="2212057" y="224325"/>
                </a:cubicBezTo>
                <a:close/>
                <a:moveTo>
                  <a:pt x="2064217" y="339045"/>
                </a:moveTo>
                <a:cubicBezTo>
                  <a:pt x="2067416" y="335045"/>
                  <a:pt x="2071576" y="330725"/>
                  <a:pt x="2075897" y="326085"/>
                </a:cubicBezTo>
                <a:cubicBezTo>
                  <a:pt x="2080376" y="323525"/>
                  <a:pt x="2084856" y="321285"/>
                  <a:pt x="2089977" y="319365"/>
                </a:cubicBezTo>
                <a:cubicBezTo>
                  <a:pt x="2104536" y="313925"/>
                  <a:pt x="2118137" y="306405"/>
                  <a:pt x="2131097" y="297925"/>
                </a:cubicBezTo>
                <a:cubicBezTo>
                  <a:pt x="2145336" y="288645"/>
                  <a:pt x="2158776" y="277605"/>
                  <a:pt x="2171576" y="265765"/>
                </a:cubicBezTo>
                <a:cubicBezTo>
                  <a:pt x="2141017" y="316325"/>
                  <a:pt x="2112217" y="368005"/>
                  <a:pt x="2082456" y="419205"/>
                </a:cubicBezTo>
                <a:cubicBezTo>
                  <a:pt x="2065017" y="449285"/>
                  <a:pt x="2046616" y="478885"/>
                  <a:pt x="2029977" y="509445"/>
                </a:cubicBezTo>
                <a:cubicBezTo>
                  <a:pt x="2012856" y="541285"/>
                  <a:pt x="2002137" y="575205"/>
                  <a:pt x="1990296" y="609125"/>
                </a:cubicBezTo>
                <a:cubicBezTo>
                  <a:pt x="1978776" y="642245"/>
                  <a:pt x="1962616" y="673285"/>
                  <a:pt x="1953017" y="707045"/>
                </a:cubicBezTo>
                <a:cubicBezTo>
                  <a:pt x="1946937" y="728325"/>
                  <a:pt x="1944376" y="749765"/>
                  <a:pt x="1943576" y="771365"/>
                </a:cubicBezTo>
                <a:cubicBezTo>
                  <a:pt x="1933656" y="760805"/>
                  <a:pt x="1923257" y="750885"/>
                  <a:pt x="1912536" y="741125"/>
                </a:cubicBezTo>
                <a:cubicBezTo>
                  <a:pt x="1908057" y="736965"/>
                  <a:pt x="1903416" y="732965"/>
                  <a:pt x="1898937" y="728965"/>
                </a:cubicBezTo>
                <a:cubicBezTo>
                  <a:pt x="1899257" y="724005"/>
                  <a:pt x="1900217" y="718565"/>
                  <a:pt x="1899736" y="714245"/>
                </a:cubicBezTo>
                <a:cubicBezTo>
                  <a:pt x="1898616" y="702565"/>
                  <a:pt x="1898296" y="693605"/>
                  <a:pt x="1900696" y="682085"/>
                </a:cubicBezTo>
                <a:cubicBezTo>
                  <a:pt x="1904856" y="662085"/>
                  <a:pt x="1910616" y="641925"/>
                  <a:pt x="1913177" y="621765"/>
                </a:cubicBezTo>
                <a:cubicBezTo>
                  <a:pt x="1918456" y="580325"/>
                  <a:pt x="1936057" y="541925"/>
                  <a:pt x="1954456" y="504645"/>
                </a:cubicBezTo>
                <a:cubicBezTo>
                  <a:pt x="1975097" y="462725"/>
                  <a:pt x="2000696" y="422725"/>
                  <a:pt x="2025977" y="383365"/>
                </a:cubicBezTo>
                <a:cubicBezTo>
                  <a:pt x="2036696" y="366885"/>
                  <a:pt x="2051897" y="354245"/>
                  <a:pt x="2064217" y="339045"/>
                </a:cubicBezTo>
                <a:close/>
                <a:moveTo>
                  <a:pt x="1976696" y="398725"/>
                </a:moveTo>
                <a:cubicBezTo>
                  <a:pt x="1995416" y="381765"/>
                  <a:pt x="2015897" y="367365"/>
                  <a:pt x="2036536" y="352965"/>
                </a:cubicBezTo>
                <a:cubicBezTo>
                  <a:pt x="2026776" y="363685"/>
                  <a:pt x="2017496" y="375045"/>
                  <a:pt x="2009656" y="387365"/>
                </a:cubicBezTo>
                <a:cubicBezTo>
                  <a:pt x="1984057" y="427525"/>
                  <a:pt x="1958137" y="467685"/>
                  <a:pt x="1937656" y="510725"/>
                </a:cubicBezTo>
                <a:cubicBezTo>
                  <a:pt x="1928536" y="529925"/>
                  <a:pt x="1918456" y="550245"/>
                  <a:pt x="1911736" y="570245"/>
                </a:cubicBezTo>
                <a:cubicBezTo>
                  <a:pt x="1904856" y="590565"/>
                  <a:pt x="1902456" y="609445"/>
                  <a:pt x="1898616" y="630405"/>
                </a:cubicBezTo>
                <a:cubicBezTo>
                  <a:pt x="1894776" y="651045"/>
                  <a:pt x="1888856" y="671365"/>
                  <a:pt x="1885336" y="692165"/>
                </a:cubicBezTo>
                <a:cubicBezTo>
                  <a:pt x="1883736" y="701445"/>
                  <a:pt x="1886137" y="709605"/>
                  <a:pt x="1886616" y="718405"/>
                </a:cubicBezTo>
                <a:cubicBezTo>
                  <a:pt x="1858937" y="695365"/>
                  <a:pt x="1829816" y="675685"/>
                  <a:pt x="1795416" y="662085"/>
                </a:cubicBezTo>
                <a:cubicBezTo>
                  <a:pt x="1793816" y="661445"/>
                  <a:pt x="1792057" y="660805"/>
                  <a:pt x="1790456" y="660165"/>
                </a:cubicBezTo>
                <a:cubicBezTo>
                  <a:pt x="1804376" y="587365"/>
                  <a:pt x="1839897" y="527525"/>
                  <a:pt x="1893336" y="476165"/>
                </a:cubicBezTo>
                <a:cubicBezTo>
                  <a:pt x="1920696" y="449765"/>
                  <a:pt x="1948536" y="424165"/>
                  <a:pt x="1976696" y="398725"/>
                </a:cubicBezTo>
                <a:close/>
                <a:moveTo>
                  <a:pt x="1740057" y="188645"/>
                </a:moveTo>
                <a:cubicBezTo>
                  <a:pt x="1783416" y="215845"/>
                  <a:pt x="1825816" y="246405"/>
                  <a:pt x="1858456" y="286405"/>
                </a:cubicBezTo>
                <a:cubicBezTo>
                  <a:pt x="1888536" y="323205"/>
                  <a:pt x="1907576" y="367045"/>
                  <a:pt x="1921977" y="411845"/>
                </a:cubicBezTo>
                <a:cubicBezTo>
                  <a:pt x="1922296" y="412965"/>
                  <a:pt x="1922776" y="413765"/>
                  <a:pt x="1923257" y="414565"/>
                </a:cubicBezTo>
                <a:cubicBezTo>
                  <a:pt x="1898616" y="436165"/>
                  <a:pt x="1873656" y="459845"/>
                  <a:pt x="1852217" y="484005"/>
                </a:cubicBezTo>
                <a:cubicBezTo>
                  <a:pt x="1850296" y="486085"/>
                  <a:pt x="1848536" y="488165"/>
                  <a:pt x="1846776" y="490405"/>
                </a:cubicBezTo>
                <a:cubicBezTo>
                  <a:pt x="1845336" y="464965"/>
                  <a:pt x="1836696" y="438885"/>
                  <a:pt x="1829656" y="416005"/>
                </a:cubicBezTo>
                <a:cubicBezTo>
                  <a:pt x="1818616" y="380005"/>
                  <a:pt x="1800536" y="346725"/>
                  <a:pt x="1783416" y="313445"/>
                </a:cubicBezTo>
                <a:cubicBezTo>
                  <a:pt x="1775897" y="298885"/>
                  <a:pt x="1768057" y="284805"/>
                  <a:pt x="1758137" y="271845"/>
                </a:cubicBezTo>
                <a:cubicBezTo>
                  <a:pt x="1745336" y="255045"/>
                  <a:pt x="1737017" y="235045"/>
                  <a:pt x="1724696" y="217765"/>
                </a:cubicBezTo>
                <a:cubicBezTo>
                  <a:pt x="1712376" y="200645"/>
                  <a:pt x="1700536" y="183365"/>
                  <a:pt x="1687097" y="167205"/>
                </a:cubicBezTo>
                <a:cubicBezTo>
                  <a:pt x="1681336" y="160325"/>
                  <a:pt x="1674937" y="153765"/>
                  <a:pt x="1668536" y="147525"/>
                </a:cubicBezTo>
                <a:cubicBezTo>
                  <a:pt x="1666776" y="145925"/>
                  <a:pt x="1663416" y="143045"/>
                  <a:pt x="1659736" y="139845"/>
                </a:cubicBezTo>
                <a:cubicBezTo>
                  <a:pt x="1688057" y="153445"/>
                  <a:pt x="1713656" y="172165"/>
                  <a:pt x="1740057" y="188645"/>
                </a:cubicBezTo>
                <a:close/>
                <a:moveTo>
                  <a:pt x="1581816" y="104325"/>
                </a:moveTo>
                <a:cubicBezTo>
                  <a:pt x="1601816" y="114405"/>
                  <a:pt x="1622776" y="122885"/>
                  <a:pt x="1643257" y="132165"/>
                </a:cubicBezTo>
                <a:cubicBezTo>
                  <a:pt x="1646137" y="138725"/>
                  <a:pt x="1653177" y="144165"/>
                  <a:pt x="1657336" y="149605"/>
                </a:cubicBezTo>
                <a:cubicBezTo>
                  <a:pt x="1669816" y="166725"/>
                  <a:pt x="1684696" y="181605"/>
                  <a:pt x="1696536" y="199365"/>
                </a:cubicBezTo>
                <a:cubicBezTo>
                  <a:pt x="1708057" y="216645"/>
                  <a:pt x="1720536" y="233445"/>
                  <a:pt x="1730296" y="251845"/>
                </a:cubicBezTo>
                <a:cubicBezTo>
                  <a:pt x="1739897" y="270085"/>
                  <a:pt x="1752217" y="285765"/>
                  <a:pt x="1762137" y="303685"/>
                </a:cubicBezTo>
                <a:cubicBezTo>
                  <a:pt x="1780536" y="336645"/>
                  <a:pt x="1796696" y="370565"/>
                  <a:pt x="1809336" y="406085"/>
                </a:cubicBezTo>
                <a:cubicBezTo>
                  <a:pt x="1815416" y="423045"/>
                  <a:pt x="1821977" y="440165"/>
                  <a:pt x="1825496" y="458085"/>
                </a:cubicBezTo>
                <a:cubicBezTo>
                  <a:pt x="1829017" y="476005"/>
                  <a:pt x="1829977" y="493125"/>
                  <a:pt x="1830616" y="511045"/>
                </a:cubicBezTo>
                <a:cubicBezTo>
                  <a:pt x="1799897" y="553125"/>
                  <a:pt x="1778296" y="601605"/>
                  <a:pt x="1770937" y="653285"/>
                </a:cubicBezTo>
                <a:cubicBezTo>
                  <a:pt x="1752217" y="647205"/>
                  <a:pt x="1733017" y="642085"/>
                  <a:pt x="1713656" y="637605"/>
                </a:cubicBezTo>
                <a:cubicBezTo>
                  <a:pt x="1713017" y="635205"/>
                  <a:pt x="1712057" y="632805"/>
                  <a:pt x="1711416" y="631365"/>
                </a:cubicBezTo>
                <a:cubicBezTo>
                  <a:pt x="1707097" y="620325"/>
                  <a:pt x="1708536" y="607365"/>
                  <a:pt x="1706937" y="595685"/>
                </a:cubicBezTo>
                <a:cubicBezTo>
                  <a:pt x="1702937" y="566405"/>
                  <a:pt x="1705017" y="536005"/>
                  <a:pt x="1703257" y="506405"/>
                </a:cubicBezTo>
                <a:cubicBezTo>
                  <a:pt x="1701496" y="478405"/>
                  <a:pt x="1699097" y="449445"/>
                  <a:pt x="1691897" y="422245"/>
                </a:cubicBezTo>
                <a:cubicBezTo>
                  <a:pt x="1684696" y="394565"/>
                  <a:pt x="1676536" y="367045"/>
                  <a:pt x="1669816" y="339205"/>
                </a:cubicBezTo>
                <a:cubicBezTo>
                  <a:pt x="1663897" y="315205"/>
                  <a:pt x="1658296" y="291205"/>
                  <a:pt x="1650776" y="267685"/>
                </a:cubicBezTo>
                <a:cubicBezTo>
                  <a:pt x="1641977" y="240325"/>
                  <a:pt x="1628217" y="216165"/>
                  <a:pt x="1614456" y="191205"/>
                </a:cubicBezTo>
                <a:cubicBezTo>
                  <a:pt x="1593816" y="153765"/>
                  <a:pt x="1568856" y="117285"/>
                  <a:pt x="1538776" y="86245"/>
                </a:cubicBezTo>
                <a:cubicBezTo>
                  <a:pt x="1553496" y="92005"/>
                  <a:pt x="1568217" y="97445"/>
                  <a:pt x="1581816" y="104325"/>
                </a:cubicBezTo>
                <a:close/>
                <a:moveTo>
                  <a:pt x="1517496" y="77445"/>
                </a:moveTo>
                <a:cubicBezTo>
                  <a:pt x="1529977" y="94725"/>
                  <a:pt x="1544057" y="111045"/>
                  <a:pt x="1557177" y="128005"/>
                </a:cubicBezTo>
                <a:cubicBezTo>
                  <a:pt x="1575097" y="151205"/>
                  <a:pt x="1589977" y="176965"/>
                  <a:pt x="1603736" y="202885"/>
                </a:cubicBezTo>
                <a:cubicBezTo>
                  <a:pt x="1616217" y="226245"/>
                  <a:pt x="1627576" y="248965"/>
                  <a:pt x="1635897" y="274245"/>
                </a:cubicBezTo>
                <a:cubicBezTo>
                  <a:pt x="1644376" y="300165"/>
                  <a:pt x="1649816" y="326885"/>
                  <a:pt x="1656217" y="353285"/>
                </a:cubicBezTo>
                <a:cubicBezTo>
                  <a:pt x="1662456" y="379365"/>
                  <a:pt x="1669977" y="404965"/>
                  <a:pt x="1676536" y="430885"/>
                </a:cubicBezTo>
                <a:cubicBezTo>
                  <a:pt x="1682937" y="456005"/>
                  <a:pt x="1684376" y="483045"/>
                  <a:pt x="1686137" y="508965"/>
                </a:cubicBezTo>
                <a:cubicBezTo>
                  <a:pt x="1687897" y="536645"/>
                  <a:pt x="1687097" y="564485"/>
                  <a:pt x="1689177" y="592325"/>
                </a:cubicBezTo>
                <a:cubicBezTo>
                  <a:pt x="1689977" y="604325"/>
                  <a:pt x="1690776" y="616645"/>
                  <a:pt x="1692217" y="628485"/>
                </a:cubicBezTo>
                <a:cubicBezTo>
                  <a:pt x="1692376" y="630085"/>
                  <a:pt x="1692856" y="631685"/>
                  <a:pt x="1693336" y="633285"/>
                </a:cubicBezTo>
                <a:cubicBezTo>
                  <a:pt x="1679736" y="630405"/>
                  <a:pt x="1666137" y="627685"/>
                  <a:pt x="1652696" y="624805"/>
                </a:cubicBezTo>
                <a:cubicBezTo>
                  <a:pt x="1626456" y="619365"/>
                  <a:pt x="1600536" y="612965"/>
                  <a:pt x="1574456" y="606565"/>
                </a:cubicBezTo>
                <a:cubicBezTo>
                  <a:pt x="1574137" y="604485"/>
                  <a:pt x="1573496" y="602405"/>
                  <a:pt x="1572856" y="600485"/>
                </a:cubicBezTo>
                <a:cubicBezTo>
                  <a:pt x="1568217" y="580965"/>
                  <a:pt x="1556536" y="560965"/>
                  <a:pt x="1547897" y="544645"/>
                </a:cubicBezTo>
                <a:cubicBezTo>
                  <a:pt x="1546616" y="542245"/>
                  <a:pt x="1545336" y="539845"/>
                  <a:pt x="1543897" y="537605"/>
                </a:cubicBezTo>
                <a:cubicBezTo>
                  <a:pt x="1544536" y="534885"/>
                  <a:pt x="1543897" y="532005"/>
                  <a:pt x="1541177" y="530245"/>
                </a:cubicBezTo>
                <a:cubicBezTo>
                  <a:pt x="1537977" y="528165"/>
                  <a:pt x="1534776" y="515685"/>
                  <a:pt x="1533496" y="512645"/>
                </a:cubicBezTo>
                <a:cubicBezTo>
                  <a:pt x="1529977" y="504165"/>
                  <a:pt x="1525816" y="496005"/>
                  <a:pt x="1523097" y="487205"/>
                </a:cubicBezTo>
                <a:cubicBezTo>
                  <a:pt x="1516696" y="467045"/>
                  <a:pt x="1508057" y="448645"/>
                  <a:pt x="1503897" y="427685"/>
                </a:cubicBezTo>
                <a:cubicBezTo>
                  <a:pt x="1499897" y="407365"/>
                  <a:pt x="1496696" y="386885"/>
                  <a:pt x="1491736" y="366725"/>
                </a:cubicBezTo>
                <a:cubicBezTo>
                  <a:pt x="1486776" y="346725"/>
                  <a:pt x="1488217" y="324645"/>
                  <a:pt x="1485017" y="304165"/>
                </a:cubicBezTo>
                <a:cubicBezTo>
                  <a:pt x="1478137" y="260485"/>
                  <a:pt x="1482776" y="215525"/>
                  <a:pt x="1481336" y="171525"/>
                </a:cubicBezTo>
                <a:cubicBezTo>
                  <a:pt x="1480057" y="129925"/>
                  <a:pt x="1476856" y="87685"/>
                  <a:pt x="1473177" y="46245"/>
                </a:cubicBezTo>
                <a:cubicBezTo>
                  <a:pt x="1485177" y="60165"/>
                  <a:pt x="1500696" y="69605"/>
                  <a:pt x="1517496" y="77445"/>
                </a:cubicBezTo>
                <a:close/>
                <a:moveTo>
                  <a:pt x="1445816" y="91205"/>
                </a:moveTo>
                <a:cubicBezTo>
                  <a:pt x="1452057" y="82725"/>
                  <a:pt x="1458296" y="72805"/>
                  <a:pt x="1463097" y="62245"/>
                </a:cubicBezTo>
                <a:cubicBezTo>
                  <a:pt x="1462616" y="73285"/>
                  <a:pt x="1463416" y="84325"/>
                  <a:pt x="1463736" y="95365"/>
                </a:cubicBezTo>
                <a:cubicBezTo>
                  <a:pt x="1464536" y="119045"/>
                  <a:pt x="1466137" y="142885"/>
                  <a:pt x="1467097" y="166565"/>
                </a:cubicBezTo>
                <a:cubicBezTo>
                  <a:pt x="1469336" y="217605"/>
                  <a:pt x="1466137" y="267525"/>
                  <a:pt x="1471097" y="318565"/>
                </a:cubicBezTo>
                <a:cubicBezTo>
                  <a:pt x="1473017" y="337285"/>
                  <a:pt x="1472057" y="357605"/>
                  <a:pt x="1477816" y="375845"/>
                </a:cubicBezTo>
                <a:cubicBezTo>
                  <a:pt x="1485017" y="398725"/>
                  <a:pt x="1486937" y="424485"/>
                  <a:pt x="1491576" y="448165"/>
                </a:cubicBezTo>
                <a:cubicBezTo>
                  <a:pt x="1492057" y="451045"/>
                  <a:pt x="1493017" y="453765"/>
                  <a:pt x="1493977" y="456645"/>
                </a:cubicBezTo>
                <a:cubicBezTo>
                  <a:pt x="1487257" y="449765"/>
                  <a:pt x="1480057" y="443365"/>
                  <a:pt x="1472696" y="437285"/>
                </a:cubicBezTo>
                <a:cubicBezTo>
                  <a:pt x="1448376" y="417125"/>
                  <a:pt x="1424696" y="396005"/>
                  <a:pt x="1401177" y="375045"/>
                </a:cubicBezTo>
                <a:cubicBezTo>
                  <a:pt x="1400856" y="374725"/>
                  <a:pt x="1400696" y="374565"/>
                  <a:pt x="1400376" y="374405"/>
                </a:cubicBezTo>
                <a:cubicBezTo>
                  <a:pt x="1399576" y="373765"/>
                  <a:pt x="1398776" y="372965"/>
                  <a:pt x="1397977" y="372325"/>
                </a:cubicBezTo>
                <a:cubicBezTo>
                  <a:pt x="1397177" y="369605"/>
                  <a:pt x="1396217" y="367045"/>
                  <a:pt x="1395416" y="364165"/>
                </a:cubicBezTo>
                <a:cubicBezTo>
                  <a:pt x="1391736" y="351045"/>
                  <a:pt x="1392217" y="334725"/>
                  <a:pt x="1391097" y="320965"/>
                </a:cubicBezTo>
                <a:cubicBezTo>
                  <a:pt x="1389816" y="305285"/>
                  <a:pt x="1393816" y="290085"/>
                  <a:pt x="1396057" y="274725"/>
                </a:cubicBezTo>
                <a:cubicBezTo>
                  <a:pt x="1398137" y="260165"/>
                  <a:pt x="1399576" y="245605"/>
                  <a:pt x="1401336" y="231045"/>
                </a:cubicBezTo>
                <a:cubicBezTo>
                  <a:pt x="1404536" y="204325"/>
                  <a:pt x="1410616" y="177925"/>
                  <a:pt x="1419897" y="152645"/>
                </a:cubicBezTo>
                <a:cubicBezTo>
                  <a:pt x="1427897" y="131685"/>
                  <a:pt x="1437496" y="111685"/>
                  <a:pt x="1445816" y="91205"/>
                </a:cubicBezTo>
                <a:close/>
                <a:moveTo>
                  <a:pt x="1281177" y="261125"/>
                </a:moveTo>
                <a:cubicBezTo>
                  <a:pt x="1290296" y="247845"/>
                  <a:pt x="1312856" y="235205"/>
                  <a:pt x="1321336" y="227045"/>
                </a:cubicBezTo>
                <a:cubicBezTo>
                  <a:pt x="1343897" y="205445"/>
                  <a:pt x="1365977" y="183205"/>
                  <a:pt x="1386937" y="160165"/>
                </a:cubicBezTo>
                <a:cubicBezTo>
                  <a:pt x="1397336" y="148965"/>
                  <a:pt x="1407736" y="137445"/>
                  <a:pt x="1417977" y="125765"/>
                </a:cubicBezTo>
                <a:cubicBezTo>
                  <a:pt x="1414456" y="132805"/>
                  <a:pt x="1411257" y="140005"/>
                  <a:pt x="1408376" y="147685"/>
                </a:cubicBezTo>
                <a:cubicBezTo>
                  <a:pt x="1398937" y="172325"/>
                  <a:pt x="1392696" y="196805"/>
                  <a:pt x="1388376" y="223045"/>
                </a:cubicBezTo>
                <a:cubicBezTo>
                  <a:pt x="1385977" y="237445"/>
                  <a:pt x="1384536" y="252165"/>
                  <a:pt x="1382616" y="266565"/>
                </a:cubicBezTo>
                <a:cubicBezTo>
                  <a:pt x="1380376" y="282885"/>
                  <a:pt x="1376217" y="298885"/>
                  <a:pt x="1376057" y="315525"/>
                </a:cubicBezTo>
                <a:cubicBezTo>
                  <a:pt x="1375897" y="327845"/>
                  <a:pt x="1377816" y="340325"/>
                  <a:pt x="1378937" y="352645"/>
                </a:cubicBezTo>
                <a:cubicBezTo>
                  <a:pt x="1379097" y="353605"/>
                  <a:pt x="1379097" y="354565"/>
                  <a:pt x="1379257" y="355525"/>
                </a:cubicBezTo>
                <a:cubicBezTo>
                  <a:pt x="1354776" y="333765"/>
                  <a:pt x="1329977" y="312325"/>
                  <a:pt x="1304217" y="292005"/>
                </a:cubicBezTo>
                <a:cubicBezTo>
                  <a:pt x="1295416" y="285125"/>
                  <a:pt x="1286616" y="278245"/>
                  <a:pt x="1277656" y="271525"/>
                </a:cubicBezTo>
                <a:cubicBezTo>
                  <a:pt x="1278137" y="267685"/>
                  <a:pt x="1279257" y="264325"/>
                  <a:pt x="1281177" y="261125"/>
                </a:cubicBezTo>
                <a:close/>
                <a:moveTo>
                  <a:pt x="1296536" y="320965"/>
                </a:moveTo>
                <a:cubicBezTo>
                  <a:pt x="1352057" y="366885"/>
                  <a:pt x="1404376" y="416805"/>
                  <a:pt x="1459576" y="463045"/>
                </a:cubicBezTo>
                <a:cubicBezTo>
                  <a:pt x="1485496" y="484645"/>
                  <a:pt x="1501336" y="512165"/>
                  <a:pt x="1514937" y="542405"/>
                </a:cubicBezTo>
                <a:cubicBezTo>
                  <a:pt x="1521177" y="556325"/>
                  <a:pt x="1522296" y="577285"/>
                  <a:pt x="1530616" y="592005"/>
                </a:cubicBezTo>
                <a:cubicBezTo>
                  <a:pt x="1530616" y="593445"/>
                  <a:pt x="1530937" y="594885"/>
                  <a:pt x="1531257" y="596325"/>
                </a:cubicBezTo>
                <a:cubicBezTo>
                  <a:pt x="1515897" y="591845"/>
                  <a:pt x="1502137" y="584005"/>
                  <a:pt x="1487576" y="577445"/>
                </a:cubicBezTo>
                <a:cubicBezTo>
                  <a:pt x="1479257" y="570885"/>
                  <a:pt x="1471097" y="564325"/>
                  <a:pt x="1462937" y="557445"/>
                </a:cubicBezTo>
                <a:cubicBezTo>
                  <a:pt x="1462296" y="554725"/>
                  <a:pt x="1460217" y="552165"/>
                  <a:pt x="1457336" y="551685"/>
                </a:cubicBezTo>
                <a:cubicBezTo>
                  <a:pt x="1440217" y="548645"/>
                  <a:pt x="1430776" y="571685"/>
                  <a:pt x="1424376" y="583685"/>
                </a:cubicBezTo>
                <a:cubicBezTo>
                  <a:pt x="1423257" y="585765"/>
                  <a:pt x="1422137" y="587685"/>
                  <a:pt x="1420856" y="589605"/>
                </a:cubicBezTo>
                <a:cubicBezTo>
                  <a:pt x="1414456" y="594725"/>
                  <a:pt x="1407576" y="603365"/>
                  <a:pt x="1402937" y="607525"/>
                </a:cubicBezTo>
                <a:cubicBezTo>
                  <a:pt x="1394616" y="614725"/>
                  <a:pt x="1386776" y="622405"/>
                  <a:pt x="1379097" y="630405"/>
                </a:cubicBezTo>
                <a:cubicBezTo>
                  <a:pt x="1376217" y="598885"/>
                  <a:pt x="1366776" y="568165"/>
                  <a:pt x="1359736" y="537285"/>
                </a:cubicBezTo>
                <a:cubicBezTo>
                  <a:pt x="1349816" y="493445"/>
                  <a:pt x="1335097" y="453285"/>
                  <a:pt x="1317496" y="411845"/>
                </a:cubicBezTo>
                <a:cubicBezTo>
                  <a:pt x="1301336" y="373765"/>
                  <a:pt x="1277977" y="336485"/>
                  <a:pt x="1253496" y="303205"/>
                </a:cubicBezTo>
                <a:cubicBezTo>
                  <a:pt x="1244376" y="290885"/>
                  <a:pt x="1235416" y="278245"/>
                  <a:pt x="1225977" y="266085"/>
                </a:cubicBezTo>
                <a:cubicBezTo>
                  <a:pt x="1249816" y="283845"/>
                  <a:pt x="1273656" y="301925"/>
                  <a:pt x="1296536" y="320965"/>
                </a:cubicBezTo>
                <a:close/>
                <a:moveTo>
                  <a:pt x="1086616" y="182245"/>
                </a:moveTo>
                <a:cubicBezTo>
                  <a:pt x="1105497" y="185605"/>
                  <a:pt x="1123897" y="194565"/>
                  <a:pt x="1140216" y="204165"/>
                </a:cubicBezTo>
                <a:cubicBezTo>
                  <a:pt x="1153816" y="212165"/>
                  <a:pt x="1166937" y="221445"/>
                  <a:pt x="1179736" y="231205"/>
                </a:cubicBezTo>
                <a:cubicBezTo>
                  <a:pt x="1179897" y="231845"/>
                  <a:pt x="1180376" y="232485"/>
                  <a:pt x="1181176" y="232805"/>
                </a:cubicBezTo>
                <a:cubicBezTo>
                  <a:pt x="1182136" y="233285"/>
                  <a:pt x="1183256" y="233925"/>
                  <a:pt x="1184216" y="234565"/>
                </a:cubicBezTo>
                <a:cubicBezTo>
                  <a:pt x="1186296" y="236165"/>
                  <a:pt x="1188216" y="237605"/>
                  <a:pt x="1190296" y="239205"/>
                </a:cubicBezTo>
                <a:cubicBezTo>
                  <a:pt x="1200536" y="248325"/>
                  <a:pt x="1208856" y="262405"/>
                  <a:pt x="1215417" y="272485"/>
                </a:cubicBezTo>
                <a:cubicBezTo>
                  <a:pt x="1225176" y="287365"/>
                  <a:pt x="1235736" y="301445"/>
                  <a:pt x="1245816" y="316165"/>
                </a:cubicBezTo>
                <a:cubicBezTo>
                  <a:pt x="1269177" y="349605"/>
                  <a:pt x="1290137" y="386565"/>
                  <a:pt x="1305656" y="424325"/>
                </a:cubicBezTo>
                <a:cubicBezTo>
                  <a:pt x="1321336" y="462405"/>
                  <a:pt x="1334456" y="499525"/>
                  <a:pt x="1343416" y="539845"/>
                </a:cubicBezTo>
                <a:cubicBezTo>
                  <a:pt x="1351416" y="575045"/>
                  <a:pt x="1363097" y="611045"/>
                  <a:pt x="1363257" y="647525"/>
                </a:cubicBezTo>
                <a:cubicBezTo>
                  <a:pt x="1358937" y="652325"/>
                  <a:pt x="1354456" y="657125"/>
                  <a:pt x="1349977" y="662085"/>
                </a:cubicBezTo>
                <a:cubicBezTo>
                  <a:pt x="1333656" y="679845"/>
                  <a:pt x="1316856" y="697285"/>
                  <a:pt x="1298937" y="713285"/>
                </a:cubicBezTo>
                <a:cubicBezTo>
                  <a:pt x="1292536" y="718885"/>
                  <a:pt x="1285816" y="724005"/>
                  <a:pt x="1279097" y="729125"/>
                </a:cubicBezTo>
                <a:cubicBezTo>
                  <a:pt x="1274776" y="721125"/>
                  <a:pt x="1271897" y="708645"/>
                  <a:pt x="1270776" y="702405"/>
                </a:cubicBezTo>
                <a:cubicBezTo>
                  <a:pt x="1268217" y="688965"/>
                  <a:pt x="1266137" y="675205"/>
                  <a:pt x="1264696" y="661445"/>
                </a:cubicBezTo>
                <a:cubicBezTo>
                  <a:pt x="1261496" y="633605"/>
                  <a:pt x="1260057" y="605445"/>
                  <a:pt x="1257336" y="577605"/>
                </a:cubicBezTo>
                <a:cubicBezTo>
                  <a:pt x="1254296" y="547685"/>
                  <a:pt x="1245336" y="517765"/>
                  <a:pt x="1239097" y="488325"/>
                </a:cubicBezTo>
                <a:cubicBezTo>
                  <a:pt x="1233017" y="459365"/>
                  <a:pt x="1225656" y="432005"/>
                  <a:pt x="1213977" y="404645"/>
                </a:cubicBezTo>
                <a:cubicBezTo>
                  <a:pt x="1191417" y="351845"/>
                  <a:pt x="1164536" y="304005"/>
                  <a:pt x="1132536" y="256325"/>
                </a:cubicBezTo>
                <a:cubicBezTo>
                  <a:pt x="1116376" y="232165"/>
                  <a:pt x="1094776" y="210725"/>
                  <a:pt x="1074937" y="189765"/>
                </a:cubicBezTo>
                <a:cubicBezTo>
                  <a:pt x="1070776" y="185285"/>
                  <a:pt x="1064856" y="178085"/>
                  <a:pt x="1058136" y="171045"/>
                </a:cubicBezTo>
                <a:cubicBezTo>
                  <a:pt x="1067576" y="175365"/>
                  <a:pt x="1077176" y="180485"/>
                  <a:pt x="1086616" y="182245"/>
                </a:cubicBezTo>
                <a:close/>
                <a:moveTo>
                  <a:pt x="963576" y="140965"/>
                </a:moveTo>
                <a:cubicBezTo>
                  <a:pt x="962296" y="139365"/>
                  <a:pt x="961176" y="137605"/>
                  <a:pt x="960216" y="135845"/>
                </a:cubicBezTo>
                <a:cubicBezTo>
                  <a:pt x="972536" y="139685"/>
                  <a:pt x="984376" y="145125"/>
                  <a:pt x="995896" y="150725"/>
                </a:cubicBezTo>
                <a:cubicBezTo>
                  <a:pt x="1005656" y="155365"/>
                  <a:pt x="1016056" y="158565"/>
                  <a:pt x="1026616" y="161285"/>
                </a:cubicBezTo>
                <a:cubicBezTo>
                  <a:pt x="1045977" y="176485"/>
                  <a:pt x="1061336" y="194565"/>
                  <a:pt x="1077816" y="213445"/>
                </a:cubicBezTo>
                <a:cubicBezTo>
                  <a:pt x="1096376" y="234725"/>
                  <a:pt x="1114457" y="255685"/>
                  <a:pt x="1129497" y="279525"/>
                </a:cubicBezTo>
                <a:cubicBezTo>
                  <a:pt x="1160536" y="328965"/>
                  <a:pt x="1187417" y="379685"/>
                  <a:pt x="1207736" y="434565"/>
                </a:cubicBezTo>
                <a:cubicBezTo>
                  <a:pt x="1218296" y="463045"/>
                  <a:pt x="1222616" y="493765"/>
                  <a:pt x="1228696" y="523525"/>
                </a:cubicBezTo>
                <a:cubicBezTo>
                  <a:pt x="1234456" y="552005"/>
                  <a:pt x="1241017" y="580165"/>
                  <a:pt x="1242937" y="609285"/>
                </a:cubicBezTo>
                <a:cubicBezTo>
                  <a:pt x="1244696" y="637285"/>
                  <a:pt x="1245656" y="666085"/>
                  <a:pt x="1251576" y="693605"/>
                </a:cubicBezTo>
                <a:cubicBezTo>
                  <a:pt x="1254616" y="707845"/>
                  <a:pt x="1256217" y="726565"/>
                  <a:pt x="1264856" y="739685"/>
                </a:cubicBezTo>
                <a:cubicBezTo>
                  <a:pt x="1256856" y="745925"/>
                  <a:pt x="1249336" y="752645"/>
                  <a:pt x="1242776" y="760485"/>
                </a:cubicBezTo>
                <a:cubicBezTo>
                  <a:pt x="1233336" y="772005"/>
                  <a:pt x="1223736" y="783525"/>
                  <a:pt x="1214296" y="794885"/>
                </a:cubicBezTo>
                <a:cubicBezTo>
                  <a:pt x="1207576" y="772645"/>
                  <a:pt x="1188056" y="752645"/>
                  <a:pt x="1175417" y="734565"/>
                </a:cubicBezTo>
                <a:cubicBezTo>
                  <a:pt x="1169176" y="725605"/>
                  <a:pt x="1162136" y="717445"/>
                  <a:pt x="1154776" y="709605"/>
                </a:cubicBezTo>
                <a:cubicBezTo>
                  <a:pt x="1149656" y="700005"/>
                  <a:pt x="1143417" y="690565"/>
                  <a:pt x="1137977" y="681125"/>
                </a:cubicBezTo>
                <a:cubicBezTo>
                  <a:pt x="1124536" y="657445"/>
                  <a:pt x="1117656" y="630565"/>
                  <a:pt x="1111576" y="604325"/>
                </a:cubicBezTo>
                <a:cubicBezTo>
                  <a:pt x="1108856" y="592325"/>
                  <a:pt x="1108216" y="580005"/>
                  <a:pt x="1105977" y="567845"/>
                </a:cubicBezTo>
                <a:cubicBezTo>
                  <a:pt x="1103417" y="553445"/>
                  <a:pt x="1097656" y="539685"/>
                  <a:pt x="1094457" y="525445"/>
                </a:cubicBezTo>
                <a:cubicBezTo>
                  <a:pt x="1088696" y="500165"/>
                  <a:pt x="1080696" y="476005"/>
                  <a:pt x="1071897" y="451525"/>
                </a:cubicBezTo>
                <a:cubicBezTo>
                  <a:pt x="1052696" y="398245"/>
                  <a:pt x="1034296" y="345285"/>
                  <a:pt x="1008216" y="295045"/>
                </a:cubicBezTo>
                <a:cubicBezTo>
                  <a:pt x="996536" y="272485"/>
                  <a:pt x="987256" y="249445"/>
                  <a:pt x="980056" y="225765"/>
                </a:cubicBezTo>
                <a:cubicBezTo>
                  <a:pt x="978776" y="204805"/>
                  <a:pt x="975416" y="184645"/>
                  <a:pt x="970457" y="164165"/>
                </a:cubicBezTo>
                <a:cubicBezTo>
                  <a:pt x="968376" y="157445"/>
                  <a:pt x="968056" y="146725"/>
                  <a:pt x="963576" y="140965"/>
                </a:cubicBezTo>
                <a:close/>
                <a:moveTo>
                  <a:pt x="1190937" y="822405"/>
                </a:moveTo>
                <a:cubicBezTo>
                  <a:pt x="1190457" y="822885"/>
                  <a:pt x="1190136" y="823525"/>
                  <a:pt x="1189656" y="824165"/>
                </a:cubicBezTo>
                <a:cubicBezTo>
                  <a:pt x="1189656" y="821765"/>
                  <a:pt x="1189497" y="819365"/>
                  <a:pt x="1189176" y="816965"/>
                </a:cubicBezTo>
                <a:cubicBezTo>
                  <a:pt x="1189336" y="817125"/>
                  <a:pt x="1189656" y="817445"/>
                  <a:pt x="1189816" y="817605"/>
                </a:cubicBezTo>
                <a:cubicBezTo>
                  <a:pt x="1190296" y="819205"/>
                  <a:pt x="1190616" y="820805"/>
                  <a:pt x="1190937" y="822405"/>
                </a:cubicBezTo>
                <a:close/>
                <a:moveTo>
                  <a:pt x="979736" y="266885"/>
                </a:moveTo>
                <a:cubicBezTo>
                  <a:pt x="981977" y="272645"/>
                  <a:pt x="984536" y="278405"/>
                  <a:pt x="987096" y="284005"/>
                </a:cubicBezTo>
                <a:cubicBezTo>
                  <a:pt x="999576" y="310405"/>
                  <a:pt x="1013816" y="335685"/>
                  <a:pt x="1023736" y="363365"/>
                </a:cubicBezTo>
                <a:cubicBezTo>
                  <a:pt x="1034296" y="392965"/>
                  <a:pt x="1045176" y="422405"/>
                  <a:pt x="1055417" y="452005"/>
                </a:cubicBezTo>
                <a:cubicBezTo>
                  <a:pt x="1065656" y="481285"/>
                  <a:pt x="1073497" y="510405"/>
                  <a:pt x="1081497" y="540325"/>
                </a:cubicBezTo>
                <a:cubicBezTo>
                  <a:pt x="1088856" y="568165"/>
                  <a:pt x="1092376" y="596165"/>
                  <a:pt x="1099256" y="624165"/>
                </a:cubicBezTo>
                <a:cubicBezTo>
                  <a:pt x="1103417" y="641125"/>
                  <a:pt x="1108856" y="657285"/>
                  <a:pt x="1115897" y="672965"/>
                </a:cubicBezTo>
                <a:cubicBezTo>
                  <a:pt x="1109497" y="667205"/>
                  <a:pt x="1103256" y="661285"/>
                  <a:pt x="1097336" y="655045"/>
                </a:cubicBezTo>
                <a:cubicBezTo>
                  <a:pt x="1071736" y="629125"/>
                  <a:pt x="1043736" y="613445"/>
                  <a:pt x="1009977" y="601445"/>
                </a:cubicBezTo>
                <a:cubicBezTo>
                  <a:pt x="1001336" y="588325"/>
                  <a:pt x="989977" y="576645"/>
                  <a:pt x="983736" y="562405"/>
                </a:cubicBezTo>
                <a:cubicBezTo>
                  <a:pt x="972056" y="535845"/>
                  <a:pt x="964696" y="509285"/>
                  <a:pt x="959896" y="480805"/>
                </a:cubicBezTo>
                <a:cubicBezTo>
                  <a:pt x="954616" y="449925"/>
                  <a:pt x="954616" y="418405"/>
                  <a:pt x="956056" y="387205"/>
                </a:cubicBezTo>
                <a:cubicBezTo>
                  <a:pt x="956536" y="377445"/>
                  <a:pt x="957497" y="367845"/>
                  <a:pt x="958296" y="358085"/>
                </a:cubicBezTo>
                <a:cubicBezTo>
                  <a:pt x="958776" y="356965"/>
                  <a:pt x="959256" y="356005"/>
                  <a:pt x="959736" y="354885"/>
                </a:cubicBezTo>
                <a:cubicBezTo>
                  <a:pt x="972056" y="326565"/>
                  <a:pt x="977977" y="296965"/>
                  <a:pt x="979736" y="266885"/>
                </a:cubicBezTo>
                <a:close/>
                <a:moveTo>
                  <a:pt x="944536" y="388965"/>
                </a:moveTo>
                <a:cubicBezTo>
                  <a:pt x="941816" y="422245"/>
                  <a:pt x="941977" y="455845"/>
                  <a:pt x="947096" y="489605"/>
                </a:cubicBezTo>
                <a:cubicBezTo>
                  <a:pt x="951416" y="517125"/>
                  <a:pt x="959416" y="542405"/>
                  <a:pt x="970136" y="568005"/>
                </a:cubicBezTo>
                <a:cubicBezTo>
                  <a:pt x="974136" y="577285"/>
                  <a:pt x="980856" y="585125"/>
                  <a:pt x="986296" y="593765"/>
                </a:cubicBezTo>
                <a:cubicBezTo>
                  <a:pt x="950296" y="582885"/>
                  <a:pt x="913656" y="575525"/>
                  <a:pt x="876056" y="572645"/>
                </a:cubicBezTo>
                <a:cubicBezTo>
                  <a:pt x="875096" y="572485"/>
                  <a:pt x="874136" y="572485"/>
                  <a:pt x="873176" y="572485"/>
                </a:cubicBezTo>
                <a:cubicBezTo>
                  <a:pt x="893497" y="510085"/>
                  <a:pt x="918296" y="449125"/>
                  <a:pt x="944536" y="388965"/>
                </a:cubicBezTo>
                <a:close/>
                <a:moveTo>
                  <a:pt x="920696" y="606565"/>
                </a:moveTo>
                <a:cubicBezTo>
                  <a:pt x="962776" y="613765"/>
                  <a:pt x="1006937" y="627845"/>
                  <a:pt x="1044536" y="648005"/>
                </a:cubicBezTo>
                <a:cubicBezTo>
                  <a:pt x="1061336" y="656965"/>
                  <a:pt x="1074457" y="673445"/>
                  <a:pt x="1087897" y="686725"/>
                </a:cubicBezTo>
                <a:cubicBezTo>
                  <a:pt x="1102136" y="700965"/>
                  <a:pt x="1118296" y="712645"/>
                  <a:pt x="1131096" y="728325"/>
                </a:cubicBezTo>
                <a:cubicBezTo>
                  <a:pt x="1142296" y="742085"/>
                  <a:pt x="1153176" y="755045"/>
                  <a:pt x="1163256" y="769765"/>
                </a:cubicBezTo>
                <a:cubicBezTo>
                  <a:pt x="1166136" y="773925"/>
                  <a:pt x="1169977" y="778405"/>
                  <a:pt x="1173656" y="782885"/>
                </a:cubicBezTo>
                <a:cubicBezTo>
                  <a:pt x="1174616" y="790085"/>
                  <a:pt x="1177176" y="796965"/>
                  <a:pt x="1178776" y="804325"/>
                </a:cubicBezTo>
                <a:cubicBezTo>
                  <a:pt x="1181017" y="815205"/>
                  <a:pt x="1179417" y="825925"/>
                  <a:pt x="1180376" y="836805"/>
                </a:cubicBezTo>
                <a:cubicBezTo>
                  <a:pt x="1176856" y="841925"/>
                  <a:pt x="1173497" y="847365"/>
                  <a:pt x="1170296" y="852805"/>
                </a:cubicBezTo>
                <a:cubicBezTo>
                  <a:pt x="1162616" y="839365"/>
                  <a:pt x="1153176" y="826565"/>
                  <a:pt x="1144696" y="814245"/>
                </a:cubicBezTo>
                <a:cubicBezTo>
                  <a:pt x="1129497" y="792485"/>
                  <a:pt x="1114776" y="770725"/>
                  <a:pt x="1096216" y="751685"/>
                </a:cubicBezTo>
                <a:cubicBezTo>
                  <a:pt x="1079096" y="734245"/>
                  <a:pt x="1060056" y="718885"/>
                  <a:pt x="1041336" y="703205"/>
                </a:cubicBezTo>
                <a:cubicBezTo>
                  <a:pt x="1019416" y="684645"/>
                  <a:pt x="995896" y="664005"/>
                  <a:pt x="969336" y="652325"/>
                </a:cubicBezTo>
                <a:cubicBezTo>
                  <a:pt x="933977" y="636965"/>
                  <a:pt x="900696" y="617125"/>
                  <a:pt x="865816" y="600325"/>
                </a:cubicBezTo>
                <a:cubicBezTo>
                  <a:pt x="884376" y="601925"/>
                  <a:pt x="902616" y="603365"/>
                  <a:pt x="920696" y="606565"/>
                </a:cubicBezTo>
                <a:close/>
                <a:moveTo>
                  <a:pt x="656376" y="562245"/>
                </a:moveTo>
                <a:cubicBezTo>
                  <a:pt x="699576" y="568005"/>
                  <a:pt x="741336" y="578085"/>
                  <a:pt x="783576" y="589125"/>
                </a:cubicBezTo>
                <a:cubicBezTo>
                  <a:pt x="797497" y="592805"/>
                  <a:pt x="811576" y="595045"/>
                  <a:pt x="825816" y="596805"/>
                </a:cubicBezTo>
                <a:cubicBezTo>
                  <a:pt x="830457" y="599045"/>
                  <a:pt x="835096" y="601285"/>
                  <a:pt x="839576" y="603365"/>
                </a:cubicBezTo>
                <a:cubicBezTo>
                  <a:pt x="861497" y="613445"/>
                  <a:pt x="883416" y="623045"/>
                  <a:pt x="904696" y="634405"/>
                </a:cubicBezTo>
                <a:cubicBezTo>
                  <a:pt x="929176" y="647525"/>
                  <a:pt x="955896" y="659525"/>
                  <a:pt x="979096" y="674725"/>
                </a:cubicBezTo>
                <a:cubicBezTo>
                  <a:pt x="1017977" y="700005"/>
                  <a:pt x="1055417" y="732805"/>
                  <a:pt x="1087576" y="766085"/>
                </a:cubicBezTo>
                <a:cubicBezTo>
                  <a:pt x="1103256" y="782245"/>
                  <a:pt x="1115417" y="801125"/>
                  <a:pt x="1128216" y="819525"/>
                </a:cubicBezTo>
                <a:cubicBezTo>
                  <a:pt x="1136056" y="830725"/>
                  <a:pt x="1144536" y="841765"/>
                  <a:pt x="1150616" y="854245"/>
                </a:cubicBezTo>
                <a:cubicBezTo>
                  <a:pt x="1153336" y="859685"/>
                  <a:pt x="1157017" y="865125"/>
                  <a:pt x="1160216" y="870565"/>
                </a:cubicBezTo>
                <a:cubicBezTo>
                  <a:pt x="1156856" y="876485"/>
                  <a:pt x="1153497" y="882405"/>
                  <a:pt x="1150296" y="888005"/>
                </a:cubicBezTo>
                <a:cubicBezTo>
                  <a:pt x="1135417" y="913925"/>
                  <a:pt x="1126136" y="941285"/>
                  <a:pt x="1121656" y="969765"/>
                </a:cubicBezTo>
                <a:cubicBezTo>
                  <a:pt x="1097977" y="926725"/>
                  <a:pt x="1074776" y="882885"/>
                  <a:pt x="1042776" y="845605"/>
                </a:cubicBezTo>
                <a:cubicBezTo>
                  <a:pt x="1000856" y="796965"/>
                  <a:pt x="958937" y="751205"/>
                  <a:pt x="906136" y="713765"/>
                </a:cubicBezTo>
                <a:cubicBezTo>
                  <a:pt x="881017" y="695845"/>
                  <a:pt x="852696" y="682725"/>
                  <a:pt x="827256" y="665445"/>
                </a:cubicBezTo>
                <a:cubicBezTo>
                  <a:pt x="799736" y="646885"/>
                  <a:pt x="774457" y="625605"/>
                  <a:pt x="746457" y="607845"/>
                </a:cubicBezTo>
                <a:cubicBezTo>
                  <a:pt x="720216" y="591205"/>
                  <a:pt x="692376" y="577285"/>
                  <a:pt x="663096" y="566405"/>
                </a:cubicBezTo>
                <a:cubicBezTo>
                  <a:pt x="658457" y="564645"/>
                  <a:pt x="647256" y="562885"/>
                  <a:pt x="637656" y="559845"/>
                </a:cubicBezTo>
                <a:cubicBezTo>
                  <a:pt x="643896" y="560645"/>
                  <a:pt x="650136" y="561285"/>
                  <a:pt x="656376" y="562245"/>
                </a:cubicBezTo>
                <a:close/>
                <a:moveTo>
                  <a:pt x="528856" y="544805"/>
                </a:moveTo>
                <a:cubicBezTo>
                  <a:pt x="558616" y="550565"/>
                  <a:pt x="588856" y="554085"/>
                  <a:pt x="619096" y="557605"/>
                </a:cubicBezTo>
                <a:cubicBezTo>
                  <a:pt x="624216" y="563045"/>
                  <a:pt x="633017" y="566725"/>
                  <a:pt x="638776" y="569125"/>
                </a:cubicBezTo>
                <a:cubicBezTo>
                  <a:pt x="659416" y="578245"/>
                  <a:pt x="680376" y="584965"/>
                  <a:pt x="700536" y="595525"/>
                </a:cubicBezTo>
                <a:cubicBezTo>
                  <a:pt x="759256" y="626405"/>
                  <a:pt x="807096" y="673285"/>
                  <a:pt x="864856" y="705925"/>
                </a:cubicBezTo>
                <a:cubicBezTo>
                  <a:pt x="924376" y="739685"/>
                  <a:pt x="976056" y="788165"/>
                  <a:pt x="1017977" y="841765"/>
                </a:cubicBezTo>
                <a:cubicBezTo>
                  <a:pt x="1038136" y="867525"/>
                  <a:pt x="1057336" y="890245"/>
                  <a:pt x="1073017" y="919205"/>
                </a:cubicBezTo>
                <a:cubicBezTo>
                  <a:pt x="1087417" y="946085"/>
                  <a:pt x="1102616" y="972965"/>
                  <a:pt x="1118616" y="999045"/>
                </a:cubicBezTo>
                <a:cubicBezTo>
                  <a:pt x="1118136" y="1007045"/>
                  <a:pt x="1118136" y="1015205"/>
                  <a:pt x="1118296" y="1023525"/>
                </a:cubicBezTo>
                <a:cubicBezTo>
                  <a:pt x="1118937" y="1050245"/>
                  <a:pt x="1123096" y="1077285"/>
                  <a:pt x="1130136" y="1103685"/>
                </a:cubicBezTo>
                <a:cubicBezTo>
                  <a:pt x="1126296" y="1101765"/>
                  <a:pt x="1122457" y="1100325"/>
                  <a:pt x="1119256" y="1099045"/>
                </a:cubicBezTo>
                <a:cubicBezTo>
                  <a:pt x="1099897" y="1091845"/>
                  <a:pt x="1083897" y="1078725"/>
                  <a:pt x="1066136" y="1068165"/>
                </a:cubicBezTo>
                <a:cubicBezTo>
                  <a:pt x="1049336" y="1058085"/>
                  <a:pt x="1032216" y="1048805"/>
                  <a:pt x="1015576" y="1038565"/>
                </a:cubicBezTo>
                <a:cubicBezTo>
                  <a:pt x="997977" y="1027845"/>
                  <a:pt x="981816" y="1013925"/>
                  <a:pt x="965336" y="1001765"/>
                </a:cubicBezTo>
                <a:cubicBezTo>
                  <a:pt x="902937" y="955525"/>
                  <a:pt x="847576" y="902245"/>
                  <a:pt x="792376" y="847685"/>
                </a:cubicBezTo>
                <a:cubicBezTo>
                  <a:pt x="764856" y="820485"/>
                  <a:pt x="738937" y="792165"/>
                  <a:pt x="713977" y="762565"/>
                </a:cubicBezTo>
                <a:cubicBezTo>
                  <a:pt x="701977" y="748325"/>
                  <a:pt x="687896" y="736165"/>
                  <a:pt x="676376" y="721605"/>
                </a:cubicBezTo>
                <a:cubicBezTo>
                  <a:pt x="664216" y="706245"/>
                  <a:pt x="653017" y="690085"/>
                  <a:pt x="640696" y="674725"/>
                </a:cubicBezTo>
                <a:cubicBezTo>
                  <a:pt x="616216" y="644005"/>
                  <a:pt x="589497" y="614245"/>
                  <a:pt x="563256" y="584965"/>
                </a:cubicBezTo>
                <a:cubicBezTo>
                  <a:pt x="550296" y="570565"/>
                  <a:pt x="537176" y="556805"/>
                  <a:pt x="523736" y="543525"/>
                </a:cubicBezTo>
                <a:cubicBezTo>
                  <a:pt x="525656" y="544005"/>
                  <a:pt x="527256" y="544485"/>
                  <a:pt x="528856" y="544805"/>
                </a:cubicBezTo>
                <a:close/>
                <a:moveTo>
                  <a:pt x="429816" y="504165"/>
                </a:moveTo>
                <a:cubicBezTo>
                  <a:pt x="454616" y="517605"/>
                  <a:pt x="479416" y="530565"/>
                  <a:pt x="505977" y="538885"/>
                </a:cubicBezTo>
                <a:cubicBezTo>
                  <a:pt x="511256" y="544005"/>
                  <a:pt x="516696" y="549285"/>
                  <a:pt x="521497" y="554885"/>
                </a:cubicBezTo>
                <a:cubicBezTo>
                  <a:pt x="533816" y="569285"/>
                  <a:pt x="546136" y="583525"/>
                  <a:pt x="558457" y="597925"/>
                </a:cubicBezTo>
                <a:cubicBezTo>
                  <a:pt x="583896" y="627685"/>
                  <a:pt x="609656" y="657925"/>
                  <a:pt x="633816" y="688805"/>
                </a:cubicBezTo>
                <a:cubicBezTo>
                  <a:pt x="645977" y="704165"/>
                  <a:pt x="657017" y="720325"/>
                  <a:pt x="669017" y="735845"/>
                </a:cubicBezTo>
                <a:cubicBezTo>
                  <a:pt x="680376" y="750565"/>
                  <a:pt x="694296" y="762405"/>
                  <a:pt x="706136" y="776645"/>
                </a:cubicBezTo>
                <a:cubicBezTo>
                  <a:pt x="730457" y="805765"/>
                  <a:pt x="756056" y="833445"/>
                  <a:pt x="782937" y="860325"/>
                </a:cubicBezTo>
                <a:cubicBezTo>
                  <a:pt x="837816" y="915205"/>
                  <a:pt x="892696" y="969125"/>
                  <a:pt x="955256" y="1015365"/>
                </a:cubicBezTo>
                <a:cubicBezTo>
                  <a:pt x="987896" y="1039685"/>
                  <a:pt x="1020856" y="1061285"/>
                  <a:pt x="1055897" y="1081925"/>
                </a:cubicBezTo>
                <a:cubicBezTo>
                  <a:pt x="1071256" y="1091045"/>
                  <a:pt x="1085336" y="1102245"/>
                  <a:pt x="1101336" y="1110565"/>
                </a:cubicBezTo>
                <a:cubicBezTo>
                  <a:pt x="1110937" y="1115525"/>
                  <a:pt x="1121176" y="1119205"/>
                  <a:pt x="1130937" y="1124005"/>
                </a:cubicBezTo>
                <a:cubicBezTo>
                  <a:pt x="1132856" y="1125125"/>
                  <a:pt x="1134616" y="1126245"/>
                  <a:pt x="1137336" y="1127365"/>
                </a:cubicBezTo>
                <a:cubicBezTo>
                  <a:pt x="1146136" y="1153765"/>
                  <a:pt x="1157656" y="1179525"/>
                  <a:pt x="1171256" y="1203845"/>
                </a:cubicBezTo>
                <a:cubicBezTo>
                  <a:pt x="1132536" y="1194405"/>
                  <a:pt x="1094296" y="1183685"/>
                  <a:pt x="1057176" y="1168005"/>
                </a:cubicBezTo>
                <a:cubicBezTo>
                  <a:pt x="1011576" y="1148645"/>
                  <a:pt x="965497" y="1130565"/>
                  <a:pt x="920056" y="1110885"/>
                </a:cubicBezTo>
                <a:cubicBezTo>
                  <a:pt x="873816" y="1090885"/>
                  <a:pt x="829017" y="1068965"/>
                  <a:pt x="786136" y="1042405"/>
                </a:cubicBezTo>
                <a:cubicBezTo>
                  <a:pt x="745977" y="1017765"/>
                  <a:pt x="710937" y="985925"/>
                  <a:pt x="673336" y="957605"/>
                </a:cubicBezTo>
                <a:cubicBezTo>
                  <a:pt x="633977" y="927845"/>
                  <a:pt x="599736" y="892165"/>
                  <a:pt x="567096" y="855365"/>
                </a:cubicBezTo>
                <a:cubicBezTo>
                  <a:pt x="535096" y="819205"/>
                  <a:pt x="503576" y="781285"/>
                  <a:pt x="479256" y="739525"/>
                </a:cubicBezTo>
                <a:cubicBezTo>
                  <a:pt x="454776" y="697285"/>
                  <a:pt x="436376" y="651525"/>
                  <a:pt x="423896" y="604325"/>
                </a:cubicBezTo>
                <a:cubicBezTo>
                  <a:pt x="417656" y="580965"/>
                  <a:pt x="413816" y="557605"/>
                  <a:pt x="411576" y="533605"/>
                </a:cubicBezTo>
                <a:cubicBezTo>
                  <a:pt x="410457" y="521285"/>
                  <a:pt x="409656" y="508965"/>
                  <a:pt x="408536" y="496805"/>
                </a:cubicBezTo>
                <a:cubicBezTo>
                  <a:pt x="408376" y="495365"/>
                  <a:pt x="408216" y="492485"/>
                  <a:pt x="407896" y="489285"/>
                </a:cubicBezTo>
                <a:cubicBezTo>
                  <a:pt x="414457" y="495365"/>
                  <a:pt x="423096" y="500485"/>
                  <a:pt x="429816" y="504165"/>
                </a:cubicBezTo>
                <a:close/>
                <a:moveTo>
                  <a:pt x="387416" y="600965"/>
                </a:moveTo>
                <a:cubicBezTo>
                  <a:pt x="390937" y="575525"/>
                  <a:pt x="396376" y="549925"/>
                  <a:pt x="400696" y="524165"/>
                </a:cubicBezTo>
                <a:cubicBezTo>
                  <a:pt x="401656" y="547205"/>
                  <a:pt x="403896" y="570085"/>
                  <a:pt x="408696" y="592645"/>
                </a:cubicBezTo>
                <a:cubicBezTo>
                  <a:pt x="419256" y="641605"/>
                  <a:pt x="437176" y="688485"/>
                  <a:pt x="460056" y="732965"/>
                </a:cubicBezTo>
                <a:cubicBezTo>
                  <a:pt x="481977" y="775525"/>
                  <a:pt x="512216" y="812805"/>
                  <a:pt x="542776" y="849445"/>
                </a:cubicBezTo>
                <a:cubicBezTo>
                  <a:pt x="574937" y="887845"/>
                  <a:pt x="609497" y="925285"/>
                  <a:pt x="648216" y="957285"/>
                </a:cubicBezTo>
                <a:cubicBezTo>
                  <a:pt x="666616" y="972485"/>
                  <a:pt x="686776" y="985605"/>
                  <a:pt x="705017" y="1000965"/>
                </a:cubicBezTo>
                <a:cubicBezTo>
                  <a:pt x="724376" y="1017285"/>
                  <a:pt x="743576" y="1033605"/>
                  <a:pt x="765017" y="1047365"/>
                </a:cubicBezTo>
                <a:cubicBezTo>
                  <a:pt x="808696" y="1075205"/>
                  <a:pt x="854296" y="1099365"/>
                  <a:pt x="901656" y="1120005"/>
                </a:cubicBezTo>
                <a:cubicBezTo>
                  <a:pt x="951096" y="1141605"/>
                  <a:pt x="1001497" y="1160645"/>
                  <a:pt x="1050776" y="1182405"/>
                </a:cubicBezTo>
                <a:cubicBezTo>
                  <a:pt x="1075096" y="1193125"/>
                  <a:pt x="1100216" y="1200965"/>
                  <a:pt x="1125497" y="1208805"/>
                </a:cubicBezTo>
                <a:cubicBezTo>
                  <a:pt x="1143096" y="1214245"/>
                  <a:pt x="1163256" y="1220645"/>
                  <a:pt x="1182136" y="1222405"/>
                </a:cubicBezTo>
                <a:cubicBezTo>
                  <a:pt x="1196536" y="1245605"/>
                  <a:pt x="1212696" y="1267365"/>
                  <a:pt x="1230296" y="1287205"/>
                </a:cubicBezTo>
                <a:cubicBezTo>
                  <a:pt x="1237336" y="1295045"/>
                  <a:pt x="1244696" y="1302565"/>
                  <a:pt x="1252536" y="1309605"/>
                </a:cubicBezTo>
                <a:cubicBezTo>
                  <a:pt x="1163096" y="1298885"/>
                  <a:pt x="1072376" y="1292005"/>
                  <a:pt x="987096" y="1260325"/>
                </a:cubicBezTo>
                <a:cubicBezTo>
                  <a:pt x="935736" y="1241125"/>
                  <a:pt x="885497" y="1216485"/>
                  <a:pt x="838296" y="1188485"/>
                </a:cubicBezTo>
                <a:cubicBezTo>
                  <a:pt x="791576" y="1160805"/>
                  <a:pt x="745656" y="1132165"/>
                  <a:pt x="703576" y="1097925"/>
                </a:cubicBezTo>
                <a:cubicBezTo>
                  <a:pt x="624536" y="1033925"/>
                  <a:pt x="545497" y="963845"/>
                  <a:pt x="490296" y="877445"/>
                </a:cubicBezTo>
                <a:cubicBezTo>
                  <a:pt x="461656" y="832645"/>
                  <a:pt x="439576" y="782885"/>
                  <a:pt x="419256" y="734085"/>
                </a:cubicBezTo>
                <a:cubicBezTo>
                  <a:pt x="404216" y="697925"/>
                  <a:pt x="393497" y="660165"/>
                  <a:pt x="385176" y="621925"/>
                </a:cubicBezTo>
                <a:cubicBezTo>
                  <a:pt x="385497" y="614885"/>
                  <a:pt x="386457" y="607845"/>
                  <a:pt x="387416" y="600965"/>
                </a:cubicBezTo>
                <a:close/>
                <a:moveTo>
                  <a:pt x="1202776" y="1348325"/>
                </a:moveTo>
                <a:cubicBezTo>
                  <a:pt x="1181017" y="1350885"/>
                  <a:pt x="1160536" y="1348485"/>
                  <a:pt x="1138937" y="1352165"/>
                </a:cubicBezTo>
                <a:cubicBezTo>
                  <a:pt x="1127736" y="1354085"/>
                  <a:pt x="1116536" y="1352325"/>
                  <a:pt x="1105497" y="1351045"/>
                </a:cubicBezTo>
                <a:cubicBezTo>
                  <a:pt x="1089977" y="1349125"/>
                  <a:pt x="1074457" y="1348965"/>
                  <a:pt x="1058937" y="1348645"/>
                </a:cubicBezTo>
                <a:cubicBezTo>
                  <a:pt x="1001497" y="1347845"/>
                  <a:pt x="946616" y="1331365"/>
                  <a:pt x="893497" y="1310085"/>
                </a:cubicBezTo>
                <a:cubicBezTo>
                  <a:pt x="842136" y="1289445"/>
                  <a:pt x="792856" y="1267205"/>
                  <a:pt x="745977" y="1237445"/>
                </a:cubicBezTo>
                <a:cubicBezTo>
                  <a:pt x="700056" y="1208165"/>
                  <a:pt x="660216" y="1171045"/>
                  <a:pt x="622136" y="1132165"/>
                </a:cubicBezTo>
                <a:cubicBezTo>
                  <a:pt x="586136" y="1095365"/>
                  <a:pt x="554937" y="1057605"/>
                  <a:pt x="526616" y="1014565"/>
                </a:cubicBezTo>
                <a:cubicBezTo>
                  <a:pt x="512856" y="993605"/>
                  <a:pt x="494937" y="975365"/>
                  <a:pt x="480536" y="954565"/>
                </a:cubicBezTo>
                <a:cubicBezTo>
                  <a:pt x="464376" y="931525"/>
                  <a:pt x="451736" y="906565"/>
                  <a:pt x="438136" y="882085"/>
                </a:cubicBezTo>
                <a:cubicBezTo>
                  <a:pt x="425816" y="859845"/>
                  <a:pt x="413497" y="837605"/>
                  <a:pt x="404696" y="813765"/>
                </a:cubicBezTo>
                <a:cubicBezTo>
                  <a:pt x="395256" y="788005"/>
                  <a:pt x="389336" y="758725"/>
                  <a:pt x="385336" y="731525"/>
                </a:cubicBezTo>
                <a:cubicBezTo>
                  <a:pt x="381176" y="704165"/>
                  <a:pt x="380856" y="676485"/>
                  <a:pt x="382616" y="648965"/>
                </a:cubicBezTo>
                <a:cubicBezTo>
                  <a:pt x="389336" y="676485"/>
                  <a:pt x="398776" y="703205"/>
                  <a:pt x="406296" y="730565"/>
                </a:cubicBezTo>
                <a:cubicBezTo>
                  <a:pt x="412856" y="753925"/>
                  <a:pt x="425017" y="776645"/>
                  <a:pt x="435096" y="798725"/>
                </a:cubicBezTo>
                <a:cubicBezTo>
                  <a:pt x="446616" y="824165"/>
                  <a:pt x="458296" y="849125"/>
                  <a:pt x="472056" y="873285"/>
                </a:cubicBezTo>
                <a:cubicBezTo>
                  <a:pt x="522136" y="960805"/>
                  <a:pt x="598776" y="1028005"/>
                  <a:pt x="674136" y="1093125"/>
                </a:cubicBezTo>
                <a:cubicBezTo>
                  <a:pt x="755256" y="1163365"/>
                  <a:pt x="850776" y="1218885"/>
                  <a:pt x="948856" y="1261925"/>
                </a:cubicBezTo>
                <a:cubicBezTo>
                  <a:pt x="1041176" y="1302565"/>
                  <a:pt x="1141336" y="1313285"/>
                  <a:pt x="1240376" y="1323845"/>
                </a:cubicBezTo>
                <a:cubicBezTo>
                  <a:pt x="1249017" y="1324805"/>
                  <a:pt x="1257656" y="1326085"/>
                  <a:pt x="1266456" y="1327205"/>
                </a:cubicBezTo>
                <a:cubicBezTo>
                  <a:pt x="1266456" y="1327205"/>
                  <a:pt x="1266456" y="1327205"/>
                  <a:pt x="1266616" y="1327205"/>
                </a:cubicBezTo>
                <a:lnTo>
                  <a:pt x="1269017" y="1327525"/>
                </a:lnTo>
                <a:cubicBezTo>
                  <a:pt x="1270776" y="1327685"/>
                  <a:pt x="1272217" y="1327365"/>
                  <a:pt x="1273496" y="1326885"/>
                </a:cubicBezTo>
                <a:cubicBezTo>
                  <a:pt x="1278937" y="1331045"/>
                  <a:pt x="1284376" y="1335045"/>
                  <a:pt x="1289977" y="1338725"/>
                </a:cubicBezTo>
                <a:cubicBezTo>
                  <a:pt x="1260856" y="1340805"/>
                  <a:pt x="1232057" y="1344805"/>
                  <a:pt x="1202776" y="1348325"/>
                </a:cubicBezTo>
                <a:close/>
                <a:moveTo>
                  <a:pt x="1324217" y="1327365"/>
                </a:moveTo>
                <a:cubicBezTo>
                  <a:pt x="1281177" y="1302885"/>
                  <a:pt x="1247576" y="1269925"/>
                  <a:pt x="1219096" y="1228965"/>
                </a:cubicBezTo>
                <a:cubicBezTo>
                  <a:pt x="1162616" y="1147525"/>
                  <a:pt x="1124856" y="1040005"/>
                  <a:pt x="1154136" y="941445"/>
                </a:cubicBezTo>
                <a:cubicBezTo>
                  <a:pt x="1169336" y="890565"/>
                  <a:pt x="1206616" y="842885"/>
                  <a:pt x="1240856" y="803525"/>
                </a:cubicBezTo>
                <a:cubicBezTo>
                  <a:pt x="1248536" y="794565"/>
                  <a:pt x="1255416" y="785445"/>
                  <a:pt x="1262456" y="776005"/>
                </a:cubicBezTo>
                <a:cubicBezTo>
                  <a:pt x="1269496" y="766405"/>
                  <a:pt x="1279097" y="760005"/>
                  <a:pt x="1288536" y="753125"/>
                </a:cubicBezTo>
                <a:cubicBezTo>
                  <a:pt x="1284217" y="762725"/>
                  <a:pt x="1280217" y="772485"/>
                  <a:pt x="1276217" y="782085"/>
                </a:cubicBezTo>
                <a:cubicBezTo>
                  <a:pt x="1261977" y="816325"/>
                  <a:pt x="1250616" y="853285"/>
                  <a:pt x="1243576" y="889765"/>
                </a:cubicBezTo>
                <a:cubicBezTo>
                  <a:pt x="1235736" y="930245"/>
                  <a:pt x="1239736" y="970085"/>
                  <a:pt x="1244856" y="1010565"/>
                </a:cubicBezTo>
                <a:cubicBezTo>
                  <a:pt x="1249977" y="1050405"/>
                  <a:pt x="1248536" y="1091205"/>
                  <a:pt x="1259897" y="1130085"/>
                </a:cubicBezTo>
                <a:cubicBezTo>
                  <a:pt x="1270296" y="1165605"/>
                  <a:pt x="1290937" y="1195845"/>
                  <a:pt x="1307416" y="1228485"/>
                </a:cubicBezTo>
                <a:cubicBezTo>
                  <a:pt x="1325336" y="1264005"/>
                  <a:pt x="1353816" y="1286405"/>
                  <a:pt x="1380696" y="1314885"/>
                </a:cubicBezTo>
                <a:cubicBezTo>
                  <a:pt x="1404536" y="1340005"/>
                  <a:pt x="1432536" y="1362405"/>
                  <a:pt x="1462456" y="1379365"/>
                </a:cubicBezTo>
                <a:cubicBezTo>
                  <a:pt x="1463097" y="1379685"/>
                  <a:pt x="1463736" y="1380165"/>
                  <a:pt x="1464536" y="1380485"/>
                </a:cubicBezTo>
                <a:cubicBezTo>
                  <a:pt x="1455097" y="1378565"/>
                  <a:pt x="1445816" y="1376325"/>
                  <a:pt x="1436696" y="1373765"/>
                </a:cubicBezTo>
                <a:cubicBezTo>
                  <a:pt x="1419416" y="1371525"/>
                  <a:pt x="1401656" y="1366085"/>
                  <a:pt x="1386616" y="1360965"/>
                </a:cubicBezTo>
                <a:cubicBezTo>
                  <a:pt x="1384856" y="1359845"/>
                  <a:pt x="1382776" y="1359045"/>
                  <a:pt x="1380696" y="1358885"/>
                </a:cubicBezTo>
                <a:cubicBezTo>
                  <a:pt x="1379257" y="1358405"/>
                  <a:pt x="1377656" y="1357765"/>
                  <a:pt x="1376376" y="1357285"/>
                </a:cubicBezTo>
                <a:cubicBezTo>
                  <a:pt x="1357496" y="1350245"/>
                  <a:pt x="1337977" y="1341605"/>
                  <a:pt x="1324217" y="1327365"/>
                </a:cubicBezTo>
                <a:close/>
                <a:moveTo>
                  <a:pt x="458616" y="1474885"/>
                </a:moveTo>
                <a:cubicBezTo>
                  <a:pt x="511256" y="1460645"/>
                  <a:pt x="562776" y="1456965"/>
                  <a:pt x="616856" y="1453285"/>
                </a:cubicBezTo>
                <a:cubicBezTo>
                  <a:pt x="644216" y="1451525"/>
                  <a:pt x="671576" y="1449445"/>
                  <a:pt x="698937" y="1448325"/>
                </a:cubicBezTo>
                <a:cubicBezTo>
                  <a:pt x="727736" y="1447205"/>
                  <a:pt x="756376" y="1451205"/>
                  <a:pt x="785017" y="1449285"/>
                </a:cubicBezTo>
                <a:cubicBezTo>
                  <a:pt x="814616" y="1447365"/>
                  <a:pt x="844216" y="1445765"/>
                  <a:pt x="873816" y="1445925"/>
                </a:cubicBezTo>
                <a:cubicBezTo>
                  <a:pt x="903896" y="1446245"/>
                  <a:pt x="933497" y="1451045"/>
                  <a:pt x="963576" y="1452165"/>
                </a:cubicBezTo>
                <a:cubicBezTo>
                  <a:pt x="1016216" y="1454085"/>
                  <a:pt x="1068536" y="1456645"/>
                  <a:pt x="1121336" y="1454565"/>
                </a:cubicBezTo>
                <a:cubicBezTo>
                  <a:pt x="1146776" y="1453445"/>
                  <a:pt x="1172216" y="1452805"/>
                  <a:pt x="1197497" y="1451045"/>
                </a:cubicBezTo>
                <a:cubicBezTo>
                  <a:pt x="1224856" y="1448965"/>
                  <a:pt x="1250776" y="1442405"/>
                  <a:pt x="1277816" y="1438565"/>
                </a:cubicBezTo>
                <a:cubicBezTo>
                  <a:pt x="1296376" y="1435845"/>
                  <a:pt x="1314296" y="1427845"/>
                  <a:pt x="1331736" y="1421445"/>
                </a:cubicBezTo>
                <a:cubicBezTo>
                  <a:pt x="1346456" y="1416005"/>
                  <a:pt x="1357977" y="1406085"/>
                  <a:pt x="1370456" y="1397125"/>
                </a:cubicBezTo>
                <a:cubicBezTo>
                  <a:pt x="1369656" y="1398085"/>
                  <a:pt x="1368856" y="1398885"/>
                  <a:pt x="1368057" y="1399685"/>
                </a:cubicBezTo>
                <a:cubicBezTo>
                  <a:pt x="1352856" y="1414405"/>
                  <a:pt x="1335736" y="1428645"/>
                  <a:pt x="1317496" y="1439365"/>
                </a:cubicBezTo>
                <a:cubicBezTo>
                  <a:pt x="1274937" y="1464005"/>
                  <a:pt x="1225816" y="1474085"/>
                  <a:pt x="1178296" y="1484165"/>
                </a:cubicBezTo>
                <a:cubicBezTo>
                  <a:pt x="1128696" y="1494565"/>
                  <a:pt x="1081977" y="1508485"/>
                  <a:pt x="1030937" y="1510405"/>
                </a:cubicBezTo>
                <a:cubicBezTo>
                  <a:pt x="977977" y="1512325"/>
                  <a:pt x="925017" y="1503205"/>
                  <a:pt x="872056" y="1500965"/>
                </a:cubicBezTo>
                <a:cubicBezTo>
                  <a:pt x="849176" y="1500005"/>
                  <a:pt x="826136" y="1498725"/>
                  <a:pt x="803256" y="1498565"/>
                </a:cubicBezTo>
                <a:cubicBezTo>
                  <a:pt x="777977" y="1498245"/>
                  <a:pt x="752856" y="1500805"/>
                  <a:pt x="727576" y="1500645"/>
                </a:cubicBezTo>
                <a:cubicBezTo>
                  <a:pt x="679736" y="1500485"/>
                  <a:pt x="632696" y="1485445"/>
                  <a:pt x="585176" y="1481125"/>
                </a:cubicBezTo>
                <a:cubicBezTo>
                  <a:pt x="535896" y="1476645"/>
                  <a:pt x="487096" y="1481605"/>
                  <a:pt x="437656" y="1481285"/>
                </a:cubicBezTo>
                <a:cubicBezTo>
                  <a:pt x="436696" y="1481285"/>
                  <a:pt x="435576" y="1481285"/>
                  <a:pt x="434457" y="1481285"/>
                </a:cubicBezTo>
                <a:cubicBezTo>
                  <a:pt x="442296" y="1479205"/>
                  <a:pt x="450616" y="1477125"/>
                  <a:pt x="458616" y="1474885"/>
                </a:cubicBezTo>
                <a:close/>
                <a:moveTo>
                  <a:pt x="235896" y="1563525"/>
                </a:moveTo>
                <a:cubicBezTo>
                  <a:pt x="258457" y="1549765"/>
                  <a:pt x="283096" y="1539685"/>
                  <a:pt x="306776" y="1528165"/>
                </a:cubicBezTo>
                <a:cubicBezTo>
                  <a:pt x="325497" y="1519045"/>
                  <a:pt x="344536" y="1510245"/>
                  <a:pt x="363736" y="1502405"/>
                </a:cubicBezTo>
                <a:cubicBezTo>
                  <a:pt x="364696" y="1503525"/>
                  <a:pt x="366776" y="1504005"/>
                  <a:pt x="367896" y="1502565"/>
                </a:cubicBezTo>
                <a:cubicBezTo>
                  <a:pt x="368696" y="1501605"/>
                  <a:pt x="369497" y="1500805"/>
                  <a:pt x="370296" y="1499845"/>
                </a:cubicBezTo>
                <a:cubicBezTo>
                  <a:pt x="371736" y="1499205"/>
                  <a:pt x="373176" y="1498725"/>
                  <a:pt x="374776" y="1498085"/>
                </a:cubicBezTo>
                <a:cubicBezTo>
                  <a:pt x="382296" y="1495205"/>
                  <a:pt x="390136" y="1492805"/>
                  <a:pt x="397977" y="1490405"/>
                </a:cubicBezTo>
                <a:cubicBezTo>
                  <a:pt x="404696" y="1490245"/>
                  <a:pt x="411576" y="1490725"/>
                  <a:pt x="417977" y="1490725"/>
                </a:cubicBezTo>
                <a:cubicBezTo>
                  <a:pt x="440376" y="1490565"/>
                  <a:pt x="462937" y="1492325"/>
                  <a:pt x="485336" y="1492965"/>
                </a:cubicBezTo>
                <a:cubicBezTo>
                  <a:pt x="509816" y="1493605"/>
                  <a:pt x="533977" y="1489125"/>
                  <a:pt x="558616" y="1491045"/>
                </a:cubicBezTo>
                <a:cubicBezTo>
                  <a:pt x="581176" y="1492645"/>
                  <a:pt x="604376" y="1495525"/>
                  <a:pt x="626776" y="1499205"/>
                </a:cubicBezTo>
                <a:cubicBezTo>
                  <a:pt x="649497" y="1502885"/>
                  <a:pt x="671896" y="1509125"/>
                  <a:pt x="694776" y="1512485"/>
                </a:cubicBezTo>
                <a:cubicBezTo>
                  <a:pt x="716376" y="1515685"/>
                  <a:pt x="738136" y="1515205"/>
                  <a:pt x="759896" y="1514405"/>
                </a:cubicBezTo>
                <a:cubicBezTo>
                  <a:pt x="807736" y="1512485"/>
                  <a:pt x="856376" y="1514885"/>
                  <a:pt x="904216" y="1518405"/>
                </a:cubicBezTo>
                <a:cubicBezTo>
                  <a:pt x="951736" y="1521925"/>
                  <a:pt x="998776" y="1528165"/>
                  <a:pt x="1046457" y="1525925"/>
                </a:cubicBezTo>
                <a:cubicBezTo>
                  <a:pt x="1094776" y="1523685"/>
                  <a:pt x="1140056" y="1509125"/>
                  <a:pt x="1187096" y="1499205"/>
                </a:cubicBezTo>
                <a:cubicBezTo>
                  <a:pt x="1231097" y="1490085"/>
                  <a:pt x="1273336" y="1479205"/>
                  <a:pt x="1314137" y="1459845"/>
                </a:cubicBezTo>
                <a:cubicBezTo>
                  <a:pt x="1331897" y="1451365"/>
                  <a:pt x="1347897" y="1440005"/>
                  <a:pt x="1362296" y="1426725"/>
                </a:cubicBezTo>
                <a:cubicBezTo>
                  <a:pt x="1369177" y="1420325"/>
                  <a:pt x="1377177" y="1414885"/>
                  <a:pt x="1383416" y="1407845"/>
                </a:cubicBezTo>
                <a:cubicBezTo>
                  <a:pt x="1386137" y="1404805"/>
                  <a:pt x="1391897" y="1395045"/>
                  <a:pt x="1397017" y="1390405"/>
                </a:cubicBezTo>
                <a:cubicBezTo>
                  <a:pt x="1404696" y="1392965"/>
                  <a:pt x="1412376" y="1395365"/>
                  <a:pt x="1420217" y="1397445"/>
                </a:cubicBezTo>
                <a:cubicBezTo>
                  <a:pt x="1418616" y="1400805"/>
                  <a:pt x="1404696" y="1408005"/>
                  <a:pt x="1401977" y="1410085"/>
                </a:cubicBezTo>
                <a:cubicBezTo>
                  <a:pt x="1392376" y="1417445"/>
                  <a:pt x="1383097" y="1424965"/>
                  <a:pt x="1374137" y="1432965"/>
                </a:cubicBezTo>
                <a:cubicBezTo>
                  <a:pt x="1365656" y="1440485"/>
                  <a:pt x="1355897" y="1445605"/>
                  <a:pt x="1347097" y="1452485"/>
                </a:cubicBezTo>
                <a:cubicBezTo>
                  <a:pt x="1335416" y="1461445"/>
                  <a:pt x="1324217" y="1471045"/>
                  <a:pt x="1311257" y="1477925"/>
                </a:cubicBezTo>
                <a:cubicBezTo>
                  <a:pt x="1289336" y="1489445"/>
                  <a:pt x="1270616" y="1506085"/>
                  <a:pt x="1247897" y="1516805"/>
                </a:cubicBezTo>
                <a:cubicBezTo>
                  <a:pt x="1224056" y="1528165"/>
                  <a:pt x="1199736" y="1541445"/>
                  <a:pt x="1174136" y="1548325"/>
                </a:cubicBezTo>
                <a:cubicBezTo>
                  <a:pt x="1121336" y="1562405"/>
                  <a:pt x="1066937" y="1570085"/>
                  <a:pt x="1012856" y="1576325"/>
                </a:cubicBezTo>
                <a:cubicBezTo>
                  <a:pt x="962296" y="1582245"/>
                  <a:pt x="911416" y="1579685"/>
                  <a:pt x="860856" y="1582565"/>
                </a:cubicBezTo>
                <a:cubicBezTo>
                  <a:pt x="807256" y="1585605"/>
                  <a:pt x="752056" y="1580965"/>
                  <a:pt x="698616" y="1574245"/>
                </a:cubicBezTo>
                <a:cubicBezTo>
                  <a:pt x="673977" y="1571205"/>
                  <a:pt x="649336" y="1567205"/>
                  <a:pt x="624536" y="1565445"/>
                </a:cubicBezTo>
                <a:cubicBezTo>
                  <a:pt x="596696" y="1563365"/>
                  <a:pt x="568696" y="1558885"/>
                  <a:pt x="540856" y="1557605"/>
                </a:cubicBezTo>
                <a:cubicBezTo>
                  <a:pt x="490296" y="1555205"/>
                  <a:pt x="439736" y="1543845"/>
                  <a:pt x="389017" y="1544485"/>
                </a:cubicBezTo>
                <a:cubicBezTo>
                  <a:pt x="363416" y="1544805"/>
                  <a:pt x="336696" y="1547365"/>
                  <a:pt x="311256" y="1549605"/>
                </a:cubicBezTo>
                <a:cubicBezTo>
                  <a:pt x="285497" y="1551845"/>
                  <a:pt x="262457" y="1561285"/>
                  <a:pt x="237656" y="1567205"/>
                </a:cubicBezTo>
                <a:cubicBezTo>
                  <a:pt x="234296" y="1568005"/>
                  <a:pt x="230776" y="1568805"/>
                  <a:pt x="227256" y="1569605"/>
                </a:cubicBezTo>
                <a:cubicBezTo>
                  <a:pt x="229656" y="1567365"/>
                  <a:pt x="232856" y="1565445"/>
                  <a:pt x="235896" y="1563525"/>
                </a:cubicBezTo>
                <a:close/>
                <a:moveTo>
                  <a:pt x="139096" y="1618405"/>
                </a:moveTo>
                <a:cubicBezTo>
                  <a:pt x="151256" y="1611685"/>
                  <a:pt x="163896" y="1605925"/>
                  <a:pt x="176376" y="1599685"/>
                </a:cubicBezTo>
                <a:cubicBezTo>
                  <a:pt x="189497" y="1593285"/>
                  <a:pt x="201656" y="1585445"/>
                  <a:pt x="213656" y="1577605"/>
                </a:cubicBezTo>
                <a:cubicBezTo>
                  <a:pt x="230776" y="1578085"/>
                  <a:pt x="248216" y="1573285"/>
                  <a:pt x="264376" y="1568805"/>
                </a:cubicBezTo>
                <a:cubicBezTo>
                  <a:pt x="290776" y="1561605"/>
                  <a:pt x="316856" y="1560645"/>
                  <a:pt x="344056" y="1559845"/>
                </a:cubicBezTo>
                <a:cubicBezTo>
                  <a:pt x="357176" y="1559365"/>
                  <a:pt x="370457" y="1557765"/>
                  <a:pt x="383576" y="1556965"/>
                </a:cubicBezTo>
                <a:cubicBezTo>
                  <a:pt x="397816" y="1556165"/>
                  <a:pt x="412216" y="1558885"/>
                  <a:pt x="426457" y="1560005"/>
                </a:cubicBezTo>
                <a:cubicBezTo>
                  <a:pt x="453336" y="1562245"/>
                  <a:pt x="479896" y="1566085"/>
                  <a:pt x="506616" y="1568965"/>
                </a:cubicBezTo>
                <a:cubicBezTo>
                  <a:pt x="559096" y="1574725"/>
                  <a:pt x="611896" y="1578405"/>
                  <a:pt x="664216" y="1585285"/>
                </a:cubicBezTo>
                <a:cubicBezTo>
                  <a:pt x="716536" y="1592165"/>
                  <a:pt x="769017" y="1598085"/>
                  <a:pt x="821816" y="1599845"/>
                </a:cubicBezTo>
                <a:cubicBezTo>
                  <a:pt x="872376" y="1601605"/>
                  <a:pt x="922776" y="1595205"/>
                  <a:pt x="973017" y="1595845"/>
                </a:cubicBezTo>
                <a:cubicBezTo>
                  <a:pt x="1026296" y="1596485"/>
                  <a:pt x="1081176" y="1585125"/>
                  <a:pt x="1133176" y="1575045"/>
                </a:cubicBezTo>
                <a:cubicBezTo>
                  <a:pt x="1182136" y="1565605"/>
                  <a:pt x="1226457" y="1548005"/>
                  <a:pt x="1270296" y="1524325"/>
                </a:cubicBezTo>
                <a:cubicBezTo>
                  <a:pt x="1290616" y="1513285"/>
                  <a:pt x="1310937" y="1499845"/>
                  <a:pt x="1329977" y="1486725"/>
                </a:cubicBezTo>
                <a:cubicBezTo>
                  <a:pt x="1342456" y="1478085"/>
                  <a:pt x="1355257" y="1469285"/>
                  <a:pt x="1367416" y="1460005"/>
                </a:cubicBezTo>
                <a:cubicBezTo>
                  <a:pt x="1351416" y="1477445"/>
                  <a:pt x="1334776" y="1493925"/>
                  <a:pt x="1314296" y="1506245"/>
                </a:cubicBezTo>
                <a:cubicBezTo>
                  <a:pt x="1302137" y="1513605"/>
                  <a:pt x="1291736" y="1523365"/>
                  <a:pt x="1279257" y="1530405"/>
                </a:cubicBezTo>
                <a:cubicBezTo>
                  <a:pt x="1268536" y="1536485"/>
                  <a:pt x="1257336" y="1541765"/>
                  <a:pt x="1246137" y="1547045"/>
                </a:cubicBezTo>
                <a:cubicBezTo>
                  <a:pt x="1220536" y="1558725"/>
                  <a:pt x="1194296" y="1566085"/>
                  <a:pt x="1167417" y="1574085"/>
                </a:cubicBezTo>
                <a:cubicBezTo>
                  <a:pt x="1142296" y="1581605"/>
                  <a:pt x="1115096" y="1586405"/>
                  <a:pt x="1089336" y="1591685"/>
                </a:cubicBezTo>
                <a:cubicBezTo>
                  <a:pt x="1061497" y="1597445"/>
                  <a:pt x="1033656" y="1604485"/>
                  <a:pt x="1005816" y="1609925"/>
                </a:cubicBezTo>
                <a:cubicBezTo>
                  <a:pt x="954296" y="1619845"/>
                  <a:pt x="902937" y="1629125"/>
                  <a:pt x="851096" y="1636005"/>
                </a:cubicBezTo>
                <a:cubicBezTo>
                  <a:pt x="801497" y="1642565"/>
                  <a:pt x="752216" y="1642565"/>
                  <a:pt x="702457" y="1644645"/>
                </a:cubicBezTo>
                <a:cubicBezTo>
                  <a:pt x="679736" y="1645605"/>
                  <a:pt x="657497" y="1649125"/>
                  <a:pt x="634457" y="1649605"/>
                </a:cubicBezTo>
                <a:cubicBezTo>
                  <a:pt x="605656" y="1650085"/>
                  <a:pt x="577816" y="1641125"/>
                  <a:pt x="549017" y="1640165"/>
                </a:cubicBezTo>
                <a:cubicBezTo>
                  <a:pt x="495896" y="1638405"/>
                  <a:pt x="442776" y="1633605"/>
                  <a:pt x="389656" y="1632645"/>
                </a:cubicBezTo>
                <a:cubicBezTo>
                  <a:pt x="363256" y="1632165"/>
                  <a:pt x="338776" y="1630885"/>
                  <a:pt x="312696" y="1626725"/>
                </a:cubicBezTo>
                <a:cubicBezTo>
                  <a:pt x="289497" y="1623045"/>
                  <a:pt x="264856" y="1622405"/>
                  <a:pt x="241497" y="1622405"/>
                </a:cubicBezTo>
                <a:cubicBezTo>
                  <a:pt x="223736" y="1622405"/>
                  <a:pt x="204536" y="1618725"/>
                  <a:pt x="187096" y="1621125"/>
                </a:cubicBezTo>
                <a:cubicBezTo>
                  <a:pt x="166457" y="1624005"/>
                  <a:pt x="143096" y="1624165"/>
                  <a:pt x="123256" y="1630725"/>
                </a:cubicBezTo>
                <a:cubicBezTo>
                  <a:pt x="121656" y="1631205"/>
                  <a:pt x="120056" y="1631845"/>
                  <a:pt x="118457" y="1632485"/>
                </a:cubicBezTo>
                <a:cubicBezTo>
                  <a:pt x="125497" y="1628005"/>
                  <a:pt x="132536" y="1622085"/>
                  <a:pt x="139096" y="1618405"/>
                </a:cubicBezTo>
                <a:close/>
                <a:moveTo>
                  <a:pt x="149176" y="1718725"/>
                </a:moveTo>
                <a:cubicBezTo>
                  <a:pt x="133656" y="1715845"/>
                  <a:pt x="118136" y="1716805"/>
                  <a:pt x="102776" y="1714885"/>
                </a:cubicBezTo>
                <a:cubicBezTo>
                  <a:pt x="80856" y="1712165"/>
                  <a:pt x="59736" y="1714885"/>
                  <a:pt x="38457" y="1715685"/>
                </a:cubicBezTo>
                <a:cubicBezTo>
                  <a:pt x="53816" y="1709285"/>
                  <a:pt x="68376" y="1688005"/>
                  <a:pt x="77656" y="1678245"/>
                </a:cubicBezTo>
                <a:cubicBezTo>
                  <a:pt x="84856" y="1670725"/>
                  <a:pt x="91256" y="1662725"/>
                  <a:pt x="97497" y="1654565"/>
                </a:cubicBezTo>
                <a:cubicBezTo>
                  <a:pt x="97497" y="1654565"/>
                  <a:pt x="97497" y="1654565"/>
                  <a:pt x="97497" y="1654565"/>
                </a:cubicBezTo>
                <a:cubicBezTo>
                  <a:pt x="109656" y="1649765"/>
                  <a:pt x="119896" y="1643525"/>
                  <a:pt x="133017" y="1640805"/>
                </a:cubicBezTo>
                <a:cubicBezTo>
                  <a:pt x="155256" y="1636005"/>
                  <a:pt x="180056" y="1635845"/>
                  <a:pt x="202616" y="1635685"/>
                </a:cubicBezTo>
                <a:cubicBezTo>
                  <a:pt x="249816" y="1635365"/>
                  <a:pt x="295896" y="1639685"/>
                  <a:pt x="342776" y="1646405"/>
                </a:cubicBezTo>
                <a:cubicBezTo>
                  <a:pt x="368536" y="1650085"/>
                  <a:pt x="395256" y="1647365"/>
                  <a:pt x="421176" y="1648805"/>
                </a:cubicBezTo>
                <a:cubicBezTo>
                  <a:pt x="449017" y="1650245"/>
                  <a:pt x="476856" y="1651205"/>
                  <a:pt x="504536" y="1652805"/>
                </a:cubicBezTo>
                <a:cubicBezTo>
                  <a:pt x="529017" y="1654245"/>
                  <a:pt x="554136" y="1654885"/>
                  <a:pt x="578457" y="1658565"/>
                </a:cubicBezTo>
                <a:cubicBezTo>
                  <a:pt x="605336" y="1662725"/>
                  <a:pt x="630457" y="1665445"/>
                  <a:pt x="657656" y="1665605"/>
                </a:cubicBezTo>
                <a:cubicBezTo>
                  <a:pt x="680376" y="1665605"/>
                  <a:pt x="702136" y="1660165"/>
                  <a:pt x="725017" y="1660965"/>
                </a:cubicBezTo>
                <a:cubicBezTo>
                  <a:pt x="748696" y="1661925"/>
                  <a:pt x="773017" y="1659685"/>
                  <a:pt x="796536" y="1658565"/>
                </a:cubicBezTo>
                <a:cubicBezTo>
                  <a:pt x="848856" y="1656165"/>
                  <a:pt x="901816" y="1647365"/>
                  <a:pt x="952856" y="1636805"/>
                </a:cubicBezTo>
                <a:cubicBezTo>
                  <a:pt x="1005816" y="1625925"/>
                  <a:pt x="1059256" y="1616485"/>
                  <a:pt x="1112056" y="1604645"/>
                </a:cubicBezTo>
                <a:cubicBezTo>
                  <a:pt x="1162457" y="1593285"/>
                  <a:pt x="1211736" y="1582245"/>
                  <a:pt x="1258937" y="1560485"/>
                </a:cubicBezTo>
                <a:cubicBezTo>
                  <a:pt x="1295736" y="1543525"/>
                  <a:pt x="1332057" y="1519685"/>
                  <a:pt x="1361496" y="1491685"/>
                </a:cubicBezTo>
                <a:cubicBezTo>
                  <a:pt x="1375736" y="1478085"/>
                  <a:pt x="1388376" y="1463045"/>
                  <a:pt x="1401496" y="1448325"/>
                </a:cubicBezTo>
                <a:cubicBezTo>
                  <a:pt x="1414616" y="1433765"/>
                  <a:pt x="1430937" y="1420965"/>
                  <a:pt x="1437496" y="1401925"/>
                </a:cubicBezTo>
                <a:cubicBezTo>
                  <a:pt x="1438776" y="1402245"/>
                  <a:pt x="1440057" y="1402565"/>
                  <a:pt x="1441336" y="1402725"/>
                </a:cubicBezTo>
                <a:cubicBezTo>
                  <a:pt x="1439416" y="1413285"/>
                  <a:pt x="1436376" y="1422245"/>
                  <a:pt x="1427897" y="1430245"/>
                </a:cubicBezTo>
                <a:cubicBezTo>
                  <a:pt x="1420696" y="1436965"/>
                  <a:pt x="1414776" y="1443525"/>
                  <a:pt x="1408057" y="1450885"/>
                </a:cubicBezTo>
                <a:cubicBezTo>
                  <a:pt x="1391416" y="1469285"/>
                  <a:pt x="1372376" y="1487685"/>
                  <a:pt x="1353017" y="1503205"/>
                </a:cubicBezTo>
                <a:cubicBezTo>
                  <a:pt x="1313177" y="1535045"/>
                  <a:pt x="1271736" y="1566405"/>
                  <a:pt x="1228536" y="1593605"/>
                </a:cubicBezTo>
                <a:cubicBezTo>
                  <a:pt x="1180856" y="1623685"/>
                  <a:pt x="1133176" y="1648165"/>
                  <a:pt x="1080376" y="1668005"/>
                </a:cubicBezTo>
                <a:cubicBezTo>
                  <a:pt x="1054776" y="1677765"/>
                  <a:pt x="1029656" y="1681765"/>
                  <a:pt x="1003096" y="1687525"/>
                </a:cubicBezTo>
                <a:cubicBezTo>
                  <a:pt x="975256" y="1693605"/>
                  <a:pt x="948216" y="1702725"/>
                  <a:pt x="920056" y="1707205"/>
                </a:cubicBezTo>
                <a:cubicBezTo>
                  <a:pt x="868536" y="1715525"/>
                  <a:pt x="817977" y="1722405"/>
                  <a:pt x="765656" y="1722085"/>
                </a:cubicBezTo>
                <a:cubicBezTo>
                  <a:pt x="741656" y="1721925"/>
                  <a:pt x="717656" y="1720165"/>
                  <a:pt x="693656" y="1719365"/>
                </a:cubicBezTo>
                <a:cubicBezTo>
                  <a:pt x="665497" y="1718405"/>
                  <a:pt x="637017" y="1720165"/>
                  <a:pt x="608856" y="1719845"/>
                </a:cubicBezTo>
                <a:cubicBezTo>
                  <a:pt x="583736" y="1719365"/>
                  <a:pt x="558616" y="1721925"/>
                  <a:pt x="533656" y="1723365"/>
                </a:cubicBezTo>
                <a:cubicBezTo>
                  <a:pt x="501977" y="1724965"/>
                  <a:pt x="470296" y="1724805"/>
                  <a:pt x="438616" y="1724005"/>
                </a:cubicBezTo>
                <a:cubicBezTo>
                  <a:pt x="383096" y="1722885"/>
                  <a:pt x="328216" y="1714085"/>
                  <a:pt x="272856" y="1712805"/>
                </a:cubicBezTo>
                <a:cubicBezTo>
                  <a:pt x="246616" y="1712165"/>
                  <a:pt x="223736" y="1710085"/>
                  <a:pt x="197977" y="1716165"/>
                </a:cubicBezTo>
                <a:cubicBezTo>
                  <a:pt x="188216" y="1718565"/>
                  <a:pt x="177816" y="1720485"/>
                  <a:pt x="167256" y="1722245"/>
                </a:cubicBezTo>
                <a:cubicBezTo>
                  <a:pt x="161176" y="1721125"/>
                  <a:pt x="155256" y="1719845"/>
                  <a:pt x="149176" y="1718725"/>
                </a:cubicBezTo>
                <a:close/>
                <a:moveTo>
                  <a:pt x="965497" y="1793765"/>
                </a:moveTo>
                <a:cubicBezTo>
                  <a:pt x="942296" y="1801285"/>
                  <a:pt x="917816" y="1807525"/>
                  <a:pt x="894136" y="1813285"/>
                </a:cubicBezTo>
                <a:cubicBezTo>
                  <a:pt x="868856" y="1819525"/>
                  <a:pt x="842616" y="1821605"/>
                  <a:pt x="816696" y="1824485"/>
                </a:cubicBezTo>
                <a:cubicBezTo>
                  <a:pt x="788376" y="1827685"/>
                  <a:pt x="760376" y="1831525"/>
                  <a:pt x="731736" y="1832325"/>
                </a:cubicBezTo>
                <a:cubicBezTo>
                  <a:pt x="677977" y="1833765"/>
                  <a:pt x="623576" y="1822885"/>
                  <a:pt x="570457" y="1816165"/>
                </a:cubicBezTo>
                <a:cubicBezTo>
                  <a:pt x="544696" y="1812965"/>
                  <a:pt x="520536" y="1807365"/>
                  <a:pt x="495256" y="1800965"/>
                </a:cubicBezTo>
                <a:cubicBezTo>
                  <a:pt x="468056" y="1794085"/>
                  <a:pt x="440536" y="1790565"/>
                  <a:pt x="413017" y="1784965"/>
                </a:cubicBezTo>
                <a:cubicBezTo>
                  <a:pt x="338296" y="1769765"/>
                  <a:pt x="264376" y="1753925"/>
                  <a:pt x="192056" y="1729765"/>
                </a:cubicBezTo>
                <a:cubicBezTo>
                  <a:pt x="198296" y="1728645"/>
                  <a:pt x="204536" y="1727365"/>
                  <a:pt x="210776" y="1725925"/>
                </a:cubicBezTo>
                <a:cubicBezTo>
                  <a:pt x="226457" y="1722245"/>
                  <a:pt x="242296" y="1724965"/>
                  <a:pt x="258136" y="1726085"/>
                </a:cubicBezTo>
                <a:cubicBezTo>
                  <a:pt x="313017" y="1730085"/>
                  <a:pt x="367736" y="1736645"/>
                  <a:pt x="422776" y="1738565"/>
                </a:cubicBezTo>
                <a:cubicBezTo>
                  <a:pt x="478457" y="1740485"/>
                  <a:pt x="533336" y="1737925"/>
                  <a:pt x="589017" y="1736005"/>
                </a:cubicBezTo>
                <a:cubicBezTo>
                  <a:pt x="643256" y="1734245"/>
                  <a:pt x="697336" y="1738565"/>
                  <a:pt x="751416" y="1738885"/>
                </a:cubicBezTo>
                <a:cubicBezTo>
                  <a:pt x="774296" y="1739045"/>
                  <a:pt x="797336" y="1740645"/>
                  <a:pt x="820056" y="1738085"/>
                </a:cubicBezTo>
                <a:cubicBezTo>
                  <a:pt x="846296" y="1735205"/>
                  <a:pt x="872536" y="1732485"/>
                  <a:pt x="898616" y="1729445"/>
                </a:cubicBezTo>
                <a:cubicBezTo>
                  <a:pt x="923736" y="1726565"/>
                  <a:pt x="949017" y="1719205"/>
                  <a:pt x="973497" y="1712965"/>
                </a:cubicBezTo>
                <a:cubicBezTo>
                  <a:pt x="1000536" y="1705925"/>
                  <a:pt x="1028536" y="1702565"/>
                  <a:pt x="1055417" y="1695525"/>
                </a:cubicBezTo>
                <a:cubicBezTo>
                  <a:pt x="1154616" y="1669285"/>
                  <a:pt x="1241177" y="1607525"/>
                  <a:pt x="1323257" y="1548805"/>
                </a:cubicBezTo>
                <a:cubicBezTo>
                  <a:pt x="1353017" y="1527525"/>
                  <a:pt x="1381177" y="1503205"/>
                  <a:pt x="1405816" y="1476165"/>
                </a:cubicBezTo>
                <a:cubicBezTo>
                  <a:pt x="1417656" y="1463205"/>
                  <a:pt x="1431576" y="1452005"/>
                  <a:pt x="1443257" y="1439045"/>
                </a:cubicBezTo>
                <a:cubicBezTo>
                  <a:pt x="1451897" y="1429445"/>
                  <a:pt x="1455257" y="1418725"/>
                  <a:pt x="1457177" y="1406565"/>
                </a:cubicBezTo>
                <a:cubicBezTo>
                  <a:pt x="1458776" y="1406885"/>
                  <a:pt x="1460217" y="1407205"/>
                  <a:pt x="1461656" y="1407525"/>
                </a:cubicBezTo>
                <a:cubicBezTo>
                  <a:pt x="1454296" y="1426885"/>
                  <a:pt x="1444057" y="1446725"/>
                  <a:pt x="1432536" y="1463205"/>
                </a:cubicBezTo>
                <a:cubicBezTo>
                  <a:pt x="1419736" y="1481605"/>
                  <a:pt x="1402776" y="1498725"/>
                  <a:pt x="1392376" y="1518565"/>
                </a:cubicBezTo>
                <a:cubicBezTo>
                  <a:pt x="1380376" y="1541765"/>
                  <a:pt x="1358296" y="1561125"/>
                  <a:pt x="1339576" y="1578885"/>
                </a:cubicBezTo>
                <a:cubicBezTo>
                  <a:pt x="1321977" y="1595365"/>
                  <a:pt x="1303736" y="1610885"/>
                  <a:pt x="1285816" y="1627045"/>
                </a:cubicBezTo>
                <a:cubicBezTo>
                  <a:pt x="1268856" y="1642245"/>
                  <a:pt x="1252536" y="1656325"/>
                  <a:pt x="1234296" y="1670085"/>
                </a:cubicBezTo>
                <a:cubicBezTo>
                  <a:pt x="1216376" y="1683685"/>
                  <a:pt x="1196056" y="1693925"/>
                  <a:pt x="1177336" y="1706565"/>
                </a:cubicBezTo>
                <a:cubicBezTo>
                  <a:pt x="1167096" y="1713445"/>
                  <a:pt x="1157977" y="1720965"/>
                  <a:pt x="1146776" y="1726405"/>
                </a:cubicBezTo>
                <a:cubicBezTo>
                  <a:pt x="1136216" y="1731685"/>
                  <a:pt x="1125977" y="1736805"/>
                  <a:pt x="1115736" y="1742725"/>
                </a:cubicBezTo>
                <a:cubicBezTo>
                  <a:pt x="1104856" y="1748965"/>
                  <a:pt x="1094937" y="1757445"/>
                  <a:pt x="1083897" y="1763205"/>
                </a:cubicBezTo>
                <a:cubicBezTo>
                  <a:pt x="1078457" y="1766085"/>
                  <a:pt x="1072856" y="1768165"/>
                  <a:pt x="1067096" y="1770085"/>
                </a:cubicBezTo>
                <a:cubicBezTo>
                  <a:pt x="1065816" y="1770565"/>
                  <a:pt x="1065336" y="1770885"/>
                  <a:pt x="1065176" y="1771365"/>
                </a:cubicBezTo>
                <a:cubicBezTo>
                  <a:pt x="1053816" y="1774245"/>
                  <a:pt x="1042457" y="1776805"/>
                  <a:pt x="1031096" y="1779845"/>
                </a:cubicBezTo>
                <a:cubicBezTo>
                  <a:pt x="1009656" y="1785445"/>
                  <a:pt x="986937" y="1786725"/>
                  <a:pt x="965497" y="1793765"/>
                </a:cubicBezTo>
                <a:close/>
                <a:moveTo>
                  <a:pt x="1243257" y="1699205"/>
                </a:moveTo>
                <a:cubicBezTo>
                  <a:pt x="1221497" y="1710405"/>
                  <a:pt x="1200056" y="1722245"/>
                  <a:pt x="1178296" y="1733445"/>
                </a:cubicBezTo>
                <a:cubicBezTo>
                  <a:pt x="1167736" y="1738885"/>
                  <a:pt x="1156056" y="1743365"/>
                  <a:pt x="1144856" y="1747365"/>
                </a:cubicBezTo>
                <a:cubicBezTo>
                  <a:pt x="1137816" y="1749925"/>
                  <a:pt x="1129656" y="1750565"/>
                  <a:pt x="1121977" y="1752165"/>
                </a:cubicBezTo>
                <a:cubicBezTo>
                  <a:pt x="1126616" y="1749605"/>
                  <a:pt x="1131256" y="1747045"/>
                  <a:pt x="1135897" y="1744645"/>
                </a:cubicBezTo>
                <a:cubicBezTo>
                  <a:pt x="1146457" y="1739205"/>
                  <a:pt x="1159096" y="1735685"/>
                  <a:pt x="1168536" y="1728485"/>
                </a:cubicBezTo>
                <a:cubicBezTo>
                  <a:pt x="1208536" y="1698085"/>
                  <a:pt x="1253017" y="1676485"/>
                  <a:pt x="1290137" y="1641765"/>
                </a:cubicBezTo>
                <a:cubicBezTo>
                  <a:pt x="1309017" y="1624005"/>
                  <a:pt x="1329177" y="1607525"/>
                  <a:pt x="1348217" y="1589925"/>
                </a:cubicBezTo>
                <a:cubicBezTo>
                  <a:pt x="1365977" y="1573445"/>
                  <a:pt x="1389977" y="1553925"/>
                  <a:pt x="1401656" y="1532325"/>
                </a:cubicBezTo>
                <a:cubicBezTo>
                  <a:pt x="1414296" y="1508805"/>
                  <a:pt x="1432376" y="1488645"/>
                  <a:pt x="1447576" y="1466725"/>
                </a:cubicBezTo>
                <a:cubicBezTo>
                  <a:pt x="1454456" y="1456805"/>
                  <a:pt x="1458296" y="1445605"/>
                  <a:pt x="1464217" y="1435205"/>
                </a:cubicBezTo>
                <a:cubicBezTo>
                  <a:pt x="1468856" y="1426885"/>
                  <a:pt x="1473496" y="1418885"/>
                  <a:pt x="1476217" y="1409925"/>
                </a:cubicBezTo>
                <a:cubicBezTo>
                  <a:pt x="1477017" y="1410085"/>
                  <a:pt x="1477816" y="1410245"/>
                  <a:pt x="1478456" y="1410405"/>
                </a:cubicBezTo>
                <a:cubicBezTo>
                  <a:pt x="1476696" y="1419685"/>
                  <a:pt x="1475416" y="1429285"/>
                  <a:pt x="1471736" y="1437925"/>
                </a:cubicBezTo>
                <a:cubicBezTo>
                  <a:pt x="1469816" y="1442565"/>
                  <a:pt x="1466296" y="1444805"/>
                  <a:pt x="1465496" y="1449765"/>
                </a:cubicBezTo>
                <a:cubicBezTo>
                  <a:pt x="1464856" y="1453605"/>
                  <a:pt x="1465017" y="1459205"/>
                  <a:pt x="1461816" y="1461925"/>
                </a:cubicBezTo>
                <a:cubicBezTo>
                  <a:pt x="1455576" y="1467685"/>
                  <a:pt x="1459257" y="1477285"/>
                  <a:pt x="1453496" y="1482405"/>
                </a:cubicBezTo>
                <a:cubicBezTo>
                  <a:pt x="1446137" y="1489125"/>
                  <a:pt x="1442456" y="1501125"/>
                  <a:pt x="1436376" y="1509445"/>
                </a:cubicBezTo>
                <a:cubicBezTo>
                  <a:pt x="1422137" y="1528805"/>
                  <a:pt x="1406296" y="1546245"/>
                  <a:pt x="1392696" y="1566245"/>
                </a:cubicBezTo>
                <a:cubicBezTo>
                  <a:pt x="1377977" y="1587685"/>
                  <a:pt x="1362776" y="1608645"/>
                  <a:pt x="1346456" y="1628805"/>
                </a:cubicBezTo>
                <a:cubicBezTo>
                  <a:pt x="1340376" y="1636325"/>
                  <a:pt x="1334137" y="1643365"/>
                  <a:pt x="1327736" y="1650565"/>
                </a:cubicBezTo>
                <a:cubicBezTo>
                  <a:pt x="1324217" y="1652965"/>
                  <a:pt x="1320856" y="1655365"/>
                  <a:pt x="1317496" y="1657605"/>
                </a:cubicBezTo>
                <a:cubicBezTo>
                  <a:pt x="1309816" y="1662725"/>
                  <a:pt x="1301656" y="1666565"/>
                  <a:pt x="1293017" y="1669925"/>
                </a:cubicBezTo>
                <a:cubicBezTo>
                  <a:pt x="1291097" y="1670725"/>
                  <a:pt x="1289177" y="1671845"/>
                  <a:pt x="1287257" y="1673125"/>
                </a:cubicBezTo>
                <a:cubicBezTo>
                  <a:pt x="1287576" y="1672645"/>
                  <a:pt x="1287736" y="1672165"/>
                  <a:pt x="1288057" y="1671845"/>
                </a:cubicBezTo>
                <a:cubicBezTo>
                  <a:pt x="1274137" y="1682085"/>
                  <a:pt x="1258937" y="1691045"/>
                  <a:pt x="1243257" y="1699205"/>
                </a:cubicBezTo>
                <a:close/>
                <a:moveTo>
                  <a:pt x="1051897" y="2316325"/>
                </a:moveTo>
                <a:cubicBezTo>
                  <a:pt x="1050616" y="2320645"/>
                  <a:pt x="1049656" y="2324965"/>
                  <a:pt x="1048696" y="2329445"/>
                </a:cubicBezTo>
                <a:cubicBezTo>
                  <a:pt x="1046776" y="2321925"/>
                  <a:pt x="1045176" y="2314245"/>
                  <a:pt x="1044376" y="2305925"/>
                </a:cubicBezTo>
                <a:cubicBezTo>
                  <a:pt x="1039256" y="2258725"/>
                  <a:pt x="1054136" y="2209925"/>
                  <a:pt x="1065656" y="2164485"/>
                </a:cubicBezTo>
                <a:cubicBezTo>
                  <a:pt x="1077497" y="2117285"/>
                  <a:pt x="1090136" y="2073445"/>
                  <a:pt x="1111576" y="2029605"/>
                </a:cubicBezTo>
                <a:cubicBezTo>
                  <a:pt x="1133816" y="1984165"/>
                  <a:pt x="1156696" y="1938885"/>
                  <a:pt x="1181336" y="1894565"/>
                </a:cubicBezTo>
                <a:cubicBezTo>
                  <a:pt x="1192696" y="1874245"/>
                  <a:pt x="1204216" y="1855365"/>
                  <a:pt x="1217977" y="1836645"/>
                </a:cubicBezTo>
                <a:cubicBezTo>
                  <a:pt x="1230776" y="1819205"/>
                  <a:pt x="1237977" y="1799525"/>
                  <a:pt x="1249496" y="1781605"/>
                </a:cubicBezTo>
                <a:cubicBezTo>
                  <a:pt x="1274137" y="1743205"/>
                  <a:pt x="1309496" y="1712805"/>
                  <a:pt x="1340217" y="1679365"/>
                </a:cubicBezTo>
                <a:cubicBezTo>
                  <a:pt x="1372376" y="1644485"/>
                  <a:pt x="1399576" y="1606245"/>
                  <a:pt x="1425977" y="1566885"/>
                </a:cubicBezTo>
                <a:cubicBezTo>
                  <a:pt x="1445177" y="1538245"/>
                  <a:pt x="1476217" y="1512645"/>
                  <a:pt x="1482137" y="1477285"/>
                </a:cubicBezTo>
                <a:cubicBezTo>
                  <a:pt x="1487576" y="1469285"/>
                  <a:pt x="1486937" y="1460965"/>
                  <a:pt x="1492217" y="1451525"/>
                </a:cubicBezTo>
                <a:cubicBezTo>
                  <a:pt x="1492376" y="1451205"/>
                  <a:pt x="1492536" y="1450885"/>
                  <a:pt x="1492696" y="1450565"/>
                </a:cubicBezTo>
                <a:cubicBezTo>
                  <a:pt x="1494137" y="1448165"/>
                  <a:pt x="1495576" y="1445765"/>
                  <a:pt x="1497017" y="1443205"/>
                </a:cubicBezTo>
                <a:cubicBezTo>
                  <a:pt x="1497656" y="1442245"/>
                  <a:pt x="1498137" y="1441285"/>
                  <a:pt x="1498616" y="1440165"/>
                </a:cubicBezTo>
                <a:cubicBezTo>
                  <a:pt x="1499257" y="1440325"/>
                  <a:pt x="1499897" y="1440485"/>
                  <a:pt x="1500536" y="1440645"/>
                </a:cubicBezTo>
                <a:cubicBezTo>
                  <a:pt x="1501177" y="1438245"/>
                  <a:pt x="1501656" y="1435845"/>
                  <a:pt x="1502296" y="1433445"/>
                </a:cubicBezTo>
                <a:cubicBezTo>
                  <a:pt x="1503736" y="1430405"/>
                  <a:pt x="1505017" y="1427365"/>
                  <a:pt x="1506137" y="1424325"/>
                </a:cubicBezTo>
                <a:cubicBezTo>
                  <a:pt x="1508217" y="1422085"/>
                  <a:pt x="1510776" y="1420805"/>
                  <a:pt x="1513496" y="1420485"/>
                </a:cubicBezTo>
                <a:lnTo>
                  <a:pt x="1513816" y="1418085"/>
                </a:lnTo>
                <a:cubicBezTo>
                  <a:pt x="1513977" y="1417285"/>
                  <a:pt x="1513816" y="1416645"/>
                  <a:pt x="1513816" y="1415845"/>
                </a:cubicBezTo>
                <a:cubicBezTo>
                  <a:pt x="1531097" y="1418725"/>
                  <a:pt x="1548217" y="1422565"/>
                  <a:pt x="1565336" y="1425925"/>
                </a:cubicBezTo>
                <a:cubicBezTo>
                  <a:pt x="1554296" y="1428965"/>
                  <a:pt x="1543257" y="1437445"/>
                  <a:pt x="1538296" y="1447045"/>
                </a:cubicBezTo>
                <a:cubicBezTo>
                  <a:pt x="1526137" y="1470405"/>
                  <a:pt x="1514937" y="1494405"/>
                  <a:pt x="1504217" y="1518405"/>
                </a:cubicBezTo>
                <a:cubicBezTo>
                  <a:pt x="1480856" y="1570885"/>
                  <a:pt x="1458456" y="1624005"/>
                  <a:pt x="1436376" y="1676965"/>
                </a:cubicBezTo>
                <a:cubicBezTo>
                  <a:pt x="1416057" y="1725445"/>
                  <a:pt x="1390776" y="1771205"/>
                  <a:pt x="1355257" y="1810085"/>
                </a:cubicBezTo>
                <a:cubicBezTo>
                  <a:pt x="1337816" y="1829125"/>
                  <a:pt x="1322776" y="1850245"/>
                  <a:pt x="1307097" y="1870725"/>
                </a:cubicBezTo>
                <a:cubicBezTo>
                  <a:pt x="1292376" y="1889925"/>
                  <a:pt x="1276217" y="1907845"/>
                  <a:pt x="1262137" y="1927525"/>
                </a:cubicBezTo>
                <a:cubicBezTo>
                  <a:pt x="1249496" y="1945445"/>
                  <a:pt x="1237816" y="1961765"/>
                  <a:pt x="1229017" y="1981925"/>
                </a:cubicBezTo>
                <a:cubicBezTo>
                  <a:pt x="1218616" y="2005765"/>
                  <a:pt x="1201497" y="2030565"/>
                  <a:pt x="1186457" y="2051525"/>
                </a:cubicBezTo>
                <a:cubicBezTo>
                  <a:pt x="1172056" y="2071685"/>
                  <a:pt x="1163256" y="2094405"/>
                  <a:pt x="1150136" y="2115365"/>
                </a:cubicBezTo>
                <a:cubicBezTo>
                  <a:pt x="1136696" y="2136645"/>
                  <a:pt x="1124856" y="2158405"/>
                  <a:pt x="1113336" y="2180805"/>
                </a:cubicBezTo>
                <a:cubicBezTo>
                  <a:pt x="1107736" y="2191685"/>
                  <a:pt x="1099417" y="2200485"/>
                  <a:pt x="1093497" y="2211045"/>
                </a:cubicBezTo>
                <a:cubicBezTo>
                  <a:pt x="1087736" y="2221285"/>
                  <a:pt x="1084216" y="2232485"/>
                  <a:pt x="1078296" y="2242725"/>
                </a:cubicBezTo>
                <a:cubicBezTo>
                  <a:pt x="1064696" y="2265445"/>
                  <a:pt x="1058937" y="2291525"/>
                  <a:pt x="1051897" y="2316325"/>
                </a:cubicBezTo>
                <a:close/>
                <a:moveTo>
                  <a:pt x="1065977" y="2408805"/>
                </a:moveTo>
                <a:cubicBezTo>
                  <a:pt x="1063417" y="2408805"/>
                  <a:pt x="1060856" y="2408965"/>
                  <a:pt x="1058296" y="2408805"/>
                </a:cubicBezTo>
                <a:cubicBezTo>
                  <a:pt x="1059256" y="2403045"/>
                  <a:pt x="1061336" y="2397445"/>
                  <a:pt x="1062457" y="2391685"/>
                </a:cubicBezTo>
                <a:cubicBezTo>
                  <a:pt x="1064376" y="2382245"/>
                  <a:pt x="1061497" y="2371365"/>
                  <a:pt x="1058616" y="2362405"/>
                </a:cubicBezTo>
                <a:cubicBezTo>
                  <a:pt x="1058296" y="2361285"/>
                  <a:pt x="1057816" y="2360165"/>
                  <a:pt x="1057497" y="2359045"/>
                </a:cubicBezTo>
                <a:cubicBezTo>
                  <a:pt x="1058457" y="2354085"/>
                  <a:pt x="1059256" y="2349125"/>
                  <a:pt x="1060376" y="2344165"/>
                </a:cubicBezTo>
                <a:cubicBezTo>
                  <a:pt x="1065497" y="2320005"/>
                  <a:pt x="1071417" y="2296325"/>
                  <a:pt x="1079736" y="2272965"/>
                </a:cubicBezTo>
                <a:cubicBezTo>
                  <a:pt x="1094136" y="2232485"/>
                  <a:pt x="1121017" y="2198565"/>
                  <a:pt x="1139736" y="2160165"/>
                </a:cubicBezTo>
                <a:cubicBezTo>
                  <a:pt x="1149497" y="2140325"/>
                  <a:pt x="1162776" y="2122885"/>
                  <a:pt x="1173176" y="2103365"/>
                </a:cubicBezTo>
                <a:cubicBezTo>
                  <a:pt x="1185176" y="2080805"/>
                  <a:pt x="1197336" y="2060165"/>
                  <a:pt x="1212696" y="2039685"/>
                </a:cubicBezTo>
                <a:cubicBezTo>
                  <a:pt x="1218616" y="2031685"/>
                  <a:pt x="1222457" y="2020165"/>
                  <a:pt x="1227576" y="2011525"/>
                </a:cubicBezTo>
                <a:cubicBezTo>
                  <a:pt x="1233336" y="2001765"/>
                  <a:pt x="1239576" y="1992485"/>
                  <a:pt x="1244217" y="1982085"/>
                </a:cubicBezTo>
                <a:cubicBezTo>
                  <a:pt x="1253336" y="1961125"/>
                  <a:pt x="1269017" y="1941445"/>
                  <a:pt x="1282937" y="1923045"/>
                </a:cubicBezTo>
                <a:cubicBezTo>
                  <a:pt x="1338137" y="1850245"/>
                  <a:pt x="1403416" y="1785125"/>
                  <a:pt x="1441017" y="1700645"/>
                </a:cubicBezTo>
                <a:cubicBezTo>
                  <a:pt x="1461496" y="1654565"/>
                  <a:pt x="1480217" y="1607845"/>
                  <a:pt x="1499736" y="1561445"/>
                </a:cubicBezTo>
                <a:cubicBezTo>
                  <a:pt x="1509496" y="1538085"/>
                  <a:pt x="1519097" y="1514565"/>
                  <a:pt x="1529496" y="1491525"/>
                </a:cubicBezTo>
                <a:cubicBezTo>
                  <a:pt x="1538616" y="1471365"/>
                  <a:pt x="1547097" y="1437445"/>
                  <a:pt x="1572217" y="1431685"/>
                </a:cubicBezTo>
                <a:cubicBezTo>
                  <a:pt x="1574456" y="1431205"/>
                  <a:pt x="1575257" y="1429445"/>
                  <a:pt x="1575097" y="1427685"/>
                </a:cubicBezTo>
                <a:cubicBezTo>
                  <a:pt x="1576856" y="1428005"/>
                  <a:pt x="1578616" y="1428325"/>
                  <a:pt x="1580376" y="1428645"/>
                </a:cubicBezTo>
                <a:cubicBezTo>
                  <a:pt x="1589177" y="1472805"/>
                  <a:pt x="1582776" y="1518085"/>
                  <a:pt x="1571257" y="1561445"/>
                </a:cubicBezTo>
                <a:cubicBezTo>
                  <a:pt x="1558296" y="1609925"/>
                  <a:pt x="1540057" y="1658085"/>
                  <a:pt x="1520536" y="1704325"/>
                </a:cubicBezTo>
                <a:cubicBezTo>
                  <a:pt x="1483736" y="1791205"/>
                  <a:pt x="1413336" y="1856165"/>
                  <a:pt x="1363897" y="1935045"/>
                </a:cubicBezTo>
                <a:cubicBezTo>
                  <a:pt x="1351576" y="1954725"/>
                  <a:pt x="1335897" y="1972485"/>
                  <a:pt x="1323097" y="1992005"/>
                </a:cubicBezTo>
                <a:cubicBezTo>
                  <a:pt x="1309816" y="2012325"/>
                  <a:pt x="1295897" y="2032325"/>
                  <a:pt x="1282456" y="2052645"/>
                </a:cubicBezTo>
                <a:cubicBezTo>
                  <a:pt x="1255416" y="2093285"/>
                  <a:pt x="1232376" y="2136005"/>
                  <a:pt x="1204696" y="2176325"/>
                </a:cubicBezTo>
                <a:cubicBezTo>
                  <a:pt x="1176056" y="2218085"/>
                  <a:pt x="1155576" y="2264485"/>
                  <a:pt x="1126136" y="2305765"/>
                </a:cubicBezTo>
                <a:cubicBezTo>
                  <a:pt x="1112856" y="2324325"/>
                  <a:pt x="1102937" y="2344485"/>
                  <a:pt x="1091897" y="2364325"/>
                </a:cubicBezTo>
                <a:cubicBezTo>
                  <a:pt x="1084856" y="2376805"/>
                  <a:pt x="1077497" y="2389605"/>
                  <a:pt x="1069816" y="2401765"/>
                </a:cubicBezTo>
                <a:cubicBezTo>
                  <a:pt x="1069336" y="2402885"/>
                  <a:pt x="1067736" y="2405765"/>
                  <a:pt x="1065977" y="2408805"/>
                </a:cubicBezTo>
                <a:close/>
                <a:moveTo>
                  <a:pt x="1122616" y="2402885"/>
                </a:moveTo>
                <a:cubicBezTo>
                  <a:pt x="1109816" y="2404325"/>
                  <a:pt x="1097176" y="2406245"/>
                  <a:pt x="1084376" y="2407685"/>
                </a:cubicBezTo>
                <a:cubicBezTo>
                  <a:pt x="1084696" y="2407205"/>
                  <a:pt x="1085017" y="2406725"/>
                  <a:pt x="1085176" y="2406405"/>
                </a:cubicBezTo>
                <a:cubicBezTo>
                  <a:pt x="1098616" y="2385125"/>
                  <a:pt x="1110616" y="2362885"/>
                  <a:pt x="1122457" y="2340645"/>
                </a:cubicBezTo>
                <a:cubicBezTo>
                  <a:pt x="1134457" y="2317925"/>
                  <a:pt x="1152056" y="2298565"/>
                  <a:pt x="1164696" y="2276165"/>
                </a:cubicBezTo>
                <a:cubicBezTo>
                  <a:pt x="1178457" y="2251845"/>
                  <a:pt x="1190296" y="2226565"/>
                  <a:pt x="1205656" y="2203045"/>
                </a:cubicBezTo>
                <a:cubicBezTo>
                  <a:pt x="1218937" y="2182565"/>
                  <a:pt x="1234296" y="2163525"/>
                  <a:pt x="1246937" y="2142725"/>
                </a:cubicBezTo>
                <a:cubicBezTo>
                  <a:pt x="1260536" y="2120005"/>
                  <a:pt x="1273336" y="2096805"/>
                  <a:pt x="1287416" y="2074245"/>
                </a:cubicBezTo>
                <a:cubicBezTo>
                  <a:pt x="1301496" y="2051525"/>
                  <a:pt x="1317496" y="2029925"/>
                  <a:pt x="1331897" y="2007365"/>
                </a:cubicBezTo>
                <a:cubicBezTo>
                  <a:pt x="1346776" y="1984325"/>
                  <a:pt x="1364696" y="1963205"/>
                  <a:pt x="1379257" y="1940005"/>
                </a:cubicBezTo>
                <a:cubicBezTo>
                  <a:pt x="1404376" y="1899845"/>
                  <a:pt x="1434616" y="1863045"/>
                  <a:pt x="1464057" y="1825925"/>
                </a:cubicBezTo>
                <a:cubicBezTo>
                  <a:pt x="1494937" y="1786565"/>
                  <a:pt x="1520536" y="1744965"/>
                  <a:pt x="1539257" y="1698565"/>
                </a:cubicBezTo>
                <a:cubicBezTo>
                  <a:pt x="1558296" y="1651365"/>
                  <a:pt x="1575576" y="1602245"/>
                  <a:pt x="1587576" y="1552645"/>
                </a:cubicBezTo>
                <a:cubicBezTo>
                  <a:pt x="1593656" y="1527045"/>
                  <a:pt x="1597017" y="1500325"/>
                  <a:pt x="1596856" y="1474085"/>
                </a:cubicBezTo>
                <a:cubicBezTo>
                  <a:pt x="1596856" y="1462885"/>
                  <a:pt x="1595736" y="1444165"/>
                  <a:pt x="1590616" y="1431045"/>
                </a:cubicBezTo>
                <a:cubicBezTo>
                  <a:pt x="1591736" y="1431205"/>
                  <a:pt x="1592856" y="1431525"/>
                  <a:pt x="1594137" y="1431685"/>
                </a:cubicBezTo>
                <a:cubicBezTo>
                  <a:pt x="1609977" y="1434245"/>
                  <a:pt x="1625816" y="1437125"/>
                  <a:pt x="1641816" y="1439205"/>
                </a:cubicBezTo>
                <a:cubicBezTo>
                  <a:pt x="1643897" y="1445285"/>
                  <a:pt x="1644856" y="1453765"/>
                  <a:pt x="1645336" y="1457925"/>
                </a:cubicBezTo>
                <a:cubicBezTo>
                  <a:pt x="1646776" y="1470725"/>
                  <a:pt x="1648696" y="1483045"/>
                  <a:pt x="1651897" y="1495365"/>
                </a:cubicBezTo>
                <a:cubicBezTo>
                  <a:pt x="1657977" y="1518885"/>
                  <a:pt x="1661177" y="1546725"/>
                  <a:pt x="1660856" y="1571045"/>
                </a:cubicBezTo>
                <a:cubicBezTo>
                  <a:pt x="1660376" y="1623045"/>
                  <a:pt x="1660856" y="1674725"/>
                  <a:pt x="1643576" y="1724645"/>
                </a:cubicBezTo>
                <a:cubicBezTo>
                  <a:pt x="1635097" y="1749285"/>
                  <a:pt x="1621177" y="1772965"/>
                  <a:pt x="1609177" y="1796005"/>
                </a:cubicBezTo>
                <a:cubicBezTo>
                  <a:pt x="1603097" y="1807685"/>
                  <a:pt x="1599097" y="1820965"/>
                  <a:pt x="1593177" y="1832965"/>
                </a:cubicBezTo>
                <a:cubicBezTo>
                  <a:pt x="1587097" y="1845285"/>
                  <a:pt x="1580057" y="1856805"/>
                  <a:pt x="1574137" y="1869285"/>
                </a:cubicBezTo>
                <a:cubicBezTo>
                  <a:pt x="1561816" y="1895045"/>
                  <a:pt x="1549336" y="1920645"/>
                  <a:pt x="1534296" y="1944965"/>
                </a:cubicBezTo>
                <a:cubicBezTo>
                  <a:pt x="1520856" y="1966885"/>
                  <a:pt x="1503736" y="1985765"/>
                  <a:pt x="1489177" y="2006885"/>
                </a:cubicBezTo>
                <a:cubicBezTo>
                  <a:pt x="1476856" y="2024965"/>
                  <a:pt x="1460856" y="2041605"/>
                  <a:pt x="1446296" y="2057765"/>
                </a:cubicBezTo>
                <a:cubicBezTo>
                  <a:pt x="1431897" y="2073925"/>
                  <a:pt x="1418776" y="2095525"/>
                  <a:pt x="1407257" y="2114085"/>
                </a:cubicBezTo>
                <a:cubicBezTo>
                  <a:pt x="1394937" y="2134085"/>
                  <a:pt x="1380696" y="2152965"/>
                  <a:pt x="1365496" y="2170725"/>
                </a:cubicBezTo>
                <a:cubicBezTo>
                  <a:pt x="1348057" y="2191365"/>
                  <a:pt x="1333017" y="2213445"/>
                  <a:pt x="1314776" y="2233445"/>
                </a:cubicBezTo>
                <a:cubicBezTo>
                  <a:pt x="1281656" y="2269925"/>
                  <a:pt x="1244856" y="2307365"/>
                  <a:pt x="1205656" y="2337125"/>
                </a:cubicBezTo>
                <a:cubicBezTo>
                  <a:pt x="1185816" y="2352165"/>
                  <a:pt x="1165656" y="2365765"/>
                  <a:pt x="1146616" y="2381765"/>
                </a:cubicBezTo>
                <a:cubicBezTo>
                  <a:pt x="1138296" y="2388325"/>
                  <a:pt x="1130776" y="2395845"/>
                  <a:pt x="1122616" y="2402885"/>
                </a:cubicBezTo>
                <a:close/>
                <a:moveTo>
                  <a:pt x="1321336" y="2349125"/>
                </a:moveTo>
                <a:cubicBezTo>
                  <a:pt x="1315576" y="2351845"/>
                  <a:pt x="1309816" y="2354725"/>
                  <a:pt x="1304217" y="2357605"/>
                </a:cubicBezTo>
                <a:cubicBezTo>
                  <a:pt x="1281816" y="2369605"/>
                  <a:pt x="1260057" y="2383845"/>
                  <a:pt x="1234776" y="2389445"/>
                </a:cubicBezTo>
                <a:cubicBezTo>
                  <a:pt x="1205497" y="2396005"/>
                  <a:pt x="1177816" y="2400165"/>
                  <a:pt x="1147897" y="2401125"/>
                </a:cubicBezTo>
                <a:cubicBezTo>
                  <a:pt x="1149017" y="2400165"/>
                  <a:pt x="1150136" y="2399045"/>
                  <a:pt x="1151256" y="2398085"/>
                </a:cubicBezTo>
                <a:cubicBezTo>
                  <a:pt x="1171417" y="2380005"/>
                  <a:pt x="1193497" y="2365125"/>
                  <a:pt x="1215256" y="2349125"/>
                </a:cubicBezTo>
                <a:cubicBezTo>
                  <a:pt x="1254296" y="2320485"/>
                  <a:pt x="1290456" y="2282405"/>
                  <a:pt x="1323097" y="2247045"/>
                </a:cubicBezTo>
                <a:cubicBezTo>
                  <a:pt x="1357336" y="2210085"/>
                  <a:pt x="1388536" y="2168805"/>
                  <a:pt x="1417017" y="2127365"/>
                </a:cubicBezTo>
                <a:cubicBezTo>
                  <a:pt x="1429816" y="2108645"/>
                  <a:pt x="1443576" y="2090405"/>
                  <a:pt x="1455416" y="2071205"/>
                </a:cubicBezTo>
                <a:cubicBezTo>
                  <a:pt x="1461336" y="2061445"/>
                  <a:pt x="1471097" y="2054245"/>
                  <a:pt x="1477977" y="2045125"/>
                </a:cubicBezTo>
                <a:cubicBezTo>
                  <a:pt x="1485496" y="2035205"/>
                  <a:pt x="1494616" y="2026085"/>
                  <a:pt x="1501496" y="2015845"/>
                </a:cubicBezTo>
                <a:cubicBezTo>
                  <a:pt x="1514456" y="1996485"/>
                  <a:pt x="1530137" y="1979205"/>
                  <a:pt x="1542937" y="1959525"/>
                </a:cubicBezTo>
                <a:cubicBezTo>
                  <a:pt x="1558137" y="1936165"/>
                  <a:pt x="1569656" y="1911205"/>
                  <a:pt x="1582296" y="1886405"/>
                </a:cubicBezTo>
                <a:cubicBezTo>
                  <a:pt x="1594456" y="1862245"/>
                  <a:pt x="1608057" y="1838565"/>
                  <a:pt x="1618456" y="1813605"/>
                </a:cubicBezTo>
                <a:cubicBezTo>
                  <a:pt x="1629496" y="1787205"/>
                  <a:pt x="1643897" y="1762405"/>
                  <a:pt x="1654937" y="1736005"/>
                </a:cubicBezTo>
                <a:cubicBezTo>
                  <a:pt x="1664376" y="1712965"/>
                  <a:pt x="1668696" y="1687845"/>
                  <a:pt x="1671576" y="1663205"/>
                </a:cubicBezTo>
                <a:cubicBezTo>
                  <a:pt x="1673177" y="1650245"/>
                  <a:pt x="1673977" y="1637125"/>
                  <a:pt x="1674937" y="1624005"/>
                </a:cubicBezTo>
                <a:cubicBezTo>
                  <a:pt x="1675897" y="1610565"/>
                  <a:pt x="1673496" y="1597285"/>
                  <a:pt x="1674616" y="1583685"/>
                </a:cubicBezTo>
                <a:cubicBezTo>
                  <a:pt x="1676536" y="1561765"/>
                  <a:pt x="1671097" y="1538245"/>
                  <a:pt x="1667736" y="1516645"/>
                </a:cubicBezTo>
                <a:cubicBezTo>
                  <a:pt x="1665816" y="1504165"/>
                  <a:pt x="1662776" y="1493285"/>
                  <a:pt x="1659576" y="1481125"/>
                </a:cubicBezTo>
                <a:cubicBezTo>
                  <a:pt x="1657017" y="1471365"/>
                  <a:pt x="1657177" y="1456005"/>
                  <a:pt x="1652057" y="1447525"/>
                </a:cubicBezTo>
                <a:cubicBezTo>
                  <a:pt x="1650456" y="1444965"/>
                  <a:pt x="1649656" y="1442085"/>
                  <a:pt x="1648696" y="1439205"/>
                </a:cubicBezTo>
                <a:cubicBezTo>
                  <a:pt x="1658456" y="1439525"/>
                  <a:pt x="1667576" y="1437925"/>
                  <a:pt x="1677177" y="1436485"/>
                </a:cubicBezTo>
                <a:cubicBezTo>
                  <a:pt x="1678296" y="1456005"/>
                  <a:pt x="1694456" y="1482725"/>
                  <a:pt x="1698137" y="1493285"/>
                </a:cubicBezTo>
                <a:cubicBezTo>
                  <a:pt x="1715257" y="1542725"/>
                  <a:pt x="1717177" y="1593445"/>
                  <a:pt x="1719257" y="1645125"/>
                </a:cubicBezTo>
                <a:cubicBezTo>
                  <a:pt x="1721496" y="1698245"/>
                  <a:pt x="1722937" y="1751525"/>
                  <a:pt x="1713017" y="1804005"/>
                </a:cubicBezTo>
                <a:cubicBezTo>
                  <a:pt x="1703416" y="1855525"/>
                  <a:pt x="1684856" y="1903045"/>
                  <a:pt x="1658296" y="1948005"/>
                </a:cubicBezTo>
                <a:cubicBezTo>
                  <a:pt x="1633017" y="1991045"/>
                  <a:pt x="1597336" y="2022565"/>
                  <a:pt x="1565177" y="2059685"/>
                </a:cubicBezTo>
                <a:cubicBezTo>
                  <a:pt x="1549816" y="2077285"/>
                  <a:pt x="1535736" y="2096005"/>
                  <a:pt x="1521336" y="2114245"/>
                </a:cubicBezTo>
                <a:cubicBezTo>
                  <a:pt x="1505816" y="2134085"/>
                  <a:pt x="1489017" y="2151525"/>
                  <a:pt x="1471416" y="2169605"/>
                </a:cubicBezTo>
                <a:cubicBezTo>
                  <a:pt x="1437656" y="2204325"/>
                  <a:pt x="1412856" y="2245605"/>
                  <a:pt x="1385177" y="2284965"/>
                </a:cubicBezTo>
                <a:cubicBezTo>
                  <a:pt x="1372376" y="2303365"/>
                  <a:pt x="1358937" y="2321445"/>
                  <a:pt x="1340856" y="2335045"/>
                </a:cubicBezTo>
                <a:cubicBezTo>
                  <a:pt x="1335097" y="2339685"/>
                  <a:pt x="1328057" y="2344165"/>
                  <a:pt x="1321336" y="2349125"/>
                </a:cubicBezTo>
                <a:close/>
                <a:moveTo>
                  <a:pt x="1816376" y="1759685"/>
                </a:moveTo>
                <a:cubicBezTo>
                  <a:pt x="1813977" y="1771205"/>
                  <a:pt x="1809656" y="1782085"/>
                  <a:pt x="1807736" y="1793765"/>
                </a:cubicBezTo>
                <a:cubicBezTo>
                  <a:pt x="1805017" y="1809765"/>
                  <a:pt x="1804057" y="1825925"/>
                  <a:pt x="1799416" y="1841445"/>
                </a:cubicBezTo>
                <a:cubicBezTo>
                  <a:pt x="1792217" y="1865445"/>
                  <a:pt x="1773977" y="1888485"/>
                  <a:pt x="1759897" y="1908805"/>
                </a:cubicBezTo>
                <a:cubicBezTo>
                  <a:pt x="1743736" y="1932165"/>
                  <a:pt x="1726616" y="1954725"/>
                  <a:pt x="1710616" y="1978085"/>
                </a:cubicBezTo>
                <a:cubicBezTo>
                  <a:pt x="1680057" y="2022725"/>
                  <a:pt x="1650616" y="2067685"/>
                  <a:pt x="1614456" y="2108005"/>
                </a:cubicBezTo>
                <a:cubicBezTo>
                  <a:pt x="1577017" y="2149925"/>
                  <a:pt x="1538137" y="2190565"/>
                  <a:pt x="1496376" y="2228325"/>
                </a:cubicBezTo>
                <a:cubicBezTo>
                  <a:pt x="1460057" y="2261285"/>
                  <a:pt x="1421816" y="2293285"/>
                  <a:pt x="1379897" y="2319045"/>
                </a:cubicBezTo>
                <a:cubicBezTo>
                  <a:pt x="1384856" y="2312805"/>
                  <a:pt x="1389496" y="2306405"/>
                  <a:pt x="1393977" y="2300165"/>
                </a:cubicBezTo>
                <a:cubicBezTo>
                  <a:pt x="1407897" y="2280965"/>
                  <a:pt x="1420856" y="2260965"/>
                  <a:pt x="1433977" y="2241125"/>
                </a:cubicBezTo>
                <a:cubicBezTo>
                  <a:pt x="1447257" y="2220805"/>
                  <a:pt x="1463897" y="2202405"/>
                  <a:pt x="1479736" y="2184165"/>
                </a:cubicBezTo>
                <a:cubicBezTo>
                  <a:pt x="1494776" y="2166885"/>
                  <a:pt x="1511897" y="2152165"/>
                  <a:pt x="1526296" y="2134085"/>
                </a:cubicBezTo>
                <a:cubicBezTo>
                  <a:pt x="1542137" y="2114085"/>
                  <a:pt x="1557496" y="2093925"/>
                  <a:pt x="1573816" y="2074405"/>
                </a:cubicBezTo>
                <a:cubicBezTo>
                  <a:pt x="1605496" y="2036485"/>
                  <a:pt x="1641496" y="2005605"/>
                  <a:pt x="1667897" y="1963205"/>
                </a:cubicBezTo>
                <a:cubicBezTo>
                  <a:pt x="1719097" y="1880645"/>
                  <a:pt x="1737977" y="1787685"/>
                  <a:pt x="1735416" y="1691205"/>
                </a:cubicBezTo>
                <a:cubicBezTo>
                  <a:pt x="1734137" y="1640805"/>
                  <a:pt x="1733496" y="1588965"/>
                  <a:pt x="1723257" y="1539525"/>
                </a:cubicBezTo>
                <a:cubicBezTo>
                  <a:pt x="1718937" y="1518085"/>
                  <a:pt x="1712217" y="1497125"/>
                  <a:pt x="1703736" y="1477125"/>
                </a:cubicBezTo>
                <a:cubicBezTo>
                  <a:pt x="1699897" y="1467845"/>
                  <a:pt x="1686937" y="1450245"/>
                  <a:pt x="1684217" y="1435685"/>
                </a:cubicBezTo>
                <a:cubicBezTo>
                  <a:pt x="1684376" y="1435685"/>
                  <a:pt x="1684696" y="1435685"/>
                  <a:pt x="1684856" y="1435525"/>
                </a:cubicBezTo>
                <a:cubicBezTo>
                  <a:pt x="1692696" y="1434565"/>
                  <a:pt x="1717336" y="1431685"/>
                  <a:pt x="1740217" y="1425125"/>
                </a:cubicBezTo>
                <a:cubicBezTo>
                  <a:pt x="1761496" y="1460005"/>
                  <a:pt x="1782937" y="1494405"/>
                  <a:pt x="1799736" y="1532325"/>
                </a:cubicBezTo>
                <a:cubicBezTo>
                  <a:pt x="1809017" y="1553285"/>
                  <a:pt x="1818937" y="1573445"/>
                  <a:pt x="1822456" y="1596325"/>
                </a:cubicBezTo>
                <a:cubicBezTo>
                  <a:pt x="1826937" y="1625285"/>
                  <a:pt x="1827097" y="1656805"/>
                  <a:pt x="1823897" y="1685765"/>
                </a:cubicBezTo>
                <a:cubicBezTo>
                  <a:pt x="1821336" y="1710405"/>
                  <a:pt x="1821177" y="1735365"/>
                  <a:pt x="1816376" y="1759685"/>
                </a:cubicBezTo>
                <a:close/>
                <a:moveTo>
                  <a:pt x="1929177" y="1808325"/>
                </a:moveTo>
                <a:cubicBezTo>
                  <a:pt x="1913816" y="1801125"/>
                  <a:pt x="1895576" y="1792485"/>
                  <a:pt x="1881496" y="1783045"/>
                </a:cubicBezTo>
                <a:cubicBezTo>
                  <a:pt x="1868696" y="1774565"/>
                  <a:pt x="1857496" y="1763045"/>
                  <a:pt x="1846776" y="1751685"/>
                </a:cubicBezTo>
                <a:cubicBezTo>
                  <a:pt x="1848057" y="1745445"/>
                  <a:pt x="1849017" y="1739045"/>
                  <a:pt x="1849656" y="1732645"/>
                </a:cubicBezTo>
                <a:cubicBezTo>
                  <a:pt x="1851097" y="1715845"/>
                  <a:pt x="1853017" y="1699045"/>
                  <a:pt x="1854137" y="1682085"/>
                </a:cubicBezTo>
                <a:cubicBezTo>
                  <a:pt x="1861977" y="1692805"/>
                  <a:pt x="1870137" y="1703365"/>
                  <a:pt x="1878776" y="1713605"/>
                </a:cubicBezTo>
                <a:cubicBezTo>
                  <a:pt x="1897656" y="1735525"/>
                  <a:pt x="1919897" y="1761125"/>
                  <a:pt x="1944536" y="1776325"/>
                </a:cubicBezTo>
                <a:cubicBezTo>
                  <a:pt x="1970296" y="1792165"/>
                  <a:pt x="1994616" y="1808965"/>
                  <a:pt x="2021496" y="1823205"/>
                </a:cubicBezTo>
                <a:cubicBezTo>
                  <a:pt x="2029496" y="1827525"/>
                  <a:pt x="2037496" y="1831845"/>
                  <a:pt x="2045816" y="1835845"/>
                </a:cubicBezTo>
                <a:cubicBezTo>
                  <a:pt x="2006937" y="1833125"/>
                  <a:pt x="1964057" y="1824485"/>
                  <a:pt x="1929177" y="1808325"/>
                </a:cubicBezTo>
                <a:close/>
                <a:moveTo>
                  <a:pt x="2094937" y="1837445"/>
                </a:moveTo>
                <a:cubicBezTo>
                  <a:pt x="2085977" y="1835525"/>
                  <a:pt x="2077496" y="1833445"/>
                  <a:pt x="2068536" y="1829125"/>
                </a:cubicBezTo>
                <a:cubicBezTo>
                  <a:pt x="2056696" y="1823365"/>
                  <a:pt x="2044536" y="1818725"/>
                  <a:pt x="2032696" y="1812965"/>
                </a:cubicBezTo>
                <a:cubicBezTo>
                  <a:pt x="2008376" y="1801125"/>
                  <a:pt x="1985496" y="1787365"/>
                  <a:pt x="1962937" y="1772485"/>
                </a:cubicBezTo>
                <a:cubicBezTo>
                  <a:pt x="1939736" y="1757285"/>
                  <a:pt x="1919576" y="1740005"/>
                  <a:pt x="1900376" y="1719685"/>
                </a:cubicBezTo>
                <a:cubicBezTo>
                  <a:pt x="1891897" y="1710725"/>
                  <a:pt x="1883097" y="1702405"/>
                  <a:pt x="1874937" y="1693125"/>
                </a:cubicBezTo>
                <a:cubicBezTo>
                  <a:pt x="1869656" y="1686885"/>
                  <a:pt x="1860536" y="1678565"/>
                  <a:pt x="1854456" y="1670085"/>
                </a:cubicBezTo>
                <a:cubicBezTo>
                  <a:pt x="1854616" y="1664005"/>
                  <a:pt x="1854776" y="1657925"/>
                  <a:pt x="1854776" y="1651845"/>
                </a:cubicBezTo>
                <a:cubicBezTo>
                  <a:pt x="1854456" y="1630085"/>
                  <a:pt x="1854296" y="1607365"/>
                  <a:pt x="1850296" y="1585605"/>
                </a:cubicBezTo>
                <a:cubicBezTo>
                  <a:pt x="1868217" y="1606885"/>
                  <a:pt x="1887736" y="1626885"/>
                  <a:pt x="1906456" y="1647525"/>
                </a:cubicBezTo>
                <a:cubicBezTo>
                  <a:pt x="1933816" y="1677765"/>
                  <a:pt x="1967897" y="1701605"/>
                  <a:pt x="1997336" y="1729925"/>
                </a:cubicBezTo>
                <a:cubicBezTo>
                  <a:pt x="2031416" y="1762725"/>
                  <a:pt x="2069816" y="1788485"/>
                  <a:pt x="2110137" y="1812805"/>
                </a:cubicBezTo>
                <a:cubicBezTo>
                  <a:pt x="2124857" y="1821765"/>
                  <a:pt x="2139576" y="1830885"/>
                  <a:pt x="2154456" y="1839525"/>
                </a:cubicBezTo>
                <a:cubicBezTo>
                  <a:pt x="2134776" y="1838405"/>
                  <a:pt x="2114937" y="1837925"/>
                  <a:pt x="2094937" y="1837445"/>
                </a:cubicBezTo>
                <a:close/>
                <a:moveTo>
                  <a:pt x="2251736" y="1847845"/>
                </a:moveTo>
                <a:cubicBezTo>
                  <a:pt x="2252217" y="1848325"/>
                  <a:pt x="2253017" y="1849125"/>
                  <a:pt x="2254137" y="1850245"/>
                </a:cubicBezTo>
                <a:cubicBezTo>
                  <a:pt x="2254937" y="1851685"/>
                  <a:pt x="2255736" y="1853125"/>
                  <a:pt x="2256376" y="1854565"/>
                </a:cubicBezTo>
                <a:cubicBezTo>
                  <a:pt x="2237017" y="1848645"/>
                  <a:pt x="2216857" y="1845925"/>
                  <a:pt x="2196536" y="1843685"/>
                </a:cubicBezTo>
                <a:cubicBezTo>
                  <a:pt x="2128696" y="1811045"/>
                  <a:pt x="2061177" y="1770725"/>
                  <a:pt x="2006137" y="1719205"/>
                </a:cubicBezTo>
                <a:cubicBezTo>
                  <a:pt x="1977177" y="1692005"/>
                  <a:pt x="1943736" y="1669125"/>
                  <a:pt x="1916217" y="1640325"/>
                </a:cubicBezTo>
                <a:cubicBezTo>
                  <a:pt x="1893017" y="1615845"/>
                  <a:pt x="1869336" y="1591845"/>
                  <a:pt x="1846137" y="1567525"/>
                </a:cubicBezTo>
                <a:cubicBezTo>
                  <a:pt x="1840057" y="1547525"/>
                  <a:pt x="1830296" y="1528485"/>
                  <a:pt x="1821816" y="1509445"/>
                </a:cubicBezTo>
                <a:cubicBezTo>
                  <a:pt x="1811897" y="1487365"/>
                  <a:pt x="1800057" y="1466085"/>
                  <a:pt x="1788217" y="1444965"/>
                </a:cubicBezTo>
                <a:cubicBezTo>
                  <a:pt x="1783736" y="1436965"/>
                  <a:pt x="1778296" y="1430085"/>
                  <a:pt x="1772696" y="1422725"/>
                </a:cubicBezTo>
                <a:cubicBezTo>
                  <a:pt x="1770616" y="1420005"/>
                  <a:pt x="1768856" y="1417285"/>
                  <a:pt x="1767097" y="1414565"/>
                </a:cubicBezTo>
                <a:cubicBezTo>
                  <a:pt x="1768536" y="1413765"/>
                  <a:pt x="1769816" y="1412965"/>
                  <a:pt x="1771097" y="1412165"/>
                </a:cubicBezTo>
                <a:cubicBezTo>
                  <a:pt x="1773816" y="1412805"/>
                  <a:pt x="1777017" y="1412165"/>
                  <a:pt x="1779097" y="1409925"/>
                </a:cubicBezTo>
                <a:cubicBezTo>
                  <a:pt x="1780536" y="1409925"/>
                  <a:pt x="1781977" y="1409925"/>
                  <a:pt x="1783416" y="1409765"/>
                </a:cubicBezTo>
                <a:cubicBezTo>
                  <a:pt x="1787576" y="1411685"/>
                  <a:pt x="1791576" y="1413605"/>
                  <a:pt x="1795576" y="1415685"/>
                </a:cubicBezTo>
                <a:cubicBezTo>
                  <a:pt x="1796217" y="1417925"/>
                  <a:pt x="1797017" y="1419525"/>
                  <a:pt x="1799736" y="1420645"/>
                </a:cubicBezTo>
                <a:cubicBezTo>
                  <a:pt x="1811736" y="1425765"/>
                  <a:pt x="1822456" y="1431045"/>
                  <a:pt x="1833177" y="1438885"/>
                </a:cubicBezTo>
                <a:cubicBezTo>
                  <a:pt x="1857017" y="1456325"/>
                  <a:pt x="1879416" y="1475205"/>
                  <a:pt x="1901496" y="1494885"/>
                </a:cubicBezTo>
                <a:cubicBezTo>
                  <a:pt x="1945496" y="1534245"/>
                  <a:pt x="1993017" y="1569445"/>
                  <a:pt x="2037336" y="1608645"/>
                </a:cubicBezTo>
                <a:cubicBezTo>
                  <a:pt x="2081017" y="1647365"/>
                  <a:pt x="2118456" y="1693125"/>
                  <a:pt x="2156217" y="1737285"/>
                </a:cubicBezTo>
                <a:cubicBezTo>
                  <a:pt x="2174456" y="1758565"/>
                  <a:pt x="2187576" y="1782725"/>
                  <a:pt x="2208696" y="1801285"/>
                </a:cubicBezTo>
                <a:cubicBezTo>
                  <a:pt x="2220536" y="1811845"/>
                  <a:pt x="2230456" y="1823685"/>
                  <a:pt x="2240696" y="1835525"/>
                </a:cubicBezTo>
                <a:cubicBezTo>
                  <a:pt x="2244536" y="1839685"/>
                  <a:pt x="2248217" y="1843685"/>
                  <a:pt x="2251736" y="1847845"/>
                </a:cubicBezTo>
                <a:close/>
                <a:moveTo>
                  <a:pt x="2163416" y="1650885"/>
                </a:moveTo>
                <a:cubicBezTo>
                  <a:pt x="2169496" y="1663365"/>
                  <a:pt x="2174137" y="1676485"/>
                  <a:pt x="2178776" y="1689445"/>
                </a:cubicBezTo>
                <a:cubicBezTo>
                  <a:pt x="2183736" y="1703365"/>
                  <a:pt x="2192536" y="1714565"/>
                  <a:pt x="2198937" y="1727845"/>
                </a:cubicBezTo>
                <a:cubicBezTo>
                  <a:pt x="2209017" y="1748965"/>
                  <a:pt x="2214456" y="1771845"/>
                  <a:pt x="2223257" y="1793445"/>
                </a:cubicBezTo>
                <a:cubicBezTo>
                  <a:pt x="2219897" y="1790405"/>
                  <a:pt x="2216696" y="1787525"/>
                  <a:pt x="2213336" y="1784645"/>
                </a:cubicBezTo>
                <a:cubicBezTo>
                  <a:pt x="2201496" y="1774245"/>
                  <a:pt x="2192696" y="1760165"/>
                  <a:pt x="2183416" y="1747365"/>
                </a:cubicBezTo>
                <a:cubicBezTo>
                  <a:pt x="2166296" y="1723685"/>
                  <a:pt x="2146456" y="1701285"/>
                  <a:pt x="2126137" y="1680485"/>
                </a:cubicBezTo>
                <a:cubicBezTo>
                  <a:pt x="2106456" y="1660485"/>
                  <a:pt x="2089496" y="1638085"/>
                  <a:pt x="2069177" y="1618565"/>
                </a:cubicBezTo>
                <a:cubicBezTo>
                  <a:pt x="2026776" y="1577605"/>
                  <a:pt x="1978616" y="1542885"/>
                  <a:pt x="1932696" y="1505925"/>
                </a:cubicBezTo>
                <a:cubicBezTo>
                  <a:pt x="1931097" y="1504645"/>
                  <a:pt x="1929496" y="1503205"/>
                  <a:pt x="1927897" y="1501925"/>
                </a:cubicBezTo>
                <a:cubicBezTo>
                  <a:pt x="1966937" y="1526405"/>
                  <a:pt x="2008536" y="1546565"/>
                  <a:pt x="2051897" y="1562245"/>
                </a:cubicBezTo>
                <a:cubicBezTo>
                  <a:pt x="2068057" y="1568165"/>
                  <a:pt x="2084376" y="1573445"/>
                  <a:pt x="2101017" y="1578245"/>
                </a:cubicBezTo>
                <a:cubicBezTo>
                  <a:pt x="2103897" y="1580485"/>
                  <a:pt x="2107097" y="1582085"/>
                  <a:pt x="2110937" y="1583365"/>
                </a:cubicBezTo>
                <a:cubicBezTo>
                  <a:pt x="2129336" y="1606245"/>
                  <a:pt x="2150456" y="1624005"/>
                  <a:pt x="2163416" y="1650885"/>
                </a:cubicBezTo>
                <a:close/>
                <a:moveTo>
                  <a:pt x="3028857" y="1061605"/>
                </a:moveTo>
                <a:cubicBezTo>
                  <a:pt x="3013656" y="1113125"/>
                  <a:pt x="2988696" y="1161125"/>
                  <a:pt x="2962456" y="1207685"/>
                </a:cubicBezTo>
                <a:cubicBezTo>
                  <a:pt x="2949496" y="1230725"/>
                  <a:pt x="2935416" y="1253285"/>
                  <a:pt x="2920857" y="1275525"/>
                </a:cubicBezTo>
                <a:cubicBezTo>
                  <a:pt x="2906616" y="1297285"/>
                  <a:pt x="2893017" y="1319845"/>
                  <a:pt x="2875097" y="1338725"/>
                </a:cubicBezTo>
                <a:cubicBezTo>
                  <a:pt x="2866616" y="1347685"/>
                  <a:pt x="2857177" y="1355845"/>
                  <a:pt x="2848376" y="1364645"/>
                </a:cubicBezTo>
                <a:cubicBezTo>
                  <a:pt x="2840057" y="1373125"/>
                  <a:pt x="2834616" y="1384005"/>
                  <a:pt x="2828536" y="1394245"/>
                </a:cubicBezTo>
                <a:cubicBezTo>
                  <a:pt x="2822456" y="1404485"/>
                  <a:pt x="2815736" y="1413765"/>
                  <a:pt x="2806616" y="1421445"/>
                </a:cubicBezTo>
                <a:cubicBezTo>
                  <a:pt x="2797656" y="1428965"/>
                  <a:pt x="2791416" y="1442885"/>
                  <a:pt x="2783736" y="1452005"/>
                </a:cubicBezTo>
                <a:cubicBezTo>
                  <a:pt x="2751257" y="1491205"/>
                  <a:pt x="2706776" y="1515685"/>
                  <a:pt x="2660857" y="1535525"/>
                </a:cubicBezTo>
                <a:cubicBezTo>
                  <a:pt x="2611257" y="1556965"/>
                  <a:pt x="2560696" y="1570565"/>
                  <a:pt x="2507257" y="1578405"/>
                </a:cubicBezTo>
                <a:cubicBezTo>
                  <a:pt x="2397977" y="1594405"/>
                  <a:pt x="2288217" y="1588645"/>
                  <a:pt x="2180057" y="1567685"/>
                </a:cubicBezTo>
                <a:cubicBezTo>
                  <a:pt x="2154616" y="1562725"/>
                  <a:pt x="2129496" y="1556645"/>
                  <a:pt x="2104857" y="1549445"/>
                </a:cubicBezTo>
                <a:cubicBezTo>
                  <a:pt x="2103257" y="1548485"/>
                  <a:pt x="2101656" y="1548165"/>
                  <a:pt x="2100057" y="1548005"/>
                </a:cubicBezTo>
                <a:cubicBezTo>
                  <a:pt x="2053656" y="1533925"/>
                  <a:pt x="2008536" y="1515525"/>
                  <a:pt x="1965977" y="1491845"/>
                </a:cubicBezTo>
                <a:cubicBezTo>
                  <a:pt x="1914296" y="1463045"/>
                  <a:pt x="1869336" y="1423365"/>
                  <a:pt x="1817496" y="1395205"/>
                </a:cubicBezTo>
                <a:cubicBezTo>
                  <a:pt x="1821017" y="1392965"/>
                  <a:pt x="1824696" y="1390725"/>
                  <a:pt x="1828217" y="1388485"/>
                </a:cubicBezTo>
                <a:cubicBezTo>
                  <a:pt x="1845336" y="1393445"/>
                  <a:pt x="1861977" y="1399205"/>
                  <a:pt x="1879897" y="1402725"/>
                </a:cubicBezTo>
                <a:cubicBezTo>
                  <a:pt x="1908217" y="1408325"/>
                  <a:pt x="1936217" y="1415205"/>
                  <a:pt x="1964376" y="1420805"/>
                </a:cubicBezTo>
                <a:cubicBezTo>
                  <a:pt x="2020696" y="1432005"/>
                  <a:pt x="2078137" y="1437925"/>
                  <a:pt x="2135097" y="1444965"/>
                </a:cubicBezTo>
                <a:cubicBezTo>
                  <a:pt x="2191416" y="1452005"/>
                  <a:pt x="2247897" y="1456965"/>
                  <a:pt x="2304536" y="1459045"/>
                </a:cubicBezTo>
                <a:cubicBezTo>
                  <a:pt x="2355097" y="1460805"/>
                  <a:pt x="2407257" y="1461925"/>
                  <a:pt x="2457336" y="1452965"/>
                </a:cubicBezTo>
                <a:cubicBezTo>
                  <a:pt x="2509017" y="1443685"/>
                  <a:pt x="2559257" y="1422085"/>
                  <a:pt x="2609816" y="1408325"/>
                </a:cubicBezTo>
                <a:cubicBezTo>
                  <a:pt x="2657336" y="1395365"/>
                  <a:pt x="2700536" y="1370725"/>
                  <a:pt x="2739897" y="1341445"/>
                </a:cubicBezTo>
                <a:cubicBezTo>
                  <a:pt x="2759897" y="1326405"/>
                  <a:pt x="2777977" y="1308805"/>
                  <a:pt x="2797177" y="1292805"/>
                </a:cubicBezTo>
                <a:cubicBezTo>
                  <a:pt x="2817336" y="1276005"/>
                  <a:pt x="2836696" y="1258725"/>
                  <a:pt x="2854296" y="1239365"/>
                </a:cubicBezTo>
                <a:cubicBezTo>
                  <a:pt x="2862937" y="1229925"/>
                  <a:pt x="2872696" y="1221605"/>
                  <a:pt x="2881656" y="1212485"/>
                </a:cubicBezTo>
                <a:cubicBezTo>
                  <a:pt x="2890456" y="1203525"/>
                  <a:pt x="2897496" y="1192485"/>
                  <a:pt x="2905336" y="1182405"/>
                </a:cubicBezTo>
                <a:cubicBezTo>
                  <a:pt x="2922296" y="1160645"/>
                  <a:pt x="2940057" y="1139845"/>
                  <a:pt x="2955897" y="1117285"/>
                </a:cubicBezTo>
                <a:cubicBezTo>
                  <a:pt x="2981336" y="1081285"/>
                  <a:pt x="3001496" y="1042885"/>
                  <a:pt x="3022616" y="1004325"/>
                </a:cubicBezTo>
                <a:cubicBezTo>
                  <a:pt x="3029977" y="990885"/>
                  <a:pt x="3037017" y="977605"/>
                  <a:pt x="3043097" y="963685"/>
                </a:cubicBezTo>
                <a:cubicBezTo>
                  <a:pt x="3042776" y="969605"/>
                  <a:pt x="3042296" y="974885"/>
                  <a:pt x="3042137" y="978405"/>
                </a:cubicBezTo>
                <a:cubicBezTo>
                  <a:pt x="3041496" y="1006725"/>
                  <a:pt x="3036857" y="1034405"/>
                  <a:pt x="3028857" y="1061605"/>
                </a:cubicBezTo>
                <a:close/>
              </a:path>
            </a:pathLst>
          </a:custGeom>
          <a:solidFill>
            <a:schemeClr val="accent2"/>
          </a:solidFill>
          <a:ln w="16000"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42C23946-EC68-4E37-A11E-AE03273EEEDD}"/>
              </a:ext>
            </a:extLst>
          </p:cNvPr>
          <p:cNvPicPr>
            <a:picLocks noChangeAspect="1"/>
          </p:cNvPicPr>
          <p:nvPr userDrawn="1"/>
        </p:nvPicPr>
        <p:blipFill>
          <a:blip r:embed="rId2"/>
          <a:stretch>
            <a:fillRect/>
          </a:stretch>
        </p:blipFill>
        <p:spPr>
          <a:xfrm>
            <a:off x="2275" y="1656"/>
            <a:ext cx="12189725" cy="6856720"/>
          </a:xfrm>
          <a:prstGeom prst="rect">
            <a:avLst/>
          </a:prstGeom>
        </p:spPr>
      </p:pic>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9607F2DD-36AA-4FF6-8B78-39558E80317B}"/>
              </a:ext>
            </a:extLst>
          </p:cNvPr>
          <p:cNvPicPr>
            <a:picLocks noChangeAspect="1"/>
          </p:cNvPicPr>
          <p:nvPr userDrawn="1"/>
        </p:nvPicPr>
        <p:blipFill>
          <a:blip r:embed="rId2"/>
          <a:stretch>
            <a:fillRect/>
          </a:stretch>
        </p:blipFill>
        <p:spPr>
          <a:xfrm>
            <a:off x="2275" y="1656"/>
            <a:ext cx="12189725" cy="6856720"/>
          </a:xfrm>
          <a:prstGeom prst="rect">
            <a:avLst/>
          </a:prstGeom>
        </p:spPr>
      </p:pic>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151" name="图片 150">
            <a:extLst>
              <a:ext uri="{FF2B5EF4-FFF2-40B4-BE49-F238E27FC236}">
                <a16:creationId xmlns:a16="http://schemas.microsoft.com/office/drawing/2014/main" id="{A1C3047A-CE68-45E9-BF5F-B4D902D568F2}"/>
              </a:ext>
            </a:extLst>
          </p:cNvPr>
          <p:cNvPicPr>
            <a:picLocks noChangeAspect="1"/>
          </p:cNvPicPr>
          <p:nvPr userDrawn="1"/>
        </p:nvPicPr>
        <p:blipFill>
          <a:blip r:embed="rId2"/>
          <a:stretch>
            <a:fillRect/>
          </a:stretch>
        </p:blipFill>
        <p:spPr>
          <a:xfrm>
            <a:off x="1973" y="4378"/>
            <a:ext cx="12190027" cy="6856890"/>
          </a:xfrm>
          <a:prstGeom prst="rect">
            <a:avLst/>
          </a:prstGeom>
        </p:spPr>
      </p:pic>
      <p:sp>
        <p:nvSpPr>
          <p:cNvPr id="13" name="标题 1"/>
          <p:cNvSpPr>
            <a:spLocks noGrp="1"/>
          </p:cNvSpPr>
          <p:nvPr userDrawn="1">
            <p:ph type="ctrTitle" hasCustomPrompt="1"/>
          </p:nvPr>
        </p:nvSpPr>
        <p:spPr>
          <a:xfrm>
            <a:off x="1460500" y="1228525"/>
            <a:ext cx="9271000" cy="1983066"/>
          </a:xfrm>
        </p:spPr>
        <p:txBody>
          <a:bodyPr anchor="b">
            <a:normAutofit/>
          </a:bodyPr>
          <a:lstStyle>
            <a:lvl1pPr marL="0" indent="0" algn="l">
              <a:buFont typeface="Arial" panose="020B0604020202020204" pitchFamily="34" charset="0"/>
              <a:buNone/>
              <a:defRPr sz="3200">
                <a:solidFill>
                  <a:schemeClr val="tx1">
                    <a:lumMod val="85000"/>
                    <a:lumOff val="15000"/>
                  </a:schemeClr>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1460500" y="4124901"/>
            <a:ext cx="9271000" cy="310871"/>
          </a:xfrm>
        </p:spPr>
        <p:txBody>
          <a:bodyPr vert="horz" lIns="91440" tIns="45720" rIns="91440" bIns="45720" rtlCol="0">
            <a:normAutofit/>
          </a:bodyPr>
          <a:lstStyle>
            <a:lvl1pPr marL="0" indent="0" algn="l">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460502" y="3828630"/>
            <a:ext cx="9271000"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8" name="任意多边形: 形状 7">
            <a:extLst>
              <a:ext uri="{FF2B5EF4-FFF2-40B4-BE49-F238E27FC236}">
                <a16:creationId xmlns:a16="http://schemas.microsoft.com/office/drawing/2014/main" id="{2208CA27-4687-4708-9E2E-11854993E664}"/>
              </a:ext>
            </a:extLst>
          </p:cNvPr>
          <p:cNvSpPr/>
          <p:nvPr/>
        </p:nvSpPr>
        <p:spPr>
          <a:xfrm>
            <a:off x="6961223" y="2709861"/>
            <a:ext cx="3070954" cy="3009544"/>
          </a:xfrm>
          <a:custGeom>
            <a:avLst/>
            <a:gdLst>
              <a:gd name="connsiteX0" fmla="*/ 3070456 w 3070954"/>
              <a:gd name="connsiteY0" fmla="*/ 953445 h 3009544"/>
              <a:gd name="connsiteX1" fmla="*/ 3061656 w 3070954"/>
              <a:gd name="connsiteY1" fmla="*/ 915045 h 3009544"/>
              <a:gd name="connsiteX2" fmla="*/ 3023416 w 3070954"/>
              <a:gd name="connsiteY2" fmla="*/ 914885 h 3009544"/>
              <a:gd name="connsiteX3" fmla="*/ 2919736 w 3070954"/>
              <a:gd name="connsiteY3" fmla="*/ 993445 h 3009544"/>
              <a:gd name="connsiteX4" fmla="*/ 2853816 w 3070954"/>
              <a:gd name="connsiteY4" fmla="*/ 1034885 h 3009544"/>
              <a:gd name="connsiteX5" fmla="*/ 2784376 w 3070954"/>
              <a:gd name="connsiteY5" fmla="*/ 1078085 h 3009544"/>
              <a:gd name="connsiteX6" fmla="*/ 2687576 w 3070954"/>
              <a:gd name="connsiteY6" fmla="*/ 1098725 h 3009544"/>
              <a:gd name="connsiteX7" fmla="*/ 2743416 w 3070954"/>
              <a:gd name="connsiteY7" fmla="*/ 1049285 h 3009544"/>
              <a:gd name="connsiteX8" fmla="*/ 2845496 w 3070954"/>
              <a:gd name="connsiteY8" fmla="*/ 934885 h 3009544"/>
              <a:gd name="connsiteX9" fmla="*/ 2915097 w 3070954"/>
              <a:gd name="connsiteY9" fmla="*/ 808645 h 3009544"/>
              <a:gd name="connsiteX10" fmla="*/ 2978776 w 3070954"/>
              <a:gd name="connsiteY10" fmla="*/ 658405 h 3009544"/>
              <a:gd name="connsiteX11" fmla="*/ 3020696 w 3070954"/>
              <a:gd name="connsiteY11" fmla="*/ 500325 h 3009544"/>
              <a:gd name="connsiteX12" fmla="*/ 3049977 w 3070954"/>
              <a:gd name="connsiteY12" fmla="*/ 349765 h 3009544"/>
              <a:gd name="connsiteX13" fmla="*/ 3063257 w 3070954"/>
              <a:gd name="connsiteY13" fmla="*/ 196165 h 3009544"/>
              <a:gd name="connsiteX14" fmla="*/ 3063416 w 3070954"/>
              <a:gd name="connsiteY14" fmla="*/ 76965 h 3009544"/>
              <a:gd name="connsiteX15" fmla="*/ 3059576 w 3070954"/>
              <a:gd name="connsiteY15" fmla="*/ 2885 h 3009544"/>
              <a:gd name="connsiteX16" fmla="*/ 3042616 w 3070954"/>
              <a:gd name="connsiteY16" fmla="*/ 2885 h 3009544"/>
              <a:gd name="connsiteX17" fmla="*/ 3016696 w 3070954"/>
              <a:gd name="connsiteY17" fmla="*/ 24645 h 3009544"/>
              <a:gd name="connsiteX18" fmla="*/ 2976217 w 3070954"/>
              <a:gd name="connsiteY18" fmla="*/ 49605 h 3009544"/>
              <a:gd name="connsiteX19" fmla="*/ 2875097 w 3070954"/>
              <a:gd name="connsiteY19" fmla="*/ 108645 h 3009544"/>
              <a:gd name="connsiteX20" fmla="*/ 2824376 w 3070954"/>
              <a:gd name="connsiteY20" fmla="*/ 125925 h 3009544"/>
              <a:gd name="connsiteX21" fmla="*/ 2778776 w 3070954"/>
              <a:gd name="connsiteY21" fmla="*/ 147205 h 3009544"/>
              <a:gd name="connsiteX22" fmla="*/ 2695416 w 3070954"/>
              <a:gd name="connsiteY22" fmla="*/ 207685 h 3009544"/>
              <a:gd name="connsiteX23" fmla="*/ 2614296 w 3070954"/>
              <a:gd name="connsiteY23" fmla="*/ 288005 h 3009544"/>
              <a:gd name="connsiteX24" fmla="*/ 2539416 w 3070954"/>
              <a:gd name="connsiteY24" fmla="*/ 376165 h 3009544"/>
              <a:gd name="connsiteX25" fmla="*/ 2485336 w 3070954"/>
              <a:gd name="connsiteY25" fmla="*/ 476965 h 3009544"/>
              <a:gd name="connsiteX26" fmla="*/ 2477336 w 3070954"/>
              <a:gd name="connsiteY26" fmla="*/ 498885 h 3009544"/>
              <a:gd name="connsiteX27" fmla="*/ 2471257 w 3070954"/>
              <a:gd name="connsiteY27" fmla="*/ 448165 h 3009544"/>
              <a:gd name="connsiteX28" fmla="*/ 2455416 w 3070954"/>
              <a:gd name="connsiteY28" fmla="*/ 370245 h 3009544"/>
              <a:gd name="connsiteX29" fmla="*/ 2434776 w 3070954"/>
              <a:gd name="connsiteY29" fmla="*/ 291205 h 3009544"/>
              <a:gd name="connsiteX30" fmla="*/ 2419416 w 3070954"/>
              <a:gd name="connsiteY30" fmla="*/ 237445 h 3009544"/>
              <a:gd name="connsiteX31" fmla="*/ 2389177 w 3070954"/>
              <a:gd name="connsiteY31" fmla="*/ 180805 h 3009544"/>
              <a:gd name="connsiteX32" fmla="*/ 2317816 w 3070954"/>
              <a:gd name="connsiteY32" fmla="*/ 51845 h 3009544"/>
              <a:gd name="connsiteX33" fmla="*/ 2293977 w 3070954"/>
              <a:gd name="connsiteY33" fmla="*/ 58245 h 3009544"/>
              <a:gd name="connsiteX34" fmla="*/ 2268857 w 3070954"/>
              <a:gd name="connsiteY34" fmla="*/ 102565 h 3009544"/>
              <a:gd name="connsiteX35" fmla="*/ 2238937 w 3070954"/>
              <a:gd name="connsiteY35" fmla="*/ 144485 h 3009544"/>
              <a:gd name="connsiteX36" fmla="*/ 2169496 w 3070954"/>
              <a:gd name="connsiteY36" fmla="*/ 232645 h 3009544"/>
              <a:gd name="connsiteX37" fmla="*/ 2090456 w 3070954"/>
              <a:gd name="connsiteY37" fmla="*/ 292485 h 3009544"/>
              <a:gd name="connsiteX38" fmla="*/ 2052057 w 3070954"/>
              <a:gd name="connsiteY38" fmla="*/ 311685 h 3009544"/>
              <a:gd name="connsiteX39" fmla="*/ 2011257 w 3070954"/>
              <a:gd name="connsiteY39" fmla="*/ 342245 h 3009544"/>
              <a:gd name="connsiteX40" fmla="*/ 1978937 w 3070954"/>
              <a:gd name="connsiteY40" fmla="*/ 365445 h 3009544"/>
              <a:gd name="connsiteX41" fmla="*/ 1944696 w 3070954"/>
              <a:gd name="connsiteY41" fmla="*/ 396645 h 3009544"/>
              <a:gd name="connsiteX42" fmla="*/ 1931416 w 3070954"/>
              <a:gd name="connsiteY42" fmla="*/ 357605 h 3009544"/>
              <a:gd name="connsiteX43" fmla="*/ 1893816 w 3070954"/>
              <a:gd name="connsiteY43" fmla="*/ 288325 h 3009544"/>
              <a:gd name="connsiteX44" fmla="*/ 1776536 w 3070954"/>
              <a:gd name="connsiteY44" fmla="*/ 180645 h 3009544"/>
              <a:gd name="connsiteX45" fmla="*/ 1618137 w 3070954"/>
              <a:gd name="connsiteY45" fmla="*/ 93285 h 3009544"/>
              <a:gd name="connsiteX46" fmla="*/ 1581336 w 3070954"/>
              <a:gd name="connsiteY46" fmla="*/ 76485 h 3009544"/>
              <a:gd name="connsiteX47" fmla="*/ 1545496 w 3070954"/>
              <a:gd name="connsiteY47" fmla="*/ 64165 h 3009544"/>
              <a:gd name="connsiteX48" fmla="*/ 1474937 w 3070954"/>
              <a:gd name="connsiteY48" fmla="*/ 22405 h 3009544"/>
              <a:gd name="connsiteX49" fmla="*/ 1466616 w 3070954"/>
              <a:gd name="connsiteY49" fmla="*/ 21445 h 3009544"/>
              <a:gd name="connsiteX50" fmla="*/ 1458137 w 3070954"/>
              <a:gd name="connsiteY50" fmla="*/ 25445 h 3009544"/>
              <a:gd name="connsiteX51" fmla="*/ 1410776 w 3070954"/>
              <a:gd name="connsiteY51" fmla="*/ 98405 h 3009544"/>
              <a:gd name="connsiteX52" fmla="*/ 1345656 w 3070954"/>
              <a:gd name="connsiteY52" fmla="*/ 169125 h 3009544"/>
              <a:gd name="connsiteX53" fmla="*/ 1284057 w 3070954"/>
              <a:gd name="connsiteY53" fmla="*/ 226085 h 3009544"/>
              <a:gd name="connsiteX54" fmla="*/ 1257017 w 3070954"/>
              <a:gd name="connsiteY54" fmla="*/ 256005 h 3009544"/>
              <a:gd name="connsiteX55" fmla="*/ 1225497 w 3070954"/>
              <a:gd name="connsiteY55" fmla="*/ 232645 h 3009544"/>
              <a:gd name="connsiteX56" fmla="*/ 1144216 w 3070954"/>
              <a:gd name="connsiteY56" fmla="*/ 176805 h 3009544"/>
              <a:gd name="connsiteX57" fmla="*/ 1101656 w 3070954"/>
              <a:gd name="connsiteY57" fmla="*/ 159685 h 3009544"/>
              <a:gd name="connsiteX58" fmla="*/ 1051096 w 3070954"/>
              <a:gd name="connsiteY58" fmla="*/ 143205 h 3009544"/>
              <a:gd name="connsiteX59" fmla="*/ 999096 w 3070954"/>
              <a:gd name="connsiteY59" fmla="*/ 128485 h 3009544"/>
              <a:gd name="connsiteX60" fmla="*/ 953656 w 3070954"/>
              <a:gd name="connsiteY60" fmla="*/ 117285 h 3009544"/>
              <a:gd name="connsiteX61" fmla="*/ 949497 w 3070954"/>
              <a:gd name="connsiteY61" fmla="*/ 117765 h 3009544"/>
              <a:gd name="connsiteX62" fmla="*/ 940376 w 3070954"/>
              <a:gd name="connsiteY62" fmla="*/ 121925 h 3009544"/>
              <a:gd name="connsiteX63" fmla="*/ 945977 w 3070954"/>
              <a:gd name="connsiteY63" fmla="*/ 155205 h 3009544"/>
              <a:gd name="connsiteX64" fmla="*/ 954457 w 3070954"/>
              <a:gd name="connsiteY64" fmla="*/ 220165 h 3009544"/>
              <a:gd name="connsiteX65" fmla="*/ 928856 w 3070954"/>
              <a:gd name="connsiteY65" fmla="*/ 357285 h 3009544"/>
              <a:gd name="connsiteX66" fmla="*/ 879736 w 3070954"/>
              <a:gd name="connsiteY66" fmla="*/ 474885 h 3009544"/>
              <a:gd name="connsiteX67" fmla="*/ 858296 w 3070954"/>
              <a:gd name="connsiteY67" fmla="*/ 530405 h 3009544"/>
              <a:gd name="connsiteX68" fmla="*/ 851576 w 3070954"/>
              <a:gd name="connsiteY68" fmla="*/ 546405 h 3009544"/>
              <a:gd name="connsiteX69" fmla="*/ 848376 w 3070954"/>
              <a:gd name="connsiteY69" fmla="*/ 550085 h 3009544"/>
              <a:gd name="connsiteX70" fmla="*/ 845977 w 3070954"/>
              <a:gd name="connsiteY70" fmla="*/ 563205 h 3009544"/>
              <a:gd name="connsiteX71" fmla="*/ 844376 w 3070954"/>
              <a:gd name="connsiteY71" fmla="*/ 570565 h 3009544"/>
              <a:gd name="connsiteX72" fmla="*/ 813977 w 3070954"/>
              <a:gd name="connsiteY72" fmla="*/ 567205 h 3009544"/>
              <a:gd name="connsiteX73" fmla="*/ 748696 w 3070954"/>
              <a:gd name="connsiteY73" fmla="*/ 551845 h 3009544"/>
              <a:gd name="connsiteX74" fmla="*/ 621497 w 3070954"/>
              <a:gd name="connsiteY74" fmla="*/ 531045 h 3009544"/>
              <a:gd name="connsiteX75" fmla="*/ 494937 w 3070954"/>
              <a:gd name="connsiteY75" fmla="*/ 510725 h 3009544"/>
              <a:gd name="connsiteX76" fmla="*/ 485336 w 3070954"/>
              <a:gd name="connsiteY76" fmla="*/ 507045 h 3009544"/>
              <a:gd name="connsiteX77" fmla="*/ 481176 w 3070954"/>
              <a:gd name="connsiteY77" fmla="*/ 505445 h 3009544"/>
              <a:gd name="connsiteX78" fmla="*/ 444536 w 3070954"/>
              <a:gd name="connsiteY78" fmla="*/ 489125 h 3009544"/>
              <a:gd name="connsiteX79" fmla="*/ 436696 w 3070954"/>
              <a:gd name="connsiteY79" fmla="*/ 485765 h 3009544"/>
              <a:gd name="connsiteX80" fmla="*/ 415576 w 3070954"/>
              <a:gd name="connsiteY80" fmla="*/ 468005 h 3009544"/>
              <a:gd name="connsiteX81" fmla="*/ 410937 w 3070954"/>
              <a:gd name="connsiteY81" fmla="*/ 463365 h 3009544"/>
              <a:gd name="connsiteX82" fmla="*/ 410937 w 3070954"/>
              <a:gd name="connsiteY82" fmla="*/ 463365 h 3009544"/>
              <a:gd name="connsiteX83" fmla="*/ 405017 w 3070954"/>
              <a:gd name="connsiteY83" fmla="*/ 456805 h 3009544"/>
              <a:gd name="connsiteX84" fmla="*/ 400696 w 3070954"/>
              <a:gd name="connsiteY84" fmla="*/ 454565 h 3009544"/>
              <a:gd name="connsiteX85" fmla="*/ 398616 w 3070954"/>
              <a:gd name="connsiteY85" fmla="*/ 453285 h 3009544"/>
              <a:gd name="connsiteX86" fmla="*/ 392056 w 3070954"/>
              <a:gd name="connsiteY86" fmla="*/ 455045 h 3009544"/>
              <a:gd name="connsiteX87" fmla="*/ 387576 w 3070954"/>
              <a:gd name="connsiteY87" fmla="*/ 461445 h 3009544"/>
              <a:gd name="connsiteX88" fmla="*/ 381336 w 3070954"/>
              <a:gd name="connsiteY88" fmla="*/ 490565 h 3009544"/>
              <a:gd name="connsiteX89" fmla="*/ 380056 w 3070954"/>
              <a:gd name="connsiteY89" fmla="*/ 508805 h 3009544"/>
              <a:gd name="connsiteX90" fmla="*/ 367576 w 3070954"/>
              <a:gd name="connsiteY90" fmla="*/ 780485 h 3009544"/>
              <a:gd name="connsiteX91" fmla="*/ 388536 w 3070954"/>
              <a:gd name="connsiteY91" fmla="*/ 847685 h 3009544"/>
              <a:gd name="connsiteX92" fmla="*/ 427416 w 3070954"/>
              <a:gd name="connsiteY92" fmla="*/ 921765 h 3009544"/>
              <a:gd name="connsiteX93" fmla="*/ 514296 w 3070954"/>
              <a:gd name="connsiteY93" fmla="*/ 1048165 h 3009544"/>
              <a:gd name="connsiteX94" fmla="*/ 611096 w 3070954"/>
              <a:gd name="connsiteY94" fmla="*/ 1162245 h 3009544"/>
              <a:gd name="connsiteX95" fmla="*/ 733816 w 3070954"/>
              <a:gd name="connsiteY95" fmla="*/ 1264485 h 3009544"/>
              <a:gd name="connsiteX96" fmla="*/ 875736 w 3070954"/>
              <a:gd name="connsiteY96" fmla="*/ 1335045 h 3009544"/>
              <a:gd name="connsiteX97" fmla="*/ 1035096 w 3070954"/>
              <a:gd name="connsiteY97" fmla="*/ 1378085 h 3009544"/>
              <a:gd name="connsiteX98" fmla="*/ 1118136 w 3070954"/>
              <a:gd name="connsiteY98" fmla="*/ 1382725 h 3009544"/>
              <a:gd name="connsiteX99" fmla="*/ 1183256 w 3070954"/>
              <a:gd name="connsiteY99" fmla="*/ 1380485 h 3009544"/>
              <a:gd name="connsiteX100" fmla="*/ 1220216 w 3070954"/>
              <a:gd name="connsiteY100" fmla="*/ 1376485 h 3009544"/>
              <a:gd name="connsiteX101" fmla="*/ 1265177 w 3070954"/>
              <a:gd name="connsiteY101" fmla="*/ 1370405 h 3009544"/>
              <a:gd name="connsiteX102" fmla="*/ 1340217 w 3070954"/>
              <a:gd name="connsiteY102" fmla="*/ 1368325 h 3009544"/>
              <a:gd name="connsiteX103" fmla="*/ 1352696 w 3070954"/>
              <a:gd name="connsiteY103" fmla="*/ 1374085 h 3009544"/>
              <a:gd name="connsiteX104" fmla="*/ 1314137 w 3070954"/>
              <a:gd name="connsiteY104" fmla="*/ 1396965 h 3009544"/>
              <a:gd name="connsiteX105" fmla="*/ 1236536 w 3070954"/>
              <a:gd name="connsiteY105" fmla="*/ 1417445 h 3009544"/>
              <a:gd name="connsiteX106" fmla="*/ 1076856 w 3070954"/>
              <a:gd name="connsiteY106" fmla="*/ 1427685 h 3009544"/>
              <a:gd name="connsiteX107" fmla="*/ 912696 w 3070954"/>
              <a:gd name="connsiteY107" fmla="*/ 1420325 h 3009544"/>
              <a:gd name="connsiteX108" fmla="*/ 831096 w 3070954"/>
              <a:gd name="connsiteY108" fmla="*/ 1419685 h 3009544"/>
              <a:gd name="connsiteX109" fmla="*/ 737656 w 3070954"/>
              <a:gd name="connsiteY109" fmla="*/ 1421445 h 3009544"/>
              <a:gd name="connsiteX110" fmla="*/ 573656 w 3070954"/>
              <a:gd name="connsiteY110" fmla="*/ 1430085 h 3009544"/>
              <a:gd name="connsiteX111" fmla="*/ 417176 w 3070954"/>
              <a:gd name="connsiteY111" fmla="*/ 1460325 h 3009544"/>
              <a:gd name="connsiteX112" fmla="*/ 276696 w 3070954"/>
              <a:gd name="connsiteY112" fmla="*/ 1516165 h 3009544"/>
              <a:gd name="connsiteX113" fmla="*/ 168536 w 3070954"/>
              <a:gd name="connsiteY113" fmla="*/ 1578245 h 3009544"/>
              <a:gd name="connsiteX114" fmla="*/ 119256 w 3070954"/>
              <a:gd name="connsiteY114" fmla="*/ 1601925 h 3009544"/>
              <a:gd name="connsiteX115" fmla="*/ 102776 w 3070954"/>
              <a:gd name="connsiteY115" fmla="*/ 1617125 h 3009544"/>
              <a:gd name="connsiteX116" fmla="*/ 91576 w 3070954"/>
              <a:gd name="connsiteY116" fmla="*/ 1622885 h 3009544"/>
              <a:gd name="connsiteX117" fmla="*/ 88696 w 3070954"/>
              <a:gd name="connsiteY117" fmla="*/ 1624325 h 3009544"/>
              <a:gd name="connsiteX118" fmla="*/ 79096 w 3070954"/>
              <a:gd name="connsiteY118" fmla="*/ 1637605 h 3009544"/>
              <a:gd name="connsiteX119" fmla="*/ 45977 w 3070954"/>
              <a:gd name="connsiteY119" fmla="*/ 1672485 h 3009544"/>
              <a:gd name="connsiteX120" fmla="*/ 48216 w 3070954"/>
              <a:gd name="connsiteY120" fmla="*/ 1673445 h 3009544"/>
              <a:gd name="connsiteX121" fmla="*/ 40536 w 3070954"/>
              <a:gd name="connsiteY121" fmla="*/ 1683045 h 3009544"/>
              <a:gd name="connsiteX122" fmla="*/ 6136 w 3070954"/>
              <a:gd name="connsiteY122" fmla="*/ 1716165 h 3009544"/>
              <a:gd name="connsiteX123" fmla="*/ 8856 w 3070954"/>
              <a:gd name="connsiteY123" fmla="*/ 1735845 h 3009544"/>
              <a:gd name="connsiteX124" fmla="*/ 72216 w 3070954"/>
              <a:gd name="connsiteY124" fmla="*/ 1735045 h 3009544"/>
              <a:gd name="connsiteX125" fmla="*/ 106136 w 3070954"/>
              <a:gd name="connsiteY125" fmla="*/ 1738405 h 3009544"/>
              <a:gd name="connsiteX126" fmla="*/ 146296 w 3070954"/>
              <a:gd name="connsiteY126" fmla="*/ 1741925 h 3009544"/>
              <a:gd name="connsiteX127" fmla="*/ 220056 w 3070954"/>
              <a:gd name="connsiteY127" fmla="*/ 1765125 h 3009544"/>
              <a:gd name="connsiteX128" fmla="*/ 301176 w 3070954"/>
              <a:gd name="connsiteY128" fmla="*/ 1786885 h 3009544"/>
              <a:gd name="connsiteX129" fmla="*/ 468056 w 3070954"/>
              <a:gd name="connsiteY129" fmla="*/ 1821445 h 3009544"/>
              <a:gd name="connsiteX130" fmla="*/ 539736 w 3070954"/>
              <a:gd name="connsiteY130" fmla="*/ 1839205 h 3009544"/>
              <a:gd name="connsiteX131" fmla="*/ 627416 w 3070954"/>
              <a:gd name="connsiteY131" fmla="*/ 1850725 h 3009544"/>
              <a:gd name="connsiteX132" fmla="*/ 781176 w 3070954"/>
              <a:gd name="connsiteY132" fmla="*/ 1857285 h 3009544"/>
              <a:gd name="connsiteX133" fmla="*/ 933497 w 3070954"/>
              <a:gd name="connsiteY133" fmla="*/ 1832325 h 3009544"/>
              <a:gd name="connsiteX134" fmla="*/ 1001017 w 3070954"/>
              <a:gd name="connsiteY134" fmla="*/ 1816325 h 3009544"/>
              <a:gd name="connsiteX135" fmla="*/ 1077017 w 3070954"/>
              <a:gd name="connsiteY135" fmla="*/ 1798885 h 3009544"/>
              <a:gd name="connsiteX136" fmla="*/ 1147096 w 3070954"/>
              <a:gd name="connsiteY136" fmla="*/ 1777605 h 3009544"/>
              <a:gd name="connsiteX137" fmla="*/ 1212696 w 3070954"/>
              <a:gd name="connsiteY137" fmla="*/ 1748165 h 3009544"/>
              <a:gd name="connsiteX138" fmla="*/ 1260696 w 3070954"/>
              <a:gd name="connsiteY138" fmla="*/ 1722245 h 3009544"/>
              <a:gd name="connsiteX139" fmla="*/ 1266616 w 3070954"/>
              <a:gd name="connsiteY139" fmla="*/ 1711045 h 3009544"/>
              <a:gd name="connsiteX140" fmla="*/ 1268057 w 3070954"/>
              <a:gd name="connsiteY140" fmla="*/ 1710245 h 3009544"/>
              <a:gd name="connsiteX141" fmla="*/ 1279097 w 3070954"/>
              <a:gd name="connsiteY141" fmla="*/ 1702885 h 3009544"/>
              <a:gd name="connsiteX142" fmla="*/ 1248376 w 3070954"/>
              <a:gd name="connsiteY142" fmla="*/ 1736485 h 3009544"/>
              <a:gd name="connsiteX143" fmla="*/ 1211256 w 3070954"/>
              <a:gd name="connsiteY143" fmla="*/ 1794565 h 3009544"/>
              <a:gd name="connsiteX144" fmla="*/ 1171417 w 3070954"/>
              <a:gd name="connsiteY144" fmla="*/ 1854885 h 3009544"/>
              <a:gd name="connsiteX145" fmla="*/ 1097176 w 3070954"/>
              <a:gd name="connsiteY145" fmla="*/ 1995845 h 3009544"/>
              <a:gd name="connsiteX146" fmla="*/ 1042296 w 3070954"/>
              <a:gd name="connsiteY146" fmla="*/ 2142565 h 3009544"/>
              <a:gd name="connsiteX147" fmla="*/ 1024056 w 3070954"/>
              <a:gd name="connsiteY147" fmla="*/ 2218565 h 3009544"/>
              <a:gd name="connsiteX148" fmla="*/ 1014937 w 3070954"/>
              <a:gd name="connsiteY148" fmla="*/ 2292165 h 3009544"/>
              <a:gd name="connsiteX149" fmla="*/ 1025497 w 3070954"/>
              <a:gd name="connsiteY149" fmla="*/ 2354085 h 3009544"/>
              <a:gd name="connsiteX150" fmla="*/ 1034616 w 3070954"/>
              <a:gd name="connsiteY150" fmla="*/ 2388645 h 3009544"/>
              <a:gd name="connsiteX151" fmla="*/ 1030457 w 3070954"/>
              <a:gd name="connsiteY151" fmla="*/ 2424485 h 3009544"/>
              <a:gd name="connsiteX152" fmla="*/ 1042616 w 3070954"/>
              <a:gd name="connsiteY152" fmla="*/ 2436485 h 3009544"/>
              <a:gd name="connsiteX153" fmla="*/ 1110616 w 3070954"/>
              <a:gd name="connsiteY153" fmla="*/ 2432965 h 3009544"/>
              <a:gd name="connsiteX154" fmla="*/ 1188376 w 3070954"/>
              <a:gd name="connsiteY154" fmla="*/ 2427365 h 3009544"/>
              <a:gd name="connsiteX155" fmla="*/ 1319897 w 3070954"/>
              <a:gd name="connsiteY155" fmla="*/ 2380965 h 3009544"/>
              <a:gd name="connsiteX156" fmla="*/ 1385656 w 3070954"/>
              <a:gd name="connsiteY156" fmla="*/ 2348325 h 3009544"/>
              <a:gd name="connsiteX157" fmla="*/ 1448217 w 3070954"/>
              <a:gd name="connsiteY157" fmla="*/ 2305765 h 3009544"/>
              <a:gd name="connsiteX158" fmla="*/ 1569177 w 3070954"/>
              <a:gd name="connsiteY158" fmla="*/ 2197925 h 3009544"/>
              <a:gd name="connsiteX159" fmla="*/ 1677656 w 3070954"/>
              <a:gd name="connsiteY159" fmla="*/ 2075845 h 3009544"/>
              <a:gd name="connsiteX160" fmla="*/ 1699097 w 3070954"/>
              <a:gd name="connsiteY160" fmla="*/ 2046405 h 3009544"/>
              <a:gd name="connsiteX161" fmla="*/ 1701017 w 3070954"/>
              <a:gd name="connsiteY161" fmla="*/ 2057605 h 3009544"/>
              <a:gd name="connsiteX162" fmla="*/ 1705816 w 3070954"/>
              <a:gd name="connsiteY162" fmla="*/ 2083525 h 3009544"/>
              <a:gd name="connsiteX163" fmla="*/ 1704696 w 3070954"/>
              <a:gd name="connsiteY163" fmla="*/ 2135205 h 3009544"/>
              <a:gd name="connsiteX164" fmla="*/ 1706776 w 3070954"/>
              <a:gd name="connsiteY164" fmla="*/ 2197285 h 3009544"/>
              <a:gd name="connsiteX165" fmla="*/ 1707736 w 3070954"/>
              <a:gd name="connsiteY165" fmla="*/ 2259525 h 3009544"/>
              <a:gd name="connsiteX166" fmla="*/ 1705977 w 3070954"/>
              <a:gd name="connsiteY166" fmla="*/ 2318405 h 3009544"/>
              <a:gd name="connsiteX167" fmla="*/ 1700376 w 3070954"/>
              <a:gd name="connsiteY167" fmla="*/ 2379525 h 3009544"/>
              <a:gd name="connsiteX168" fmla="*/ 1697177 w 3070954"/>
              <a:gd name="connsiteY168" fmla="*/ 2511685 h 3009544"/>
              <a:gd name="connsiteX169" fmla="*/ 1668376 w 3070954"/>
              <a:gd name="connsiteY169" fmla="*/ 2777765 h 3009544"/>
              <a:gd name="connsiteX170" fmla="*/ 1644536 w 3070954"/>
              <a:gd name="connsiteY170" fmla="*/ 2893445 h 3009544"/>
              <a:gd name="connsiteX171" fmla="*/ 1617816 w 3070954"/>
              <a:gd name="connsiteY171" fmla="*/ 2978085 h 3009544"/>
              <a:gd name="connsiteX172" fmla="*/ 1609017 w 3070954"/>
              <a:gd name="connsiteY172" fmla="*/ 2988965 h 3009544"/>
              <a:gd name="connsiteX173" fmla="*/ 1608057 w 3070954"/>
              <a:gd name="connsiteY173" fmla="*/ 2994245 h 3009544"/>
              <a:gd name="connsiteX174" fmla="*/ 1633496 w 3070954"/>
              <a:gd name="connsiteY174" fmla="*/ 3004805 h 3009544"/>
              <a:gd name="connsiteX175" fmla="*/ 1668217 w 3070954"/>
              <a:gd name="connsiteY175" fmla="*/ 2920645 h 3009544"/>
              <a:gd name="connsiteX176" fmla="*/ 1681017 w 3070954"/>
              <a:gd name="connsiteY176" fmla="*/ 2862565 h 3009544"/>
              <a:gd name="connsiteX177" fmla="*/ 1693816 w 3070954"/>
              <a:gd name="connsiteY177" fmla="*/ 2801445 h 3009544"/>
              <a:gd name="connsiteX178" fmla="*/ 1709496 w 3070954"/>
              <a:gd name="connsiteY178" fmla="*/ 2662565 h 3009544"/>
              <a:gd name="connsiteX179" fmla="*/ 1724376 w 3070954"/>
              <a:gd name="connsiteY179" fmla="*/ 2522565 h 3009544"/>
              <a:gd name="connsiteX180" fmla="*/ 1728057 w 3070954"/>
              <a:gd name="connsiteY180" fmla="*/ 2392645 h 3009544"/>
              <a:gd name="connsiteX181" fmla="*/ 1735576 w 3070954"/>
              <a:gd name="connsiteY181" fmla="*/ 2268005 h 3009544"/>
              <a:gd name="connsiteX182" fmla="*/ 1734456 w 3070954"/>
              <a:gd name="connsiteY182" fmla="*/ 2207685 h 3009544"/>
              <a:gd name="connsiteX183" fmla="*/ 1729816 w 3070954"/>
              <a:gd name="connsiteY183" fmla="*/ 2138725 h 3009544"/>
              <a:gd name="connsiteX184" fmla="*/ 1722937 w 3070954"/>
              <a:gd name="connsiteY184" fmla="*/ 2013765 h 3009544"/>
              <a:gd name="connsiteX185" fmla="*/ 1722616 w 3070954"/>
              <a:gd name="connsiteY185" fmla="*/ 2012805 h 3009544"/>
              <a:gd name="connsiteX186" fmla="*/ 1771097 w 3070954"/>
              <a:gd name="connsiteY186" fmla="*/ 1943205 h 3009544"/>
              <a:gd name="connsiteX187" fmla="*/ 1797336 w 3070954"/>
              <a:gd name="connsiteY187" fmla="*/ 1904645 h 3009544"/>
              <a:gd name="connsiteX188" fmla="*/ 1798296 w 3070954"/>
              <a:gd name="connsiteY188" fmla="*/ 1921445 h 3009544"/>
              <a:gd name="connsiteX189" fmla="*/ 1800696 w 3070954"/>
              <a:gd name="connsiteY189" fmla="*/ 1995205 h 3009544"/>
              <a:gd name="connsiteX190" fmla="*/ 1806296 w 3070954"/>
              <a:gd name="connsiteY190" fmla="*/ 2142725 h 3009544"/>
              <a:gd name="connsiteX191" fmla="*/ 1806616 w 3070954"/>
              <a:gd name="connsiteY191" fmla="*/ 2278245 h 3009544"/>
              <a:gd name="connsiteX192" fmla="*/ 1806937 w 3070954"/>
              <a:gd name="connsiteY192" fmla="*/ 2352805 h 3009544"/>
              <a:gd name="connsiteX193" fmla="*/ 1800856 w 3070954"/>
              <a:gd name="connsiteY193" fmla="*/ 2425765 h 3009544"/>
              <a:gd name="connsiteX194" fmla="*/ 1796536 w 3070954"/>
              <a:gd name="connsiteY194" fmla="*/ 2490085 h 3009544"/>
              <a:gd name="connsiteX195" fmla="*/ 1781336 w 3070954"/>
              <a:gd name="connsiteY195" fmla="*/ 2563845 h 3009544"/>
              <a:gd name="connsiteX196" fmla="*/ 1762937 w 3070954"/>
              <a:gd name="connsiteY196" fmla="*/ 2711365 h 3009544"/>
              <a:gd name="connsiteX197" fmla="*/ 1736696 w 3070954"/>
              <a:gd name="connsiteY197" fmla="*/ 2849925 h 3009544"/>
              <a:gd name="connsiteX198" fmla="*/ 1717496 w 3070954"/>
              <a:gd name="connsiteY198" fmla="*/ 2918085 h 3009544"/>
              <a:gd name="connsiteX199" fmla="*/ 1711097 w 3070954"/>
              <a:gd name="connsiteY199" fmla="*/ 2942405 h 3009544"/>
              <a:gd name="connsiteX200" fmla="*/ 1705496 w 3070954"/>
              <a:gd name="connsiteY200" fmla="*/ 2952485 h 3009544"/>
              <a:gd name="connsiteX201" fmla="*/ 1704536 w 3070954"/>
              <a:gd name="connsiteY201" fmla="*/ 2963205 h 3009544"/>
              <a:gd name="connsiteX202" fmla="*/ 1716696 w 3070954"/>
              <a:gd name="connsiteY202" fmla="*/ 2978405 h 3009544"/>
              <a:gd name="connsiteX203" fmla="*/ 1732376 w 3070954"/>
              <a:gd name="connsiteY203" fmla="*/ 2966885 h 3009544"/>
              <a:gd name="connsiteX204" fmla="*/ 1737656 w 3070954"/>
              <a:gd name="connsiteY204" fmla="*/ 2953445 h 3009544"/>
              <a:gd name="connsiteX205" fmla="*/ 1744057 w 3070954"/>
              <a:gd name="connsiteY205" fmla="*/ 2929125 h 3009544"/>
              <a:gd name="connsiteX206" fmla="*/ 1762456 w 3070954"/>
              <a:gd name="connsiteY206" fmla="*/ 2866405 h 3009544"/>
              <a:gd name="connsiteX207" fmla="*/ 1790137 w 3070954"/>
              <a:gd name="connsiteY207" fmla="*/ 2721285 h 3009544"/>
              <a:gd name="connsiteX208" fmla="*/ 1808856 w 3070954"/>
              <a:gd name="connsiteY208" fmla="*/ 2574405 h 3009544"/>
              <a:gd name="connsiteX209" fmla="*/ 1824536 w 3070954"/>
              <a:gd name="connsiteY209" fmla="*/ 2500325 h 3009544"/>
              <a:gd name="connsiteX210" fmla="*/ 1829496 w 3070954"/>
              <a:gd name="connsiteY210" fmla="*/ 2429445 h 3009544"/>
              <a:gd name="connsiteX211" fmla="*/ 1835097 w 3070954"/>
              <a:gd name="connsiteY211" fmla="*/ 2293605 h 3009544"/>
              <a:gd name="connsiteX212" fmla="*/ 1834456 w 3070954"/>
              <a:gd name="connsiteY212" fmla="*/ 2152005 h 3009544"/>
              <a:gd name="connsiteX213" fmla="*/ 1827897 w 3070954"/>
              <a:gd name="connsiteY213" fmla="*/ 2004325 h 3009544"/>
              <a:gd name="connsiteX214" fmla="*/ 1817336 w 3070954"/>
              <a:gd name="connsiteY214" fmla="*/ 1871045 h 3009544"/>
              <a:gd name="connsiteX215" fmla="*/ 1835576 w 3070954"/>
              <a:gd name="connsiteY215" fmla="*/ 1804485 h 3009544"/>
              <a:gd name="connsiteX216" fmla="*/ 1841177 w 3070954"/>
              <a:gd name="connsiteY216" fmla="*/ 1776165 h 3009544"/>
              <a:gd name="connsiteX217" fmla="*/ 1857816 w 3070954"/>
              <a:gd name="connsiteY217" fmla="*/ 1795205 h 3009544"/>
              <a:gd name="connsiteX218" fmla="*/ 1906456 w 3070954"/>
              <a:gd name="connsiteY218" fmla="*/ 1825445 h 3009544"/>
              <a:gd name="connsiteX219" fmla="*/ 2022616 w 3070954"/>
              <a:gd name="connsiteY219" fmla="*/ 1861285 h 3009544"/>
              <a:gd name="connsiteX220" fmla="*/ 2155897 w 3070954"/>
              <a:gd name="connsiteY220" fmla="*/ 1868005 h 3009544"/>
              <a:gd name="connsiteX221" fmla="*/ 2275257 w 3070954"/>
              <a:gd name="connsiteY221" fmla="*/ 1893605 h 3009544"/>
              <a:gd name="connsiteX222" fmla="*/ 2294616 w 3070954"/>
              <a:gd name="connsiteY222" fmla="*/ 1878725 h 3009544"/>
              <a:gd name="connsiteX223" fmla="*/ 2254296 w 3070954"/>
              <a:gd name="connsiteY223" fmla="*/ 1794565 h 3009544"/>
              <a:gd name="connsiteX224" fmla="*/ 2217656 w 3070954"/>
              <a:gd name="connsiteY224" fmla="*/ 1703685 h 3009544"/>
              <a:gd name="connsiteX225" fmla="*/ 2173496 w 3070954"/>
              <a:gd name="connsiteY225" fmla="*/ 1612325 h 3009544"/>
              <a:gd name="connsiteX226" fmla="*/ 2157656 w 3070954"/>
              <a:gd name="connsiteY226" fmla="*/ 1593765 h 3009544"/>
              <a:gd name="connsiteX227" fmla="*/ 2371097 w 3070954"/>
              <a:gd name="connsiteY227" fmla="*/ 1617125 h 3009544"/>
              <a:gd name="connsiteX228" fmla="*/ 2677656 w 3070954"/>
              <a:gd name="connsiteY228" fmla="*/ 1560165 h 3009544"/>
              <a:gd name="connsiteX229" fmla="*/ 2794776 w 3070954"/>
              <a:gd name="connsiteY229" fmla="*/ 1483205 h 3009544"/>
              <a:gd name="connsiteX230" fmla="*/ 2838937 w 3070954"/>
              <a:gd name="connsiteY230" fmla="*/ 1430565 h 3009544"/>
              <a:gd name="connsiteX231" fmla="*/ 2857336 w 3070954"/>
              <a:gd name="connsiteY231" fmla="*/ 1402565 h 3009544"/>
              <a:gd name="connsiteX232" fmla="*/ 2886776 w 3070954"/>
              <a:gd name="connsiteY232" fmla="*/ 1368005 h 3009544"/>
              <a:gd name="connsiteX233" fmla="*/ 2974456 w 3070954"/>
              <a:gd name="connsiteY233" fmla="*/ 1244805 h 3009544"/>
              <a:gd name="connsiteX234" fmla="*/ 3044857 w 3070954"/>
              <a:gd name="connsiteY234" fmla="*/ 1104485 h 3009544"/>
              <a:gd name="connsiteX235" fmla="*/ 3066137 w 3070954"/>
              <a:gd name="connsiteY235" fmla="*/ 1031205 h 3009544"/>
              <a:gd name="connsiteX236" fmla="*/ 3070456 w 3070954"/>
              <a:gd name="connsiteY236" fmla="*/ 953445 h 3009544"/>
              <a:gd name="connsiteX237" fmla="*/ 3032536 w 3070954"/>
              <a:gd name="connsiteY237" fmla="*/ 945445 h 3009544"/>
              <a:gd name="connsiteX238" fmla="*/ 3030137 w 3070954"/>
              <a:gd name="connsiteY238" fmla="*/ 951045 h 3009544"/>
              <a:gd name="connsiteX239" fmla="*/ 3015736 w 3070954"/>
              <a:gd name="connsiteY239" fmla="*/ 982085 h 3009544"/>
              <a:gd name="connsiteX240" fmla="*/ 2974296 w 3070954"/>
              <a:gd name="connsiteY240" fmla="*/ 1057445 h 3009544"/>
              <a:gd name="connsiteX241" fmla="*/ 2880217 w 3070954"/>
              <a:gd name="connsiteY241" fmla="*/ 1187205 h 3009544"/>
              <a:gd name="connsiteX242" fmla="*/ 2762776 w 3070954"/>
              <a:gd name="connsiteY242" fmla="*/ 1300005 h 3009544"/>
              <a:gd name="connsiteX243" fmla="*/ 2629496 w 3070954"/>
              <a:gd name="connsiteY243" fmla="*/ 1384965 h 3009544"/>
              <a:gd name="connsiteX244" fmla="*/ 2557017 w 3070954"/>
              <a:gd name="connsiteY244" fmla="*/ 1405765 h 3009544"/>
              <a:gd name="connsiteX245" fmla="*/ 2477177 w 3070954"/>
              <a:gd name="connsiteY245" fmla="*/ 1431685 h 3009544"/>
              <a:gd name="connsiteX246" fmla="*/ 2313177 w 3070954"/>
              <a:gd name="connsiteY246" fmla="*/ 1443845 h 3009544"/>
              <a:gd name="connsiteX247" fmla="*/ 2143576 w 3070954"/>
              <a:gd name="connsiteY247" fmla="*/ 1431525 h 3009544"/>
              <a:gd name="connsiteX248" fmla="*/ 1972696 w 3070954"/>
              <a:gd name="connsiteY248" fmla="*/ 1409765 h 3009544"/>
              <a:gd name="connsiteX249" fmla="*/ 1887257 w 3070954"/>
              <a:gd name="connsiteY249" fmla="*/ 1393605 h 3009544"/>
              <a:gd name="connsiteX250" fmla="*/ 1836536 w 3070954"/>
              <a:gd name="connsiteY250" fmla="*/ 1382725 h 3009544"/>
              <a:gd name="connsiteX251" fmla="*/ 1838616 w 3070954"/>
              <a:gd name="connsiteY251" fmla="*/ 1381285 h 3009544"/>
              <a:gd name="connsiteX252" fmla="*/ 1860057 w 3070954"/>
              <a:gd name="connsiteY252" fmla="*/ 1378725 h 3009544"/>
              <a:gd name="connsiteX253" fmla="*/ 1907097 w 3070954"/>
              <a:gd name="connsiteY253" fmla="*/ 1374245 h 3009544"/>
              <a:gd name="connsiteX254" fmla="*/ 1977336 w 3070954"/>
              <a:gd name="connsiteY254" fmla="*/ 1375685 h 3009544"/>
              <a:gd name="connsiteX255" fmla="*/ 2142616 w 3070954"/>
              <a:gd name="connsiteY255" fmla="*/ 1383045 h 3009544"/>
              <a:gd name="connsiteX256" fmla="*/ 2222776 w 3070954"/>
              <a:gd name="connsiteY256" fmla="*/ 1395205 h 3009544"/>
              <a:gd name="connsiteX257" fmla="*/ 2312217 w 3070954"/>
              <a:gd name="connsiteY257" fmla="*/ 1397285 h 3009544"/>
              <a:gd name="connsiteX258" fmla="*/ 2475097 w 3070954"/>
              <a:gd name="connsiteY258" fmla="*/ 1388485 h 3009544"/>
              <a:gd name="connsiteX259" fmla="*/ 2625496 w 3070954"/>
              <a:gd name="connsiteY259" fmla="*/ 1334085 h 3009544"/>
              <a:gd name="connsiteX260" fmla="*/ 2754296 w 3070954"/>
              <a:gd name="connsiteY260" fmla="*/ 1243365 h 3009544"/>
              <a:gd name="connsiteX261" fmla="*/ 2863897 w 3070954"/>
              <a:gd name="connsiteY261" fmla="*/ 1141605 h 3009544"/>
              <a:gd name="connsiteX262" fmla="*/ 2960376 w 3070954"/>
              <a:gd name="connsiteY262" fmla="*/ 1030725 h 3009544"/>
              <a:gd name="connsiteX263" fmla="*/ 3032536 w 3070954"/>
              <a:gd name="connsiteY263" fmla="*/ 945445 h 3009544"/>
              <a:gd name="connsiteX264" fmla="*/ 1798776 w 3070954"/>
              <a:gd name="connsiteY264" fmla="*/ 1327845 h 3009544"/>
              <a:gd name="connsiteX265" fmla="*/ 1800217 w 3070954"/>
              <a:gd name="connsiteY265" fmla="*/ 1217925 h 3009544"/>
              <a:gd name="connsiteX266" fmla="*/ 1795416 w 3070954"/>
              <a:gd name="connsiteY266" fmla="*/ 1159525 h 3009544"/>
              <a:gd name="connsiteX267" fmla="*/ 1793177 w 3070954"/>
              <a:gd name="connsiteY267" fmla="*/ 1101445 h 3009544"/>
              <a:gd name="connsiteX268" fmla="*/ 1778776 w 3070954"/>
              <a:gd name="connsiteY268" fmla="*/ 986245 h 3009544"/>
              <a:gd name="connsiteX269" fmla="*/ 1747576 w 3070954"/>
              <a:gd name="connsiteY269" fmla="*/ 878405 h 3009544"/>
              <a:gd name="connsiteX270" fmla="*/ 1723736 w 3070954"/>
              <a:gd name="connsiteY270" fmla="*/ 826565 h 3009544"/>
              <a:gd name="connsiteX271" fmla="*/ 1700376 w 3070954"/>
              <a:gd name="connsiteY271" fmla="*/ 772965 h 3009544"/>
              <a:gd name="connsiteX272" fmla="*/ 1648217 w 3070954"/>
              <a:gd name="connsiteY272" fmla="*/ 679525 h 3009544"/>
              <a:gd name="connsiteX273" fmla="*/ 1611897 w 3070954"/>
              <a:gd name="connsiteY273" fmla="*/ 639525 h 3009544"/>
              <a:gd name="connsiteX274" fmla="*/ 1727257 w 3070954"/>
              <a:gd name="connsiteY274" fmla="*/ 668325 h 3009544"/>
              <a:gd name="connsiteX275" fmla="*/ 1730937 w 3070954"/>
              <a:gd name="connsiteY275" fmla="*/ 669285 h 3009544"/>
              <a:gd name="connsiteX276" fmla="*/ 1753656 w 3070954"/>
              <a:gd name="connsiteY276" fmla="*/ 684645 h 3009544"/>
              <a:gd name="connsiteX277" fmla="*/ 1829977 w 3070954"/>
              <a:gd name="connsiteY277" fmla="*/ 755845 h 3009544"/>
              <a:gd name="connsiteX278" fmla="*/ 1920217 w 3070954"/>
              <a:gd name="connsiteY278" fmla="*/ 934565 h 3009544"/>
              <a:gd name="connsiteX279" fmla="*/ 1935736 w 3070954"/>
              <a:gd name="connsiteY279" fmla="*/ 1035045 h 3009544"/>
              <a:gd name="connsiteX280" fmla="*/ 1940536 w 3070954"/>
              <a:gd name="connsiteY280" fmla="*/ 1084005 h 3009544"/>
              <a:gd name="connsiteX281" fmla="*/ 1937177 w 3070954"/>
              <a:gd name="connsiteY281" fmla="*/ 1138565 h 3009544"/>
              <a:gd name="connsiteX282" fmla="*/ 1924536 w 3070954"/>
              <a:gd name="connsiteY282" fmla="*/ 1239045 h 3009544"/>
              <a:gd name="connsiteX283" fmla="*/ 1913816 w 3070954"/>
              <a:gd name="connsiteY283" fmla="*/ 1281125 h 3009544"/>
              <a:gd name="connsiteX284" fmla="*/ 1900217 w 3070954"/>
              <a:gd name="connsiteY284" fmla="*/ 1301765 h 3009544"/>
              <a:gd name="connsiteX285" fmla="*/ 1815576 w 3070954"/>
              <a:gd name="connsiteY285" fmla="*/ 1360165 h 3009544"/>
              <a:gd name="connsiteX286" fmla="*/ 1801177 w 3070954"/>
              <a:gd name="connsiteY286" fmla="*/ 1369125 h 3009544"/>
              <a:gd name="connsiteX287" fmla="*/ 1791897 w 3070954"/>
              <a:gd name="connsiteY287" fmla="*/ 1372805 h 3009544"/>
              <a:gd name="connsiteX288" fmla="*/ 1795097 w 3070954"/>
              <a:gd name="connsiteY288" fmla="*/ 1360005 h 3009544"/>
              <a:gd name="connsiteX289" fmla="*/ 1798776 w 3070954"/>
              <a:gd name="connsiteY289" fmla="*/ 1327845 h 3009544"/>
              <a:gd name="connsiteX290" fmla="*/ 1474456 w 3070954"/>
              <a:gd name="connsiteY290" fmla="*/ 1366885 h 3009544"/>
              <a:gd name="connsiteX291" fmla="*/ 1389496 w 3070954"/>
              <a:gd name="connsiteY291" fmla="*/ 1299685 h 3009544"/>
              <a:gd name="connsiteX292" fmla="*/ 1322296 w 3070954"/>
              <a:gd name="connsiteY292" fmla="*/ 1221925 h 3009544"/>
              <a:gd name="connsiteX293" fmla="*/ 1276217 w 3070954"/>
              <a:gd name="connsiteY293" fmla="*/ 1129925 h 3009544"/>
              <a:gd name="connsiteX294" fmla="*/ 1261336 w 3070954"/>
              <a:gd name="connsiteY294" fmla="*/ 1021445 h 3009544"/>
              <a:gd name="connsiteX295" fmla="*/ 1255257 w 3070954"/>
              <a:gd name="connsiteY295" fmla="*/ 903685 h 3009544"/>
              <a:gd name="connsiteX296" fmla="*/ 1282937 w 3070954"/>
              <a:gd name="connsiteY296" fmla="*/ 798565 h 3009544"/>
              <a:gd name="connsiteX297" fmla="*/ 1301656 w 3070954"/>
              <a:gd name="connsiteY297" fmla="*/ 749605 h 3009544"/>
              <a:gd name="connsiteX298" fmla="*/ 1306456 w 3070954"/>
              <a:gd name="connsiteY298" fmla="*/ 738725 h 3009544"/>
              <a:gd name="connsiteX299" fmla="*/ 1344696 w 3070954"/>
              <a:gd name="connsiteY299" fmla="*/ 701765 h 3009544"/>
              <a:gd name="connsiteX300" fmla="*/ 1377336 w 3070954"/>
              <a:gd name="connsiteY300" fmla="*/ 664005 h 3009544"/>
              <a:gd name="connsiteX301" fmla="*/ 1384376 w 3070954"/>
              <a:gd name="connsiteY301" fmla="*/ 661605 h 3009544"/>
              <a:gd name="connsiteX302" fmla="*/ 1413336 w 3070954"/>
              <a:gd name="connsiteY302" fmla="*/ 630565 h 3009544"/>
              <a:gd name="connsiteX303" fmla="*/ 1401656 w 3070954"/>
              <a:gd name="connsiteY303" fmla="*/ 662405 h 3009544"/>
              <a:gd name="connsiteX304" fmla="*/ 1378296 w 3070954"/>
              <a:gd name="connsiteY304" fmla="*/ 797445 h 3009544"/>
              <a:gd name="connsiteX305" fmla="*/ 1377977 w 3070954"/>
              <a:gd name="connsiteY305" fmla="*/ 936965 h 3009544"/>
              <a:gd name="connsiteX306" fmla="*/ 1387897 w 3070954"/>
              <a:gd name="connsiteY306" fmla="*/ 1082405 h 3009544"/>
              <a:gd name="connsiteX307" fmla="*/ 1435257 w 3070954"/>
              <a:gd name="connsiteY307" fmla="*/ 1199845 h 3009544"/>
              <a:gd name="connsiteX308" fmla="*/ 1464696 w 3070954"/>
              <a:gd name="connsiteY308" fmla="*/ 1252005 h 3009544"/>
              <a:gd name="connsiteX309" fmla="*/ 1504696 w 3070954"/>
              <a:gd name="connsiteY309" fmla="*/ 1304645 h 3009544"/>
              <a:gd name="connsiteX310" fmla="*/ 1553656 w 3070954"/>
              <a:gd name="connsiteY310" fmla="*/ 1348325 h 3009544"/>
              <a:gd name="connsiteX311" fmla="*/ 1602137 w 3070954"/>
              <a:gd name="connsiteY311" fmla="*/ 1383205 h 3009544"/>
              <a:gd name="connsiteX312" fmla="*/ 1655897 w 3070954"/>
              <a:gd name="connsiteY312" fmla="*/ 1403525 h 3009544"/>
              <a:gd name="connsiteX313" fmla="*/ 1679576 w 3070954"/>
              <a:gd name="connsiteY313" fmla="*/ 1409765 h 3009544"/>
              <a:gd name="connsiteX314" fmla="*/ 1639416 w 3070954"/>
              <a:gd name="connsiteY314" fmla="*/ 1410725 h 3009544"/>
              <a:gd name="connsiteX315" fmla="*/ 1513496 w 3070954"/>
              <a:gd name="connsiteY315" fmla="*/ 1388805 h 3009544"/>
              <a:gd name="connsiteX316" fmla="*/ 1474456 w 3070954"/>
              <a:gd name="connsiteY316" fmla="*/ 1366885 h 3009544"/>
              <a:gd name="connsiteX317" fmla="*/ 1665816 w 3070954"/>
              <a:gd name="connsiteY317" fmla="*/ 1389285 h 3009544"/>
              <a:gd name="connsiteX318" fmla="*/ 1640057 w 3070954"/>
              <a:gd name="connsiteY318" fmla="*/ 1383525 h 3009544"/>
              <a:gd name="connsiteX319" fmla="*/ 1613496 w 3070954"/>
              <a:gd name="connsiteY319" fmla="*/ 1371045 h 3009544"/>
              <a:gd name="connsiteX320" fmla="*/ 1563576 w 3070954"/>
              <a:gd name="connsiteY320" fmla="*/ 1336005 h 3009544"/>
              <a:gd name="connsiteX321" fmla="*/ 1513816 w 3070954"/>
              <a:gd name="connsiteY321" fmla="*/ 1290085 h 3009544"/>
              <a:gd name="connsiteX322" fmla="*/ 1480536 w 3070954"/>
              <a:gd name="connsiteY322" fmla="*/ 1247525 h 3009544"/>
              <a:gd name="connsiteX323" fmla="*/ 1449656 w 3070954"/>
              <a:gd name="connsiteY323" fmla="*/ 1193765 h 3009544"/>
              <a:gd name="connsiteX324" fmla="*/ 1401496 w 3070954"/>
              <a:gd name="connsiteY324" fmla="*/ 1073925 h 3009544"/>
              <a:gd name="connsiteX325" fmla="*/ 1393177 w 3070954"/>
              <a:gd name="connsiteY325" fmla="*/ 948005 h 3009544"/>
              <a:gd name="connsiteX326" fmla="*/ 1390296 w 3070954"/>
              <a:gd name="connsiteY326" fmla="*/ 811845 h 3009544"/>
              <a:gd name="connsiteX327" fmla="*/ 1408536 w 3070954"/>
              <a:gd name="connsiteY327" fmla="*/ 681445 h 3009544"/>
              <a:gd name="connsiteX328" fmla="*/ 1422776 w 3070954"/>
              <a:gd name="connsiteY328" fmla="*/ 630565 h 3009544"/>
              <a:gd name="connsiteX329" fmla="*/ 1427257 w 3070954"/>
              <a:gd name="connsiteY329" fmla="*/ 615365 h 3009544"/>
              <a:gd name="connsiteX330" fmla="*/ 1432536 w 3070954"/>
              <a:gd name="connsiteY330" fmla="*/ 608805 h 3009544"/>
              <a:gd name="connsiteX331" fmla="*/ 1439257 w 3070954"/>
              <a:gd name="connsiteY331" fmla="*/ 598405 h 3009544"/>
              <a:gd name="connsiteX332" fmla="*/ 1444856 w 3070954"/>
              <a:gd name="connsiteY332" fmla="*/ 594245 h 3009544"/>
              <a:gd name="connsiteX333" fmla="*/ 1455097 w 3070954"/>
              <a:gd name="connsiteY333" fmla="*/ 573925 h 3009544"/>
              <a:gd name="connsiteX334" fmla="*/ 1469496 w 3070954"/>
              <a:gd name="connsiteY334" fmla="*/ 590245 h 3009544"/>
              <a:gd name="connsiteX335" fmla="*/ 1480856 w 3070954"/>
              <a:gd name="connsiteY335" fmla="*/ 597605 h 3009544"/>
              <a:gd name="connsiteX336" fmla="*/ 1509816 w 3070954"/>
              <a:gd name="connsiteY336" fmla="*/ 647365 h 3009544"/>
              <a:gd name="connsiteX337" fmla="*/ 1561336 w 3070954"/>
              <a:gd name="connsiteY337" fmla="*/ 751365 h 3009544"/>
              <a:gd name="connsiteX338" fmla="*/ 1605656 w 3070954"/>
              <a:gd name="connsiteY338" fmla="*/ 860325 h 3009544"/>
              <a:gd name="connsiteX339" fmla="*/ 1651257 w 3070954"/>
              <a:gd name="connsiteY339" fmla="*/ 971205 h 3009544"/>
              <a:gd name="connsiteX340" fmla="*/ 1666456 w 3070954"/>
              <a:gd name="connsiteY340" fmla="*/ 1084325 h 3009544"/>
              <a:gd name="connsiteX341" fmla="*/ 1690296 w 3070954"/>
              <a:gd name="connsiteY341" fmla="*/ 1188005 h 3009544"/>
              <a:gd name="connsiteX342" fmla="*/ 1708376 w 3070954"/>
              <a:gd name="connsiteY342" fmla="*/ 1299365 h 3009544"/>
              <a:gd name="connsiteX343" fmla="*/ 1713977 w 3070954"/>
              <a:gd name="connsiteY343" fmla="*/ 1355525 h 3009544"/>
              <a:gd name="connsiteX344" fmla="*/ 1717656 w 3070954"/>
              <a:gd name="connsiteY344" fmla="*/ 1387685 h 3009544"/>
              <a:gd name="connsiteX345" fmla="*/ 1717017 w 3070954"/>
              <a:gd name="connsiteY345" fmla="*/ 1400965 h 3009544"/>
              <a:gd name="connsiteX346" fmla="*/ 1716856 w 3070954"/>
              <a:gd name="connsiteY346" fmla="*/ 1401125 h 3009544"/>
              <a:gd name="connsiteX347" fmla="*/ 1709336 w 3070954"/>
              <a:gd name="connsiteY347" fmla="*/ 1402885 h 3009544"/>
              <a:gd name="connsiteX348" fmla="*/ 1665816 w 3070954"/>
              <a:gd name="connsiteY348" fmla="*/ 1389285 h 3009544"/>
              <a:gd name="connsiteX349" fmla="*/ 1722616 w 3070954"/>
              <a:gd name="connsiteY349" fmla="*/ 1279045 h 3009544"/>
              <a:gd name="connsiteX350" fmla="*/ 1713496 w 3070954"/>
              <a:gd name="connsiteY350" fmla="*/ 1216485 h 3009544"/>
              <a:gd name="connsiteX351" fmla="*/ 1689177 w 3070954"/>
              <a:gd name="connsiteY351" fmla="*/ 1106725 h 3009544"/>
              <a:gd name="connsiteX352" fmla="*/ 1669977 w 3070954"/>
              <a:gd name="connsiteY352" fmla="*/ 981445 h 3009544"/>
              <a:gd name="connsiteX353" fmla="*/ 1627897 w 3070954"/>
              <a:gd name="connsiteY353" fmla="*/ 871845 h 3009544"/>
              <a:gd name="connsiteX354" fmla="*/ 1577336 w 3070954"/>
              <a:gd name="connsiteY354" fmla="*/ 751845 h 3009544"/>
              <a:gd name="connsiteX355" fmla="*/ 1518616 w 3070954"/>
              <a:gd name="connsiteY355" fmla="*/ 636645 h 3009544"/>
              <a:gd name="connsiteX356" fmla="*/ 1502296 w 3070954"/>
              <a:gd name="connsiteY356" fmla="*/ 608965 h 3009544"/>
              <a:gd name="connsiteX357" fmla="*/ 1573816 w 3070954"/>
              <a:gd name="connsiteY357" fmla="*/ 630565 h 3009544"/>
              <a:gd name="connsiteX358" fmla="*/ 1578137 w 3070954"/>
              <a:gd name="connsiteY358" fmla="*/ 631525 h 3009544"/>
              <a:gd name="connsiteX359" fmla="*/ 1648376 w 3070954"/>
              <a:gd name="connsiteY359" fmla="*/ 704485 h 3009544"/>
              <a:gd name="connsiteX360" fmla="*/ 1693977 w 3070954"/>
              <a:gd name="connsiteY360" fmla="*/ 796005 h 3009544"/>
              <a:gd name="connsiteX361" fmla="*/ 1734776 w 3070954"/>
              <a:gd name="connsiteY361" fmla="*/ 890725 h 3009544"/>
              <a:gd name="connsiteX362" fmla="*/ 1763097 w 3070954"/>
              <a:gd name="connsiteY362" fmla="*/ 994885 h 3009544"/>
              <a:gd name="connsiteX363" fmla="*/ 1781336 w 3070954"/>
              <a:gd name="connsiteY363" fmla="*/ 1200645 h 3009544"/>
              <a:gd name="connsiteX364" fmla="*/ 1783576 w 3070954"/>
              <a:gd name="connsiteY364" fmla="*/ 1253765 h 3009544"/>
              <a:gd name="connsiteX365" fmla="*/ 1781656 w 3070954"/>
              <a:gd name="connsiteY365" fmla="*/ 1303205 h 3009544"/>
              <a:gd name="connsiteX366" fmla="*/ 1776696 w 3070954"/>
              <a:gd name="connsiteY366" fmla="*/ 1358085 h 3009544"/>
              <a:gd name="connsiteX367" fmla="*/ 1771576 w 3070954"/>
              <a:gd name="connsiteY367" fmla="*/ 1379205 h 3009544"/>
              <a:gd name="connsiteX368" fmla="*/ 1771257 w 3070954"/>
              <a:gd name="connsiteY368" fmla="*/ 1380325 h 3009544"/>
              <a:gd name="connsiteX369" fmla="*/ 1768217 w 3070954"/>
              <a:gd name="connsiteY369" fmla="*/ 1383045 h 3009544"/>
              <a:gd name="connsiteX370" fmla="*/ 1767576 w 3070954"/>
              <a:gd name="connsiteY370" fmla="*/ 1383365 h 3009544"/>
              <a:gd name="connsiteX371" fmla="*/ 1750456 w 3070954"/>
              <a:gd name="connsiteY371" fmla="*/ 1390085 h 3009544"/>
              <a:gd name="connsiteX372" fmla="*/ 1736057 w 3070954"/>
              <a:gd name="connsiteY372" fmla="*/ 1393285 h 3009544"/>
              <a:gd name="connsiteX373" fmla="*/ 1734296 w 3070954"/>
              <a:gd name="connsiteY373" fmla="*/ 1385125 h 3009544"/>
              <a:gd name="connsiteX374" fmla="*/ 1730456 w 3070954"/>
              <a:gd name="connsiteY374" fmla="*/ 1340965 h 3009544"/>
              <a:gd name="connsiteX375" fmla="*/ 1722616 w 3070954"/>
              <a:gd name="connsiteY375" fmla="*/ 1279045 h 3009544"/>
              <a:gd name="connsiteX376" fmla="*/ 1949816 w 3070954"/>
              <a:gd name="connsiteY376" fmla="*/ 1187205 h 3009544"/>
              <a:gd name="connsiteX377" fmla="*/ 1958616 w 3070954"/>
              <a:gd name="connsiteY377" fmla="*/ 1081605 h 3009544"/>
              <a:gd name="connsiteX378" fmla="*/ 1947576 w 3070954"/>
              <a:gd name="connsiteY378" fmla="*/ 972965 h 3009544"/>
              <a:gd name="connsiteX379" fmla="*/ 1916856 w 3070954"/>
              <a:gd name="connsiteY379" fmla="*/ 874085 h 3009544"/>
              <a:gd name="connsiteX380" fmla="*/ 1869656 w 3070954"/>
              <a:gd name="connsiteY380" fmla="*/ 780485 h 3009544"/>
              <a:gd name="connsiteX381" fmla="*/ 1800057 w 3070954"/>
              <a:gd name="connsiteY381" fmla="*/ 705925 h 3009544"/>
              <a:gd name="connsiteX382" fmla="*/ 1771257 w 3070954"/>
              <a:gd name="connsiteY382" fmla="*/ 681765 h 3009544"/>
              <a:gd name="connsiteX383" fmla="*/ 1861977 w 3070954"/>
              <a:gd name="connsiteY383" fmla="*/ 732965 h 3009544"/>
              <a:gd name="connsiteX384" fmla="*/ 1960376 w 3070954"/>
              <a:gd name="connsiteY384" fmla="*/ 837285 h 3009544"/>
              <a:gd name="connsiteX385" fmla="*/ 1993177 w 3070954"/>
              <a:gd name="connsiteY385" fmla="*/ 903845 h 3009544"/>
              <a:gd name="connsiteX386" fmla="*/ 2007097 w 3070954"/>
              <a:gd name="connsiteY386" fmla="*/ 984965 h 3009544"/>
              <a:gd name="connsiteX387" fmla="*/ 1998296 w 3070954"/>
              <a:gd name="connsiteY387" fmla="*/ 1142085 h 3009544"/>
              <a:gd name="connsiteX388" fmla="*/ 1938776 w 3070954"/>
              <a:gd name="connsiteY388" fmla="*/ 1262725 h 3009544"/>
              <a:gd name="connsiteX389" fmla="*/ 1949816 w 3070954"/>
              <a:gd name="connsiteY389" fmla="*/ 1187205 h 3009544"/>
              <a:gd name="connsiteX390" fmla="*/ 2968857 w 3070954"/>
              <a:gd name="connsiteY390" fmla="*/ 994885 h 3009544"/>
              <a:gd name="connsiteX391" fmla="*/ 2963736 w 3070954"/>
              <a:gd name="connsiteY391" fmla="*/ 1000645 h 3009544"/>
              <a:gd name="connsiteX392" fmla="*/ 2962616 w 3070954"/>
              <a:gd name="connsiteY392" fmla="*/ 999205 h 3009544"/>
              <a:gd name="connsiteX393" fmla="*/ 2968857 w 3070954"/>
              <a:gd name="connsiteY393" fmla="*/ 994885 h 3009544"/>
              <a:gd name="connsiteX394" fmla="*/ 2943416 w 3070954"/>
              <a:gd name="connsiteY394" fmla="*/ 1024165 h 3009544"/>
              <a:gd name="connsiteX395" fmla="*/ 2918296 w 3070954"/>
              <a:gd name="connsiteY395" fmla="*/ 1053125 h 3009544"/>
              <a:gd name="connsiteX396" fmla="*/ 2873177 w 3070954"/>
              <a:gd name="connsiteY396" fmla="*/ 1106725 h 3009544"/>
              <a:gd name="connsiteX397" fmla="*/ 2815257 w 3070954"/>
              <a:gd name="connsiteY397" fmla="*/ 1163365 h 3009544"/>
              <a:gd name="connsiteX398" fmla="*/ 2764857 w 3070954"/>
              <a:gd name="connsiteY398" fmla="*/ 1213125 h 3009544"/>
              <a:gd name="connsiteX399" fmla="*/ 2697656 w 3070954"/>
              <a:gd name="connsiteY399" fmla="*/ 1265765 h 3009544"/>
              <a:gd name="connsiteX400" fmla="*/ 2631097 w 3070954"/>
              <a:gd name="connsiteY400" fmla="*/ 1312005 h 3009544"/>
              <a:gd name="connsiteX401" fmla="*/ 2552057 w 3070954"/>
              <a:gd name="connsiteY401" fmla="*/ 1348645 h 3009544"/>
              <a:gd name="connsiteX402" fmla="*/ 2387097 w 3070954"/>
              <a:gd name="connsiteY402" fmla="*/ 1379845 h 3009544"/>
              <a:gd name="connsiteX403" fmla="*/ 2211736 w 3070954"/>
              <a:gd name="connsiteY403" fmla="*/ 1378405 h 3009544"/>
              <a:gd name="connsiteX404" fmla="*/ 2045336 w 3070954"/>
              <a:gd name="connsiteY404" fmla="*/ 1359845 h 3009544"/>
              <a:gd name="connsiteX405" fmla="*/ 1975897 w 3070954"/>
              <a:gd name="connsiteY405" fmla="*/ 1363045 h 3009544"/>
              <a:gd name="connsiteX406" fmla="*/ 1910456 w 3070954"/>
              <a:gd name="connsiteY406" fmla="*/ 1362885 h 3009544"/>
              <a:gd name="connsiteX407" fmla="*/ 1874456 w 3070954"/>
              <a:gd name="connsiteY407" fmla="*/ 1366565 h 3009544"/>
              <a:gd name="connsiteX408" fmla="*/ 1858776 w 3070954"/>
              <a:gd name="connsiteY408" fmla="*/ 1369605 h 3009544"/>
              <a:gd name="connsiteX409" fmla="*/ 1855736 w 3070954"/>
              <a:gd name="connsiteY409" fmla="*/ 1369445 h 3009544"/>
              <a:gd name="connsiteX410" fmla="*/ 1866137 w 3070954"/>
              <a:gd name="connsiteY410" fmla="*/ 1362085 h 3009544"/>
              <a:gd name="connsiteX411" fmla="*/ 1915097 w 3070954"/>
              <a:gd name="connsiteY411" fmla="*/ 1325925 h 3009544"/>
              <a:gd name="connsiteX412" fmla="*/ 1917017 w 3070954"/>
              <a:gd name="connsiteY412" fmla="*/ 1325125 h 3009544"/>
              <a:gd name="connsiteX413" fmla="*/ 1922137 w 3070954"/>
              <a:gd name="connsiteY413" fmla="*/ 1322725 h 3009544"/>
              <a:gd name="connsiteX414" fmla="*/ 1964536 w 3070954"/>
              <a:gd name="connsiteY414" fmla="*/ 1304005 h 3009544"/>
              <a:gd name="connsiteX415" fmla="*/ 2003576 w 3070954"/>
              <a:gd name="connsiteY415" fmla="*/ 1297605 h 3009544"/>
              <a:gd name="connsiteX416" fmla="*/ 2044057 w 3070954"/>
              <a:gd name="connsiteY416" fmla="*/ 1294085 h 3009544"/>
              <a:gd name="connsiteX417" fmla="*/ 2197656 w 3070954"/>
              <a:gd name="connsiteY417" fmla="*/ 1304165 h 3009544"/>
              <a:gd name="connsiteX418" fmla="*/ 2267576 w 3070954"/>
              <a:gd name="connsiteY418" fmla="*/ 1307365 h 3009544"/>
              <a:gd name="connsiteX419" fmla="*/ 2341177 w 3070954"/>
              <a:gd name="connsiteY419" fmla="*/ 1313285 h 3009544"/>
              <a:gd name="connsiteX420" fmla="*/ 2492057 w 3070954"/>
              <a:gd name="connsiteY420" fmla="*/ 1313445 h 3009544"/>
              <a:gd name="connsiteX421" fmla="*/ 2623576 w 3070954"/>
              <a:gd name="connsiteY421" fmla="*/ 1272005 h 3009544"/>
              <a:gd name="connsiteX422" fmla="*/ 2684857 w 3070954"/>
              <a:gd name="connsiteY422" fmla="*/ 1239045 h 3009544"/>
              <a:gd name="connsiteX423" fmla="*/ 2742296 w 3070954"/>
              <a:gd name="connsiteY423" fmla="*/ 1190885 h 3009544"/>
              <a:gd name="connsiteX424" fmla="*/ 2850937 w 3070954"/>
              <a:gd name="connsiteY424" fmla="*/ 1095205 h 3009544"/>
              <a:gd name="connsiteX425" fmla="*/ 2943416 w 3070954"/>
              <a:gd name="connsiteY425" fmla="*/ 1024165 h 3009544"/>
              <a:gd name="connsiteX426" fmla="*/ 2777977 w 3070954"/>
              <a:gd name="connsiteY426" fmla="*/ 1113925 h 3009544"/>
              <a:gd name="connsiteX427" fmla="*/ 2802296 w 3070954"/>
              <a:gd name="connsiteY427" fmla="*/ 1100485 h 3009544"/>
              <a:gd name="connsiteX428" fmla="*/ 2831576 w 3070954"/>
              <a:gd name="connsiteY428" fmla="*/ 1085605 h 3009544"/>
              <a:gd name="connsiteX429" fmla="*/ 2893496 w 3070954"/>
              <a:gd name="connsiteY429" fmla="*/ 1043205 h 3009544"/>
              <a:gd name="connsiteX430" fmla="*/ 2903897 w 3070954"/>
              <a:gd name="connsiteY430" fmla="*/ 1036805 h 3009544"/>
              <a:gd name="connsiteX431" fmla="*/ 2901177 w 3070954"/>
              <a:gd name="connsiteY431" fmla="*/ 1038885 h 3009544"/>
              <a:gd name="connsiteX432" fmla="*/ 2846137 w 3070954"/>
              <a:gd name="connsiteY432" fmla="*/ 1078405 h 3009544"/>
              <a:gd name="connsiteX433" fmla="*/ 2791257 w 3070954"/>
              <a:gd name="connsiteY433" fmla="*/ 1123365 h 3009544"/>
              <a:gd name="connsiteX434" fmla="*/ 2737496 w 3070954"/>
              <a:gd name="connsiteY434" fmla="*/ 1173605 h 3009544"/>
              <a:gd name="connsiteX435" fmla="*/ 2686137 w 3070954"/>
              <a:gd name="connsiteY435" fmla="*/ 1218725 h 3009544"/>
              <a:gd name="connsiteX436" fmla="*/ 2623257 w 3070954"/>
              <a:gd name="connsiteY436" fmla="*/ 1254245 h 3009544"/>
              <a:gd name="connsiteX437" fmla="*/ 2484057 w 3070954"/>
              <a:gd name="connsiteY437" fmla="*/ 1298565 h 3009544"/>
              <a:gd name="connsiteX438" fmla="*/ 2337496 w 3070954"/>
              <a:gd name="connsiteY438" fmla="*/ 1298245 h 3009544"/>
              <a:gd name="connsiteX439" fmla="*/ 2269977 w 3070954"/>
              <a:gd name="connsiteY439" fmla="*/ 1293285 h 3009544"/>
              <a:gd name="connsiteX440" fmla="*/ 2193816 w 3070954"/>
              <a:gd name="connsiteY440" fmla="*/ 1290245 h 3009544"/>
              <a:gd name="connsiteX441" fmla="*/ 2049656 w 3070954"/>
              <a:gd name="connsiteY441" fmla="*/ 1281605 h 3009544"/>
              <a:gd name="connsiteX442" fmla="*/ 1977977 w 3070954"/>
              <a:gd name="connsiteY442" fmla="*/ 1288965 h 3009544"/>
              <a:gd name="connsiteX443" fmla="*/ 1950296 w 3070954"/>
              <a:gd name="connsiteY443" fmla="*/ 1298245 h 3009544"/>
              <a:gd name="connsiteX444" fmla="*/ 1938937 w 3070954"/>
              <a:gd name="connsiteY444" fmla="*/ 1305445 h 3009544"/>
              <a:gd name="connsiteX445" fmla="*/ 1968376 w 3070954"/>
              <a:gd name="connsiteY445" fmla="*/ 1272485 h 3009544"/>
              <a:gd name="connsiteX446" fmla="*/ 1978296 w 3070954"/>
              <a:gd name="connsiteY446" fmla="*/ 1258565 h 3009544"/>
              <a:gd name="connsiteX447" fmla="*/ 2009177 w 3070954"/>
              <a:gd name="connsiteY447" fmla="*/ 1249125 h 3009544"/>
              <a:gd name="connsiteX448" fmla="*/ 2063416 w 3070954"/>
              <a:gd name="connsiteY448" fmla="*/ 1237605 h 3009544"/>
              <a:gd name="connsiteX449" fmla="*/ 2123097 w 3070954"/>
              <a:gd name="connsiteY449" fmla="*/ 1237125 h 3009544"/>
              <a:gd name="connsiteX450" fmla="*/ 2173977 w 3070954"/>
              <a:gd name="connsiteY450" fmla="*/ 1235205 h 3009544"/>
              <a:gd name="connsiteX451" fmla="*/ 2295416 w 3070954"/>
              <a:gd name="connsiteY451" fmla="*/ 1238565 h 3009544"/>
              <a:gd name="connsiteX452" fmla="*/ 2349977 w 3070954"/>
              <a:gd name="connsiteY452" fmla="*/ 1236805 h 3009544"/>
              <a:gd name="connsiteX453" fmla="*/ 2412536 w 3070954"/>
              <a:gd name="connsiteY453" fmla="*/ 1237605 h 3009544"/>
              <a:gd name="connsiteX454" fmla="*/ 2640057 w 3070954"/>
              <a:gd name="connsiteY454" fmla="*/ 1180805 h 3009544"/>
              <a:gd name="connsiteX455" fmla="*/ 2683097 w 3070954"/>
              <a:gd name="connsiteY455" fmla="*/ 1158885 h 3009544"/>
              <a:gd name="connsiteX456" fmla="*/ 2738137 w 3070954"/>
              <a:gd name="connsiteY456" fmla="*/ 1130725 h 3009544"/>
              <a:gd name="connsiteX457" fmla="*/ 2777977 w 3070954"/>
              <a:gd name="connsiteY457" fmla="*/ 1113925 h 3009544"/>
              <a:gd name="connsiteX458" fmla="*/ 2695416 w 3070954"/>
              <a:gd name="connsiteY458" fmla="*/ 1125125 h 3009544"/>
              <a:gd name="connsiteX459" fmla="*/ 2714937 w 3070954"/>
              <a:gd name="connsiteY459" fmla="*/ 1122885 h 3009544"/>
              <a:gd name="connsiteX460" fmla="*/ 2628696 w 3070954"/>
              <a:gd name="connsiteY460" fmla="*/ 1168645 h 3009544"/>
              <a:gd name="connsiteX461" fmla="*/ 2380857 w 3070954"/>
              <a:gd name="connsiteY461" fmla="*/ 1223205 h 3009544"/>
              <a:gd name="connsiteX462" fmla="*/ 2328217 w 3070954"/>
              <a:gd name="connsiteY462" fmla="*/ 1224005 h 3009544"/>
              <a:gd name="connsiteX463" fmla="*/ 2262137 w 3070954"/>
              <a:gd name="connsiteY463" fmla="*/ 1223045 h 3009544"/>
              <a:gd name="connsiteX464" fmla="*/ 2144217 w 3070954"/>
              <a:gd name="connsiteY464" fmla="*/ 1224325 h 3009544"/>
              <a:gd name="connsiteX465" fmla="*/ 2050456 w 3070954"/>
              <a:gd name="connsiteY465" fmla="*/ 1227845 h 3009544"/>
              <a:gd name="connsiteX466" fmla="*/ 2071736 w 3070954"/>
              <a:gd name="connsiteY466" fmla="*/ 1217285 h 3009544"/>
              <a:gd name="connsiteX467" fmla="*/ 2081336 w 3070954"/>
              <a:gd name="connsiteY467" fmla="*/ 1212645 h 3009544"/>
              <a:gd name="connsiteX468" fmla="*/ 2096536 w 3070954"/>
              <a:gd name="connsiteY468" fmla="*/ 1208325 h 3009544"/>
              <a:gd name="connsiteX469" fmla="*/ 2170296 w 3070954"/>
              <a:gd name="connsiteY469" fmla="*/ 1196165 h 3009544"/>
              <a:gd name="connsiteX470" fmla="*/ 2242776 w 3070954"/>
              <a:gd name="connsiteY470" fmla="*/ 1184485 h 3009544"/>
              <a:gd name="connsiteX471" fmla="*/ 2394937 w 3070954"/>
              <a:gd name="connsiteY471" fmla="*/ 1168485 h 3009544"/>
              <a:gd name="connsiteX472" fmla="*/ 2466616 w 3070954"/>
              <a:gd name="connsiteY472" fmla="*/ 1159845 h 3009544"/>
              <a:gd name="connsiteX473" fmla="*/ 2540376 w 3070954"/>
              <a:gd name="connsiteY473" fmla="*/ 1144805 h 3009544"/>
              <a:gd name="connsiteX474" fmla="*/ 2560696 w 3070954"/>
              <a:gd name="connsiteY474" fmla="*/ 1143045 h 3009544"/>
              <a:gd name="connsiteX475" fmla="*/ 2578456 w 3070954"/>
              <a:gd name="connsiteY475" fmla="*/ 1138565 h 3009544"/>
              <a:gd name="connsiteX476" fmla="*/ 2646456 w 3070954"/>
              <a:gd name="connsiteY476" fmla="*/ 1130085 h 3009544"/>
              <a:gd name="connsiteX477" fmla="*/ 2660217 w 3070954"/>
              <a:gd name="connsiteY477" fmla="*/ 1130245 h 3009544"/>
              <a:gd name="connsiteX478" fmla="*/ 2695416 w 3070954"/>
              <a:gd name="connsiteY478" fmla="*/ 1125125 h 3009544"/>
              <a:gd name="connsiteX479" fmla="*/ 2908057 w 3070954"/>
              <a:gd name="connsiteY479" fmla="*/ 752165 h 3009544"/>
              <a:gd name="connsiteX480" fmla="*/ 2841816 w 3070954"/>
              <a:gd name="connsiteY480" fmla="*/ 887685 h 3009544"/>
              <a:gd name="connsiteX481" fmla="*/ 2744696 w 3070954"/>
              <a:gd name="connsiteY481" fmla="*/ 1006245 h 3009544"/>
              <a:gd name="connsiteX482" fmla="*/ 2626456 w 3070954"/>
              <a:gd name="connsiteY482" fmla="*/ 1107045 h 3009544"/>
              <a:gd name="connsiteX483" fmla="*/ 2578776 w 3070954"/>
              <a:gd name="connsiteY483" fmla="*/ 1113445 h 3009544"/>
              <a:gd name="connsiteX484" fmla="*/ 2611257 w 3070954"/>
              <a:gd name="connsiteY484" fmla="*/ 1094885 h 3009544"/>
              <a:gd name="connsiteX485" fmla="*/ 2656376 w 3070954"/>
              <a:gd name="connsiteY485" fmla="*/ 1057765 h 3009544"/>
              <a:gd name="connsiteX486" fmla="*/ 2702776 w 3070954"/>
              <a:gd name="connsiteY486" fmla="*/ 1016165 h 3009544"/>
              <a:gd name="connsiteX487" fmla="*/ 2791576 w 3070954"/>
              <a:gd name="connsiteY487" fmla="*/ 913605 h 3009544"/>
              <a:gd name="connsiteX488" fmla="*/ 2874776 w 3070954"/>
              <a:gd name="connsiteY488" fmla="*/ 792165 h 3009544"/>
              <a:gd name="connsiteX489" fmla="*/ 2910137 w 3070954"/>
              <a:gd name="connsiteY489" fmla="*/ 727525 h 3009544"/>
              <a:gd name="connsiteX490" fmla="*/ 2945017 w 3070954"/>
              <a:gd name="connsiteY490" fmla="*/ 666565 h 3009544"/>
              <a:gd name="connsiteX491" fmla="*/ 2945177 w 3070954"/>
              <a:gd name="connsiteY491" fmla="*/ 666405 h 3009544"/>
              <a:gd name="connsiteX492" fmla="*/ 2908057 w 3070954"/>
              <a:gd name="connsiteY492" fmla="*/ 752165 h 3009544"/>
              <a:gd name="connsiteX493" fmla="*/ 3033177 w 3070954"/>
              <a:gd name="connsiteY493" fmla="*/ 264645 h 3009544"/>
              <a:gd name="connsiteX494" fmla="*/ 3005336 w 3070954"/>
              <a:gd name="connsiteY494" fmla="*/ 442885 h 3009544"/>
              <a:gd name="connsiteX495" fmla="*/ 2979416 w 3070954"/>
              <a:gd name="connsiteY495" fmla="*/ 524645 h 3009544"/>
              <a:gd name="connsiteX496" fmla="*/ 2963576 w 3070954"/>
              <a:gd name="connsiteY496" fmla="*/ 587365 h 3009544"/>
              <a:gd name="connsiteX497" fmla="*/ 2950296 w 3070954"/>
              <a:gd name="connsiteY497" fmla="*/ 613765 h 3009544"/>
              <a:gd name="connsiteX498" fmla="*/ 2939257 w 3070954"/>
              <a:gd name="connsiteY498" fmla="*/ 644165 h 3009544"/>
              <a:gd name="connsiteX499" fmla="*/ 2907416 w 3070954"/>
              <a:gd name="connsiteY499" fmla="*/ 702405 h 3009544"/>
              <a:gd name="connsiteX500" fmla="*/ 2869977 w 3070954"/>
              <a:gd name="connsiteY500" fmla="*/ 773125 h 3009544"/>
              <a:gd name="connsiteX501" fmla="*/ 2711097 w 3070954"/>
              <a:gd name="connsiteY501" fmla="*/ 987525 h 3009544"/>
              <a:gd name="connsiteX502" fmla="*/ 2665017 w 3070954"/>
              <a:gd name="connsiteY502" fmla="*/ 1030405 h 3009544"/>
              <a:gd name="connsiteX503" fmla="*/ 2621496 w 3070954"/>
              <a:gd name="connsiteY503" fmla="*/ 1070885 h 3009544"/>
              <a:gd name="connsiteX504" fmla="*/ 2569816 w 3070954"/>
              <a:gd name="connsiteY504" fmla="*/ 1104005 h 3009544"/>
              <a:gd name="connsiteX505" fmla="*/ 2538137 w 3070954"/>
              <a:gd name="connsiteY505" fmla="*/ 1116965 h 3009544"/>
              <a:gd name="connsiteX506" fmla="*/ 2509816 w 3070954"/>
              <a:gd name="connsiteY506" fmla="*/ 1119685 h 3009544"/>
              <a:gd name="connsiteX507" fmla="*/ 2468536 w 3070954"/>
              <a:gd name="connsiteY507" fmla="*/ 1131045 h 3009544"/>
              <a:gd name="connsiteX508" fmla="*/ 2404217 w 3070954"/>
              <a:gd name="connsiteY508" fmla="*/ 1138885 h 3009544"/>
              <a:gd name="connsiteX509" fmla="*/ 2375736 w 3070954"/>
              <a:gd name="connsiteY509" fmla="*/ 1142085 h 3009544"/>
              <a:gd name="connsiteX510" fmla="*/ 2379416 w 3070954"/>
              <a:gd name="connsiteY510" fmla="*/ 1140645 h 3009544"/>
              <a:gd name="connsiteX511" fmla="*/ 2413656 w 3070954"/>
              <a:gd name="connsiteY511" fmla="*/ 1120165 h 3009544"/>
              <a:gd name="connsiteX512" fmla="*/ 2467257 w 3070954"/>
              <a:gd name="connsiteY512" fmla="*/ 1088485 h 3009544"/>
              <a:gd name="connsiteX513" fmla="*/ 2526296 w 3070954"/>
              <a:gd name="connsiteY513" fmla="*/ 1042405 h 3009544"/>
              <a:gd name="connsiteX514" fmla="*/ 2581977 w 3070954"/>
              <a:gd name="connsiteY514" fmla="*/ 991205 h 3009544"/>
              <a:gd name="connsiteX515" fmla="*/ 2636696 w 3070954"/>
              <a:gd name="connsiteY515" fmla="*/ 922725 h 3009544"/>
              <a:gd name="connsiteX516" fmla="*/ 2723097 w 3070954"/>
              <a:gd name="connsiteY516" fmla="*/ 784325 h 3009544"/>
              <a:gd name="connsiteX517" fmla="*/ 2805816 w 3070954"/>
              <a:gd name="connsiteY517" fmla="*/ 632965 h 3009544"/>
              <a:gd name="connsiteX518" fmla="*/ 2844696 w 3070954"/>
              <a:gd name="connsiteY518" fmla="*/ 562885 h 3009544"/>
              <a:gd name="connsiteX519" fmla="*/ 2880217 w 3070954"/>
              <a:gd name="connsiteY519" fmla="*/ 493125 h 3009544"/>
              <a:gd name="connsiteX520" fmla="*/ 2951897 w 3070954"/>
              <a:gd name="connsiteY520" fmla="*/ 341765 h 3009544"/>
              <a:gd name="connsiteX521" fmla="*/ 3012057 w 3070954"/>
              <a:gd name="connsiteY521" fmla="*/ 186085 h 3009544"/>
              <a:gd name="connsiteX522" fmla="*/ 3033496 w 3070954"/>
              <a:gd name="connsiteY522" fmla="*/ 120805 h 3009544"/>
              <a:gd name="connsiteX523" fmla="*/ 3033177 w 3070954"/>
              <a:gd name="connsiteY523" fmla="*/ 264645 h 3009544"/>
              <a:gd name="connsiteX524" fmla="*/ 3039097 w 3070954"/>
              <a:gd name="connsiteY524" fmla="*/ 49925 h 3009544"/>
              <a:gd name="connsiteX525" fmla="*/ 2930616 w 3070954"/>
              <a:gd name="connsiteY525" fmla="*/ 354245 h 3009544"/>
              <a:gd name="connsiteX526" fmla="*/ 2858296 w 3070954"/>
              <a:gd name="connsiteY526" fmla="*/ 505605 h 3009544"/>
              <a:gd name="connsiteX527" fmla="*/ 2820217 w 3070954"/>
              <a:gd name="connsiteY527" fmla="*/ 573925 h 3009544"/>
              <a:gd name="connsiteX528" fmla="*/ 2779736 w 3070954"/>
              <a:gd name="connsiteY528" fmla="*/ 647845 h 3009544"/>
              <a:gd name="connsiteX529" fmla="*/ 2696536 w 3070954"/>
              <a:gd name="connsiteY529" fmla="*/ 799365 h 3009544"/>
              <a:gd name="connsiteX530" fmla="*/ 2604536 w 3070954"/>
              <a:gd name="connsiteY530" fmla="*/ 939845 h 3009544"/>
              <a:gd name="connsiteX531" fmla="*/ 2485496 w 3070954"/>
              <a:gd name="connsiteY531" fmla="*/ 1056485 h 3009544"/>
              <a:gd name="connsiteX532" fmla="*/ 2430456 w 3070954"/>
              <a:gd name="connsiteY532" fmla="*/ 1092805 h 3009544"/>
              <a:gd name="connsiteX533" fmla="*/ 2401177 w 3070954"/>
              <a:gd name="connsiteY533" fmla="*/ 1109125 h 3009544"/>
              <a:gd name="connsiteX534" fmla="*/ 2363897 w 3070954"/>
              <a:gd name="connsiteY534" fmla="*/ 1130405 h 3009544"/>
              <a:gd name="connsiteX535" fmla="*/ 2323257 w 3070954"/>
              <a:gd name="connsiteY535" fmla="*/ 1146245 h 3009544"/>
              <a:gd name="connsiteX536" fmla="*/ 2313656 w 3070954"/>
              <a:gd name="connsiteY536" fmla="*/ 1150885 h 3009544"/>
              <a:gd name="connsiteX537" fmla="*/ 2258137 w 3070954"/>
              <a:gd name="connsiteY537" fmla="*/ 1154565 h 3009544"/>
              <a:gd name="connsiteX538" fmla="*/ 2184057 w 3070954"/>
              <a:gd name="connsiteY538" fmla="*/ 1166885 h 3009544"/>
              <a:gd name="connsiteX539" fmla="*/ 2151736 w 3070954"/>
              <a:gd name="connsiteY539" fmla="*/ 1171845 h 3009544"/>
              <a:gd name="connsiteX540" fmla="*/ 2192536 w 3070954"/>
              <a:gd name="connsiteY540" fmla="*/ 1138885 h 3009544"/>
              <a:gd name="connsiteX541" fmla="*/ 2246937 w 3070954"/>
              <a:gd name="connsiteY541" fmla="*/ 1089765 h 3009544"/>
              <a:gd name="connsiteX542" fmla="*/ 2294456 w 3070954"/>
              <a:gd name="connsiteY542" fmla="*/ 1043845 h 3009544"/>
              <a:gd name="connsiteX543" fmla="*/ 2354296 w 3070954"/>
              <a:gd name="connsiteY543" fmla="*/ 995525 h 3009544"/>
              <a:gd name="connsiteX544" fmla="*/ 2416857 w 3070954"/>
              <a:gd name="connsiteY544" fmla="*/ 945445 h 3009544"/>
              <a:gd name="connsiteX545" fmla="*/ 2513496 w 3070954"/>
              <a:gd name="connsiteY545" fmla="*/ 827045 h 3009544"/>
              <a:gd name="connsiteX546" fmla="*/ 2558137 w 3070954"/>
              <a:gd name="connsiteY546" fmla="*/ 773605 h 3009544"/>
              <a:gd name="connsiteX547" fmla="*/ 2611097 w 3070954"/>
              <a:gd name="connsiteY547" fmla="*/ 704805 h 3009544"/>
              <a:gd name="connsiteX548" fmla="*/ 2658137 w 3070954"/>
              <a:gd name="connsiteY548" fmla="*/ 644645 h 3009544"/>
              <a:gd name="connsiteX549" fmla="*/ 2702296 w 3070954"/>
              <a:gd name="connsiteY549" fmla="*/ 573765 h 3009544"/>
              <a:gd name="connsiteX550" fmla="*/ 2789496 w 3070954"/>
              <a:gd name="connsiteY550" fmla="*/ 437765 h 3009544"/>
              <a:gd name="connsiteX551" fmla="*/ 2884217 w 3070954"/>
              <a:gd name="connsiteY551" fmla="*/ 304165 h 3009544"/>
              <a:gd name="connsiteX552" fmla="*/ 2921336 w 3070954"/>
              <a:gd name="connsiteY552" fmla="*/ 241765 h 3009544"/>
              <a:gd name="connsiteX553" fmla="*/ 2960857 w 3070954"/>
              <a:gd name="connsiteY553" fmla="*/ 170725 h 3009544"/>
              <a:gd name="connsiteX554" fmla="*/ 2987097 w 3070954"/>
              <a:gd name="connsiteY554" fmla="*/ 134885 h 3009544"/>
              <a:gd name="connsiteX555" fmla="*/ 3016217 w 3070954"/>
              <a:gd name="connsiteY555" fmla="*/ 89605 h 3009544"/>
              <a:gd name="connsiteX556" fmla="*/ 3039097 w 3070954"/>
              <a:gd name="connsiteY556" fmla="*/ 49925 h 3009544"/>
              <a:gd name="connsiteX557" fmla="*/ 2490456 w 3070954"/>
              <a:gd name="connsiteY557" fmla="*/ 538885 h 3009544"/>
              <a:gd name="connsiteX558" fmla="*/ 2509656 w 3070954"/>
              <a:gd name="connsiteY558" fmla="*/ 479365 h 3009544"/>
              <a:gd name="connsiteX559" fmla="*/ 2566456 w 3070954"/>
              <a:gd name="connsiteY559" fmla="*/ 380805 h 3009544"/>
              <a:gd name="connsiteX560" fmla="*/ 2642296 w 3070954"/>
              <a:gd name="connsiteY560" fmla="*/ 296165 h 3009544"/>
              <a:gd name="connsiteX561" fmla="*/ 2721336 w 3070954"/>
              <a:gd name="connsiteY561" fmla="*/ 219845 h 3009544"/>
              <a:gd name="connsiteX562" fmla="*/ 2758296 w 3070954"/>
              <a:gd name="connsiteY562" fmla="*/ 189125 h 3009544"/>
              <a:gd name="connsiteX563" fmla="*/ 2804857 w 3070954"/>
              <a:gd name="connsiteY563" fmla="*/ 164005 h 3009544"/>
              <a:gd name="connsiteX564" fmla="*/ 2897656 w 3070954"/>
              <a:gd name="connsiteY564" fmla="*/ 127845 h 3009544"/>
              <a:gd name="connsiteX565" fmla="*/ 2919897 w 3070954"/>
              <a:gd name="connsiteY565" fmla="*/ 116485 h 3009544"/>
              <a:gd name="connsiteX566" fmla="*/ 2900376 w 3070954"/>
              <a:gd name="connsiteY566" fmla="*/ 129765 h 3009544"/>
              <a:gd name="connsiteX567" fmla="*/ 2850137 w 3070954"/>
              <a:gd name="connsiteY567" fmla="*/ 170245 h 3009544"/>
              <a:gd name="connsiteX568" fmla="*/ 2762776 w 3070954"/>
              <a:gd name="connsiteY568" fmla="*/ 258885 h 3009544"/>
              <a:gd name="connsiteX569" fmla="*/ 2683897 w 3070954"/>
              <a:gd name="connsiteY569" fmla="*/ 342885 h 3009544"/>
              <a:gd name="connsiteX570" fmla="*/ 2608857 w 3070954"/>
              <a:gd name="connsiteY570" fmla="*/ 439845 h 3009544"/>
              <a:gd name="connsiteX571" fmla="*/ 2546296 w 3070954"/>
              <a:gd name="connsiteY571" fmla="*/ 538565 h 3009544"/>
              <a:gd name="connsiteX572" fmla="*/ 2525816 w 3070954"/>
              <a:gd name="connsiteY572" fmla="*/ 578885 h 3009544"/>
              <a:gd name="connsiteX573" fmla="*/ 2501017 w 3070954"/>
              <a:gd name="connsiteY573" fmla="*/ 627205 h 3009544"/>
              <a:gd name="connsiteX574" fmla="*/ 2474616 w 3070954"/>
              <a:gd name="connsiteY574" fmla="*/ 678885 h 3009544"/>
              <a:gd name="connsiteX575" fmla="*/ 2479257 w 3070954"/>
              <a:gd name="connsiteY575" fmla="*/ 611525 h 3009544"/>
              <a:gd name="connsiteX576" fmla="*/ 2480217 w 3070954"/>
              <a:gd name="connsiteY576" fmla="*/ 569445 h 3009544"/>
              <a:gd name="connsiteX577" fmla="*/ 2490456 w 3070954"/>
              <a:gd name="connsiteY577" fmla="*/ 538885 h 3009544"/>
              <a:gd name="connsiteX578" fmla="*/ 2462616 w 3070954"/>
              <a:gd name="connsiteY578" fmla="*/ 777125 h 3009544"/>
              <a:gd name="connsiteX579" fmla="*/ 2471897 w 3070954"/>
              <a:gd name="connsiteY579" fmla="*/ 709125 h 3009544"/>
              <a:gd name="connsiteX580" fmla="*/ 2505816 w 3070954"/>
              <a:gd name="connsiteY580" fmla="*/ 649285 h 3009544"/>
              <a:gd name="connsiteX581" fmla="*/ 2531257 w 3070954"/>
              <a:gd name="connsiteY581" fmla="*/ 598885 h 3009544"/>
              <a:gd name="connsiteX582" fmla="*/ 2554137 w 3070954"/>
              <a:gd name="connsiteY582" fmla="*/ 551845 h 3009544"/>
              <a:gd name="connsiteX583" fmla="*/ 2581496 w 3070954"/>
              <a:gd name="connsiteY583" fmla="*/ 509765 h 3009544"/>
              <a:gd name="connsiteX584" fmla="*/ 2614137 w 3070954"/>
              <a:gd name="connsiteY584" fmla="*/ 457285 h 3009544"/>
              <a:gd name="connsiteX585" fmla="*/ 2686296 w 3070954"/>
              <a:gd name="connsiteY585" fmla="*/ 361285 h 3009544"/>
              <a:gd name="connsiteX586" fmla="*/ 2725496 w 3070954"/>
              <a:gd name="connsiteY586" fmla="*/ 317765 h 3009544"/>
              <a:gd name="connsiteX587" fmla="*/ 2766456 w 3070954"/>
              <a:gd name="connsiteY587" fmla="*/ 273765 h 3009544"/>
              <a:gd name="connsiteX588" fmla="*/ 2853177 w 3070954"/>
              <a:gd name="connsiteY588" fmla="*/ 184965 h 3009544"/>
              <a:gd name="connsiteX589" fmla="*/ 2950456 w 3070954"/>
              <a:gd name="connsiteY589" fmla="*/ 110405 h 3009544"/>
              <a:gd name="connsiteX590" fmla="*/ 3017816 w 3070954"/>
              <a:gd name="connsiteY590" fmla="*/ 57285 h 3009544"/>
              <a:gd name="connsiteX591" fmla="*/ 3004376 w 3070954"/>
              <a:gd name="connsiteY591" fmla="*/ 80805 h 3009544"/>
              <a:gd name="connsiteX592" fmla="*/ 2956057 w 3070954"/>
              <a:gd name="connsiteY592" fmla="*/ 151845 h 3009544"/>
              <a:gd name="connsiteX593" fmla="*/ 2918937 w 3070954"/>
              <a:gd name="connsiteY593" fmla="*/ 213605 h 3009544"/>
              <a:gd name="connsiteX594" fmla="*/ 2901816 w 3070954"/>
              <a:gd name="connsiteY594" fmla="*/ 245285 h 3009544"/>
              <a:gd name="connsiteX595" fmla="*/ 2879257 w 3070954"/>
              <a:gd name="connsiteY595" fmla="*/ 283525 h 3009544"/>
              <a:gd name="connsiteX596" fmla="*/ 2836057 w 3070954"/>
              <a:gd name="connsiteY596" fmla="*/ 349765 h 3009544"/>
              <a:gd name="connsiteX597" fmla="*/ 2785336 w 3070954"/>
              <a:gd name="connsiteY597" fmla="*/ 417765 h 3009544"/>
              <a:gd name="connsiteX598" fmla="*/ 2697496 w 3070954"/>
              <a:gd name="connsiteY598" fmla="*/ 553765 h 3009544"/>
              <a:gd name="connsiteX599" fmla="*/ 2509496 w 3070954"/>
              <a:gd name="connsiteY599" fmla="*/ 808805 h 3009544"/>
              <a:gd name="connsiteX600" fmla="*/ 2411576 w 3070954"/>
              <a:gd name="connsiteY600" fmla="*/ 931525 h 3009544"/>
              <a:gd name="connsiteX601" fmla="*/ 2350937 w 3070954"/>
              <a:gd name="connsiteY601" fmla="*/ 980965 h 3009544"/>
              <a:gd name="connsiteX602" fmla="*/ 2342296 w 3070954"/>
              <a:gd name="connsiteY602" fmla="*/ 988485 h 3009544"/>
              <a:gd name="connsiteX603" fmla="*/ 2395416 w 3070954"/>
              <a:gd name="connsiteY603" fmla="*/ 914405 h 3009544"/>
              <a:gd name="connsiteX604" fmla="*/ 2462616 w 3070954"/>
              <a:gd name="connsiteY604" fmla="*/ 777125 h 3009544"/>
              <a:gd name="connsiteX605" fmla="*/ 2446937 w 3070954"/>
              <a:gd name="connsiteY605" fmla="*/ 668005 h 3009544"/>
              <a:gd name="connsiteX606" fmla="*/ 2413336 w 3070954"/>
              <a:gd name="connsiteY606" fmla="*/ 829765 h 3009544"/>
              <a:gd name="connsiteX607" fmla="*/ 2324857 w 3070954"/>
              <a:gd name="connsiteY607" fmla="*/ 961285 h 3009544"/>
              <a:gd name="connsiteX608" fmla="*/ 2277656 w 3070954"/>
              <a:gd name="connsiteY608" fmla="*/ 1019685 h 3009544"/>
              <a:gd name="connsiteX609" fmla="*/ 2223736 w 3070954"/>
              <a:gd name="connsiteY609" fmla="*/ 1072005 h 3009544"/>
              <a:gd name="connsiteX610" fmla="*/ 2165017 w 3070954"/>
              <a:gd name="connsiteY610" fmla="*/ 1123205 h 3009544"/>
              <a:gd name="connsiteX611" fmla="*/ 2102456 w 3070954"/>
              <a:gd name="connsiteY611" fmla="*/ 1169445 h 3009544"/>
              <a:gd name="connsiteX612" fmla="*/ 2057656 w 3070954"/>
              <a:gd name="connsiteY612" fmla="*/ 1191845 h 3009544"/>
              <a:gd name="connsiteX613" fmla="*/ 2050137 w 3070954"/>
              <a:gd name="connsiteY613" fmla="*/ 1193765 h 3009544"/>
              <a:gd name="connsiteX614" fmla="*/ 2005177 w 3070954"/>
              <a:gd name="connsiteY614" fmla="*/ 1208485 h 3009544"/>
              <a:gd name="connsiteX615" fmla="*/ 2025017 w 3070954"/>
              <a:gd name="connsiteY615" fmla="*/ 1148485 h 3009544"/>
              <a:gd name="connsiteX616" fmla="*/ 2069496 w 3070954"/>
              <a:gd name="connsiteY616" fmla="*/ 1122725 h 3009544"/>
              <a:gd name="connsiteX617" fmla="*/ 2119097 w 3070954"/>
              <a:gd name="connsiteY617" fmla="*/ 1092005 h 3009544"/>
              <a:gd name="connsiteX618" fmla="*/ 2167097 w 3070954"/>
              <a:gd name="connsiteY618" fmla="*/ 1052805 h 3009544"/>
              <a:gd name="connsiteX619" fmla="*/ 2219416 w 3070954"/>
              <a:gd name="connsiteY619" fmla="*/ 1008005 h 3009544"/>
              <a:gd name="connsiteX620" fmla="*/ 2292536 w 3070954"/>
              <a:gd name="connsiteY620" fmla="*/ 898885 h 3009544"/>
              <a:gd name="connsiteX621" fmla="*/ 2346776 w 3070954"/>
              <a:gd name="connsiteY621" fmla="*/ 783045 h 3009544"/>
              <a:gd name="connsiteX622" fmla="*/ 2385656 w 3070954"/>
              <a:gd name="connsiteY622" fmla="*/ 660965 h 3009544"/>
              <a:gd name="connsiteX623" fmla="*/ 2421336 w 3070954"/>
              <a:gd name="connsiteY623" fmla="*/ 530245 h 3009544"/>
              <a:gd name="connsiteX624" fmla="*/ 2426296 w 3070954"/>
              <a:gd name="connsiteY624" fmla="*/ 400485 h 3009544"/>
              <a:gd name="connsiteX625" fmla="*/ 2424857 w 3070954"/>
              <a:gd name="connsiteY625" fmla="*/ 358725 h 3009544"/>
              <a:gd name="connsiteX626" fmla="*/ 2446937 w 3070954"/>
              <a:gd name="connsiteY626" fmla="*/ 668005 h 3009544"/>
              <a:gd name="connsiteX627" fmla="*/ 2399736 w 3070954"/>
              <a:gd name="connsiteY627" fmla="*/ 261445 h 3009544"/>
              <a:gd name="connsiteX628" fmla="*/ 2407257 w 3070954"/>
              <a:gd name="connsiteY628" fmla="*/ 294725 h 3009544"/>
              <a:gd name="connsiteX629" fmla="*/ 2410776 w 3070954"/>
              <a:gd name="connsiteY629" fmla="*/ 309605 h 3009544"/>
              <a:gd name="connsiteX630" fmla="*/ 2412696 w 3070954"/>
              <a:gd name="connsiteY630" fmla="*/ 328645 h 3009544"/>
              <a:gd name="connsiteX631" fmla="*/ 2413017 w 3070954"/>
              <a:gd name="connsiteY631" fmla="*/ 395045 h 3009544"/>
              <a:gd name="connsiteX632" fmla="*/ 2414776 w 3070954"/>
              <a:gd name="connsiteY632" fmla="*/ 458085 h 3009544"/>
              <a:gd name="connsiteX633" fmla="*/ 2407416 w 3070954"/>
              <a:gd name="connsiteY633" fmla="*/ 522885 h 3009544"/>
              <a:gd name="connsiteX634" fmla="*/ 2371736 w 3070954"/>
              <a:gd name="connsiteY634" fmla="*/ 651525 h 3009544"/>
              <a:gd name="connsiteX635" fmla="*/ 2334137 w 3070954"/>
              <a:gd name="connsiteY635" fmla="*/ 771525 h 3009544"/>
              <a:gd name="connsiteX636" fmla="*/ 2308376 w 3070954"/>
              <a:gd name="connsiteY636" fmla="*/ 830725 h 3009544"/>
              <a:gd name="connsiteX637" fmla="*/ 2293017 w 3070954"/>
              <a:gd name="connsiteY637" fmla="*/ 861445 h 3009544"/>
              <a:gd name="connsiteX638" fmla="*/ 2279257 w 3070954"/>
              <a:gd name="connsiteY638" fmla="*/ 889285 h 3009544"/>
              <a:gd name="connsiteX639" fmla="*/ 2204536 w 3070954"/>
              <a:gd name="connsiteY639" fmla="*/ 999365 h 3009544"/>
              <a:gd name="connsiteX640" fmla="*/ 2156857 w 3070954"/>
              <a:gd name="connsiteY640" fmla="*/ 1040005 h 3009544"/>
              <a:gd name="connsiteX641" fmla="*/ 2108857 w 3070954"/>
              <a:gd name="connsiteY641" fmla="*/ 1079205 h 3009544"/>
              <a:gd name="connsiteX642" fmla="*/ 2029656 w 3070954"/>
              <a:gd name="connsiteY642" fmla="*/ 1125925 h 3009544"/>
              <a:gd name="connsiteX643" fmla="*/ 2037017 w 3070954"/>
              <a:gd name="connsiteY643" fmla="*/ 1040165 h 3009544"/>
              <a:gd name="connsiteX644" fmla="*/ 2059257 w 3070954"/>
              <a:gd name="connsiteY644" fmla="*/ 1008965 h 3009544"/>
              <a:gd name="connsiteX645" fmla="*/ 2099257 w 3070954"/>
              <a:gd name="connsiteY645" fmla="*/ 965765 h 3009544"/>
              <a:gd name="connsiteX646" fmla="*/ 2172057 w 3070954"/>
              <a:gd name="connsiteY646" fmla="*/ 870565 h 3009544"/>
              <a:gd name="connsiteX647" fmla="*/ 2238456 w 3070954"/>
              <a:gd name="connsiteY647" fmla="*/ 758085 h 3009544"/>
              <a:gd name="connsiteX648" fmla="*/ 2301496 w 3070954"/>
              <a:gd name="connsiteY648" fmla="*/ 643845 h 3009544"/>
              <a:gd name="connsiteX649" fmla="*/ 2374456 w 3070954"/>
              <a:gd name="connsiteY649" fmla="*/ 399205 h 3009544"/>
              <a:gd name="connsiteX650" fmla="*/ 2383097 w 3070954"/>
              <a:gd name="connsiteY650" fmla="*/ 272165 h 3009544"/>
              <a:gd name="connsiteX651" fmla="*/ 2375416 w 3070954"/>
              <a:gd name="connsiteY651" fmla="*/ 214725 h 3009544"/>
              <a:gd name="connsiteX652" fmla="*/ 2399736 w 3070954"/>
              <a:gd name="connsiteY652" fmla="*/ 261445 h 3009544"/>
              <a:gd name="connsiteX653" fmla="*/ 2269977 w 3070954"/>
              <a:gd name="connsiteY653" fmla="*/ 277925 h 3009544"/>
              <a:gd name="connsiteX654" fmla="*/ 2282137 w 3070954"/>
              <a:gd name="connsiteY654" fmla="*/ 232485 h 3009544"/>
              <a:gd name="connsiteX655" fmla="*/ 2292057 w 3070954"/>
              <a:gd name="connsiteY655" fmla="*/ 175205 h 3009544"/>
              <a:gd name="connsiteX656" fmla="*/ 2300217 w 3070954"/>
              <a:gd name="connsiteY656" fmla="*/ 126245 h 3009544"/>
              <a:gd name="connsiteX657" fmla="*/ 2305816 w 3070954"/>
              <a:gd name="connsiteY657" fmla="*/ 96645 h 3009544"/>
              <a:gd name="connsiteX658" fmla="*/ 2310776 w 3070954"/>
              <a:gd name="connsiteY658" fmla="*/ 88005 h 3009544"/>
              <a:gd name="connsiteX659" fmla="*/ 2338937 w 3070954"/>
              <a:gd name="connsiteY659" fmla="*/ 135525 h 3009544"/>
              <a:gd name="connsiteX660" fmla="*/ 2357977 w 3070954"/>
              <a:gd name="connsiteY660" fmla="*/ 175845 h 3009544"/>
              <a:gd name="connsiteX661" fmla="*/ 2364376 w 3070954"/>
              <a:gd name="connsiteY661" fmla="*/ 227045 h 3009544"/>
              <a:gd name="connsiteX662" fmla="*/ 2370296 w 3070954"/>
              <a:gd name="connsiteY662" fmla="*/ 294245 h 3009544"/>
              <a:gd name="connsiteX663" fmla="*/ 2363736 w 3070954"/>
              <a:gd name="connsiteY663" fmla="*/ 364805 h 3009544"/>
              <a:gd name="connsiteX664" fmla="*/ 2344376 w 3070954"/>
              <a:gd name="connsiteY664" fmla="*/ 479845 h 3009544"/>
              <a:gd name="connsiteX665" fmla="*/ 2297656 w 3070954"/>
              <a:gd name="connsiteY665" fmla="*/ 612325 h 3009544"/>
              <a:gd name="connsiteX666" fmla="*/ 2236536 w 3070954"/>
              <a:gd name="connsiteY666" fmla="*/ 730565 h 3009544"/>
              <a:gd name="connsiteX667" fmla="*/ 2171736 w 3070954"/>
              <a:gd name="connsiteY667" fmla="*/ 839365 h 3009544"/>
              <a:gd name="connsiteX668" fmla="*/ 2099897 w 3070954"/>
              <a:gd name="connsiteY668" fmla="*/ 940805 h 3009544"/>
              <a:gd name="connsiteX669" fmla="*/ 2057017 w 3070954"/>
              <a:gd name="connsiteY669" fmla="*/ 989125 h 3009544"/>
              <a:gd name="connsiteX670" fmla="*/ 2037656 w 3070954"/>
              <a:gd name="connsiteY670" fmla="*/ 1008165 h 3009544"/>
              <a:gd name="connsiteX671" fmla="*/ 2037177 w 3070954"/>
              <a:gd name="connsiteY671" fmla="*/ 1008805 h 3009544"/>
              <a:gd name="connsiteX672" fmla="*/ 2036536 w 3070954"/>
              <a:gd name="connsiteY672" fmla="*/ 993765 h 3009544"/>
              <a:gd name="connsiteX673" fmla="*/ 2027416 w 3070954"/>
              <a:gd name="connsiteY673" fmla="*/ 919845 h 3009544"/>
              <a:gd name="connsiteX674" fmla="*/ 2013177 w 3070954"/>
              <a:gd name="connsiteY674" fmla="*/ 879525 h 3009544"/>
              <a:gd name="connsiteX675" fmla="*/ 2029017 w 3070954"/>
              <a:gd name="connsiteY675" fmla="*/ 840165 h 3009544"/>
              <a:gd name="connsiteX676" fmla="*/ 2047576 w 3070954"/>
              <a:gd name="connsiteY676" fmla="*/ 789445 h 3009544"/>
              <a:gd name="connsiteX677" fmla="*/ 2069656 w 3070954"/>
              <a:gd name="connsiteY677" fmla="*/ 747525 h 3009544"/>
              <a:gd name="connsiteX678" fmla="*/ 2097336 w 3070954"/>
              <a:gd name="connsiteY678" fmla="*/ 694885 h 3009544"/>
              <a:gd name="connsiteX679" fmla="*/ 2138776 w 3070954"/>
              <a:gd name="connsiteY679" fmla="*/ 594565 h 3009544"/>
              <a:gd name="connsiteX680" fmla="*/ 2189336 w 3070954"/>
              <a:gd name="connsiteY680" fmla="*/ 490405 h 3009544"/>
              <a:gd name="connsiteX681" fmla="*/ 2230137 w 3070954"/>
              <a:gd name="connsiteY681" fmla="*/ 387845 h 3009544"/>
              <a:gd name="connsiteX682" fmla="*/ 2269977 w 3070954"/>
              <a:gd name="connsiteY682" fmla="*/ 277925 h 3009544"/>
              <a:gd name="connsiteX683" fmla="*/ 2212057 w 3070954"/>
              <a:gd name="connsiteY683" fmla="*/ 224325 h 3009544"/>
              <a:gd name="connsiteX684" fmla="*/ 2270937 w 3070954"/>
              <a:gd name="connsiteY684" fmla="*/ 144165 h 3009544"/>
              <a:gd name="connsiteX685" fmla="*/ 2289816 w 3070954"/>
              <a:gd name="connsiteY685" fmla="*/ 119205 h 3009544"/>
              <a:gd name="connsiteX686" fmla="*/ 2278137 w 3070954"/>
              <a:gd name="connsiteY686" fmla="*/ 175685 h 3009544"/>
              <a:gd name="connsiteX687" fmla="*/ 2271416 w 3070954"/>
              <a:gd name="connsiteY687" fmla="*/ 218725 h 3009544"/>
              <a:gd name="connsiteX688" fmla="*/ 2254616 w 3070954"/>
              <a:gd name="connsiteY688" fmla="*/ 278725 h 3009544"/>
              <a:gd name="connsiteX689" fmla="*/ 2213336 w 3070954"/>
              <a:gd name="connsiteY689" fmla="*/ 388325 h 3009544"/>
              <a:gd name="connsiteX690" fmla="*/ 2171736 w 3070954"/>
              <a:gd name="connsiteY690" fmla="*/ 490085 h 3009544"/>
              <a:gd name="connsiteX691" fmla="*/ 2120857 w 3070954"/>
              <a:gd name="connsiteY691" fmla="*/ 594565 h 3009544"/>
              <a:gd name="connsiteX692" fmla="*/ 2079416 w 3070954"/>
              <a:gd name="connsiteY692" fmla="*/ 694725 h 3009544"/>
              <a:gd name="connsiteX693" fmla="*/ 2054616 w 3070954"/>
              <a:gd name="connsiteY693" fmla="*/ 741285 h 3009544"/>
              <a:gd name="connsiteX694" fmla="*/ 2030616 w 3070954"/>
              <a:gd name="connsiteY694" fmla="*/ 789125 h 3009544"/>
              <a:gd name="connsiteX695" fmla="*/ 2012057 w 3070954"/>
              <a:gd name="connsiteY695" fmla="*/ 839685 h 3009544"/>
              <a:gd name="connsiteX696" fmla="*/ 2003736 w 3070954"/>
              <a:gd name="connsiteY696" fmla="*/ 860325 h 3009544"/>
              <a:gd name="connsiteX697" fmla="*/ 1998296 w 3070954"/>
              <a:gd name="connsiteY697" fmla="*/ 848965 h 3009544"/>
              <a:gd name="connsiteX698" fmla="*/ 1958296 w 3070954"/>
              <a:gd name="connsiteY698" fmla="*/ 787845 h 3009544"/>
              <a:gd name="connsiteX699" fmla="*/ 1959416 w 3070954"/>
              <a:gd name="connsiteY699" fmla="*/ 756805 h 3009544"/>
              <a:gd name="connsiteX700" fmla="*/ 1970296 w 3070954"/>
              <a:gd name="connsiteY700" fmla="*/ 700645 h 3009544"/>
              <a:gd name="connsiteX701" fmla="*/ 2008217 w 3070954"/>
              <a:gd name="connsiteY701" fmla="*/ 602085 h 3009544"/>
              <a:gd name="connsiteX702" fmla="*/ 2049656 w 3070954"/>
              <a:gd name="connsiteY702" fmla="*/ 503525 h 3009544"/>
              <a:gd name="connsiteX703" fmla="*/ 2108217 w 3070954"/>
              <a:gd name="connsiteY703" fmla="*/ 403525 h 3009544"/>
              <a:gd name="connsiteX704" fmla="*/ 2206776 w 3070954"/>
              <a:gd name="connsiteY704" fmla="*/ 233445 h 3009544"/>
              <a:gd name="connsiteX705" fmla="*/ 2212057 w 3070954"/>
              <a:gd name="connsiteY705" fmla="*/ 224325 h 3009544"/>
              <a:gd name="connsiteX706" fmla="*/ 2064217 w 3070954"/>
              <a:gd name="connsiteY706" fmla="*/ 339045 h 3009544"/>
              <a:gd name="connsiteX707" fmla="*/ 2075897 w 3070954"/>
              <a:gd name="connsiteY707" fmla="*/ 326085 h 3009544"/>
              <a:gd name="connsiteX708" fmla="*/ 2089977 w 3070954"/>
              <a:gd name="connsiteY708" fmla="*/ 319365 h 3009544"/>
              <a:gd name="connsiteX709" fmla="*/ 2131097 w 3070954"/>
              <a:gd name="connsiteY709" fmla="*/ 297925 h 3009544"/>
              <a:gd name="connsiteX710" fmla="*/ 2171576 w 3070954"/>
              <a:gd name="connsiteY710" fmla="*/ 265765 h 3009544"/>
              <a:gd name="connsiteX711" fmla="*/ 2082456 w 3070954"/>
              <a:gd name="connsiteY711" fmla="*/ 419205 h 3009544"/>
              <a:gd name="connsiteX712" fmla="*/ 2029977 w 3070954"/>
              <a:gd name="connsiteY712" fmla="*/ 509445 h 3009544"/>
              <a:gd name="connsiteX713" fmla="*/ 1990296 w 3070954"/>
              <a:gd name="connsiteY713" fmla="*/ 609125 h 3009544"/>
              <a:gd name="connsiteX714" fmla="*/ 1953017 w 3070954"/>
              <a:gd name="connsiteY714" fmla="*/ 707045 h 3009544"/>
              <a:gd name="connsiteX715" fmla="*/ 1943576 w 3070954"/>
              <a:gd name="connsiteY715" fmla="*/ 771365 h 3009544"/>
              <a:gd name="connsiteX716" fmla="*/ 1912536 w 3070954"/>
              <a:gd name="connsiteY716" fmla="*/ 741125 h 3009544"/>
              <a:gd name="connsiteX717" fmla="*/ 1898937 w 3070954"/>
              <a:gd name="connsiteY717" fmla="*/ 728965 h 3009544"/>
              <a:gd name="connsiteX718" fmla="*/ 1899736 w 3070954"/>
              <a:gd name="connsiteY718" fmla="*/ 714245 h 3009544"/>
              <a:gd name="connsiteX719" fmla="*/ 1900696 w 3070954"/>
              <a:gd name="connsiteY719" fmla="*/ 682085 h 3009544"/>
              <a:gd name="connsiteX720" fmla="*/ 1913177 w 3070954"/>
              <a:gd name="connsiteY720" fmla="*/ 621765 h 3009544"/>
              <a:gd name="connsiteX721" fmla="*/ 1954456 w 3070954"/>
              <a:gd name="connsiteY721" fmla="*/ 504645 h 3009544"/>
              <a:gd name="connsiteX722" fmla="*/ 2025977 w 3070954"/>
              <a:gd name="connsiteY722" fmla="*/ 383365 h 3009544"/>
              <a:gd name="connsiteX723" fmla="*/ 2064217 w 3070954"/>
              <a:gd name="connsiteY723" fmla="*/ 339045 h 3009544"/>
              <a:gd name="connsiteX724" fmla="*/ 1976696 w 3070954"/>
              <a:gd name="connsiteY724" fmla="*/ 398725 h 3009544"/>
              <a:gd name="connsiteX725" fmla="*/ 2036536 w 3070954"/>
              <a:gd name="connsiteY725" fmla="*/ 352965 h 3009544"/>
              <a:gd name="connsiteX726" fmla="*/ 2009656 w 3070954"/>
              <a:gd name="connsiteY726" fmla="*/ 387365 h 3009544"/>
              <a:gd name="connsiteX727" fmla="*/ 1937656 w 3070954"/>
              <a:gd name="connsiteY727" fmla="*/ 510725 h 3009544"/>
              <a:gd name="connsiteX728" fmla="*/ 1911736 w 3070954"/>
              <a:gd name="connsiteY728" fmla="*/ 570245 h 3009544"/>
              <a:gd name="connsiteX729" fmla="*/ 1898616 w 3070954"/>
              <a:gd name="connsiteY729" fmla="*/ 630405 h 3009544"/>
              <a:gd name="connsiteX730" fmla="*/ 1885336 w 3070954"/>
              <a:gd name="connsiteY730" fmla="*/ 692165 h 3009544"/>
              <a:gd name="connsiteX731" fmla="*/ 1886616 w 3070954"/>
              <a:gd name="connsiteY731" fmla="*/ 718405 h 3009544"/>
              <a:gd name="connsiteX732" fmla="*/ 1795416 w 3070954"/>
              <a:gd name="connsiteY732" fmla="*/ 662085 h 3009544"/>
              <a:gd name="connsiteX733" fmla="*/ 1790456 w 3070954"/>
              <a:gd name="connsiteY733" fmla="*/ 660165 h 3009544"/>
              <a:gd name="connsiteX734" fmla="*/ 1893336 w 3070954"/>
              <a:gd name="connsiteY734" fmla="*/ 476165 h 3009544"/>
              <a:gd name="connsiteX735" fmla="*/ 1976696 w 3070954"/>
              <a:gd name="connsiteY735" fmla="*/ 398725 h 3009544"/>
              <a:gd name="connsiteX736" fmla="*/ 1740057 w 3070954"/>
              <a:gd name="connsiteY736" fmla="*/ 188645 h 3009544"/>
              <a:gd name="connsiteX737" fmla="*/ 1858456 w 3070954"/>
              <a:gd name="connsiteY737" fmla="*/ 286405 h 3009544"/>
              <a:gd name="connsiteX738" fmla="*/ 1921977 w 3070954"/>
              <a:gd name="connsiteY738" fmla="*/ 411845 h 3009544"/>
              <a:gd name="connsiteX739" fmla="*/ 1923257 w 3070954"/>
              <a:gd name="connsiteY739" fmla="*/ 414565 h 3009544"/>
              <a:gd name="connsiteX740" fmla="*/ 1852217 w 3070954"/>
              <a:gd name="connsiteY740" fmla="*/ 484005 h 3009544"/>
              <a:gd name="connsiteX741" fmla="*/ 1846776 w 3070954"/>
              <a:gd name="connsiteY741" fmla="*/ 490405 h 3009544"/>
              <a:gd name="connsiteX742" fmla="*/ 1829656 w 3070954"/>
              <a:gd name="connsiteY742" fmla="*/ 416005 h 3009544"/>
              <a:gd name="connsiteX743" fmla="*/ 1783416 w 3070954"/>
              <a:gd name="connsiteY743" fmla="*/ 313445 h 3009544"/>
              <a:gd name="connsiteX744" fmla="*/ 1758137 w 3070954"/>
              <a:gd name="connsiteY744" fmla="*/ 271845 h 3009544"/>
              <a:gd name="connsiteX745" fmla="*/ 1724696 w 3070954"/>
              <a:gd name="connsiteY745" fmla="*/ 217765 h 3009544"/>
              <a:gd name="connsiteX746" fmla="*/ 1687097 w 3070954"/>
              <a:gd name="connsiteY746" fmla="*/ 167205 h 3009544"/>
              <a:gd name="connsiteX747" fmla="*/ 1668536 w 3070954"/>
              <a:gd name="connsiteY747" fmla="*/ 147525 h 3009544"/>
              <a:gd name="connsiteX748" fmla="*/ 1659736 w 3070954"/>
              <a:gd name="connsiteY748" fmla="*/ 139845 h 3009544"/>
              <a:gd name="connsiteX749" fmla="*/ 1740057 w 3070954"/>
              <a:gd name="connsiteY749" fmla="*/ 188645 h 3009544"/>
              <a:gd name="connsiteX750" fmla="*/ 1581816 w 3070954"/>
              <a:gd name="connsiteY750" fmla="*/ 104325 h 3009544"/>
              <a:gd name="connsiteX751" fmla="*/ 1643257 w 3070954"/>
              <a:gd name="connsiteY751" fmla="*/ 132165 h 3009544"/>
              <a:gd name="connsiteX752" fmla="*/ 1657336 w 3070954"/>
              <a:gd name="connsiteY752" fmla="*/ 149605 h 3009544"/>
              <a:gd name="connsiteX753" fmla="*/ 1696536 w 3070954"/>
              <a:gd name="connsiteY753" fmla="*/ 199365 h 3009544"/>
              <a:gd name="connsiteX754" fmla="*/ 1730296 w 3070954"/>
              <a:gd name="connsiteY754" fmla="*/ 251845 h 3009544"/>
              <a:gd name="connsiteX755" fmla="*/ 1762137 w 3070954"/>
              <a:gd name="connsiteY755" fmla="*/ 303685 h 3009544"/>
              <a:gd name="connsiteX756" fmla="*/ 1809336 w 3070954"/>
              <a:gd name="connsiteY756" fmla="*/ 406085 h 3009544"/>
              <a:gd name="connsiteX757" fmla="*/ 1825496 w 3070954"/>
              <a:gd name="connsiteY757" fmla="*/ 458085 h 3009544"/>
              <a:gd name="connsiteX758" fmla="*/ 1830616 w 3070954"/>
              <a:gd name="connsiteY758" fmla="*/ 511045 h 3009544"/>
              <a:gd name="connsiteX759" fmla="*/ 1770937 w 3070954"/>
              <a:gd name="connsiteY759" fmla="*/ 653285 h 3009544"/>
              <a:gd name="connsiteX760" fmla="*/ 1713656 w 3070954"/>
              <a:gd name="connsiteY760" fmla="*/ 637605 h 3009544"/>
              <a:gd name="connsiteX761" fmla="*/ 1711416 w 3070954"/>
              <a:gd name="connsiteY761" fmla="*/ 631365 h 3009544"/>
              <a:gd name="connsiteX762" fmla="*/ 1706937 w 3070954"/>
              <a:gd name="connsiteY762" fmla="*/ 595685 h 3009544"/>
              <a:gd name="connsiteX763" fmla="*/ 1703257 w 3070954"/>
              <a:gd name="connsiteY763" fmla="*/ 506405 h 3009544"/>
              <a:gd name="connsiteX764" fmla="*/ 1691897 w 3070954"/>
              <a:gd name="connsiteY764" fmla="*/ 422245 h 3009544"/>
              <a:gd name="connsiteX765" fmla="*/ 1669816 w 3070954"/>
              <a:gd name="connsiteY765" fmla="*/ 339205 h 3009544"/>
              <a:gd name="connsiteX766" fmla="*/ 1650776 w 3070954"/>
              <a:gd name="connsiteY766" fmla="*/ 267685 h 3009544"/>
              <a:gd name="connsiteX767" fmla="*/ 1614456 w 3070954"/>
              <a:gd name="connsiteY767" fmla="*/ 191205 h 3009544"/>
              <a:gd name="connsiteX768" fmla="*/ 1538776 w 3070954"/>
              <a:gd name="connsiteY768" fmla="*/ 86245 h 3009544"/>
              <a:gd name="connsiteX769" fmla="*/ 1581816 w 3070954"/>
              <a:gd name="connsiteY769" fmla="*/ 104325 h 3009544"/>
              <a:gd name="connsiteX770" fmla="*/ 1517496 w 3070954"/>
              <a:gd name="connsiteY770" fmla="*/ 77445 h 3009544"/>
              <a:gd name="connsiteX771" fmla="*/ 1557177 w 3070954"/>
              <a:gd name="connsiteY771" fmla="*/ 128005 h 3009544"/>
              <a:gd name="connsiteX772" fmla="*/ 1603736 w 3070954"/>
              <a:gd name="connsiteY772" fmla="*/ 202885 h 3009544"/>
              <a:gd name="connsiteX773" fmla="*/ 1635897 w 3070954"/>
              <a:gd name="connsiteY773" fmla="*/ 274245 h 3009544"/>
              <a:gd name="connsiteX774" fmla="*/ 1656217 w 3070954"/>
              <a:gd name="connsiteY774" fmla="*/ 353285 h 3009544"/>
              <a:gd name="connsiteX775" fmla="*/ 1676536 w 3070954"/>
              <a:gd name="connsiteY775" fmla="*/ 430885 h 3009544"/>
              <a:gd name="connsiteX776" fmla="*/ 1686137 w 3070954"/>
              <a:gd name="connsiteY776" fmla="*/ 508965 h 3009544"/>
              <a:gd name="connsiteX777" fmla="*/ 1689177 w 3070954"/>
              <a:gd name="connsiteY777" fmla="*/ 592325 h 3009544"/>
              <a:gd name="connsiteX778" fmla="*/ 1692217 w 3070954"/>
              <a:gd name="connsiteY778" fmla="*/ 628485 h 3009544"/>
              <a:gd name="connsiteX779" fmla="*/ 1693336 w 3070954"/>
              <a:gd name="connsiteY779" fmla="*/ 633285 h 3009544"/>
              <a:gd name="connsiteX780" fmla="*/ 1652696 w 3070954"/>
              <a:gd name="connsiteY780" fmla="*/ 624805 h 3009544"/>
              <a:gd name="connsiteX781" fmla="*/ 1574456 w 3070954"/>
              <a:gd name="connsiteY781" fmla="*/ 606565 h 3009544"/>
              <a:gd name="connsiteX782" fmla="*/ 1572856 w 3070954"/>
              <a:gd name="connsiteY782" fmla="*/ 600485 h 3009544"/>
              <a:gd name="connsiteX783" fmla="*/ 1547897 w 3070954"/>
              <a:gd name="connsiteY783" fmla="*/ 544645 h 3009544"/>
              <a:gd name="connsiteX784" fmla="*/ 1543897 w 3070954"/>
              <a:gd name="connsiteY784" fmla="*/ 537605 h 3009544"/>
              <a:gd name="connsiteX785" fmla="*/ 1541177 w 3070954"/>
              <a:gd name="connsiteY785" fmla="*/ 530245 h 3009544"/>
              <a:gd name="connsiteX786" fmla="*/ 1533496 w 3070954"/>
              <a:gd name="connsiteY786" fmla="*/ 512645 h 3009544"/>
              <a:gd name="connsiteX787" fmla="*/ 1523097 w 3070954"/>
              <a:gd name="connsiteY787" fmla="*/ 487205 h 3009544"/>
              <a:gd name="connsiteX788" fmla="*/ 1503897 w 3070954"/>
              <a:gd name="connsiteY788" fmla="*/ 427685 h 3009544"/>
              <a:gd name="connsiteX789" fmla="*/ 1491736 w 3070954"/>
              <a:gd name="connsiteY789" fmla="*/ 366725 h 3009544"/>
              <a:gd name="connsiteX790" fmla="*/ 1485017 w 3070954"/>
              <a:gd name="connsiteY790" fmla="*/ 304165 h 3009544"/>
              <a:gd name="connsiteX791" fmla="*/ 1481336 w 3070954"/>
              <a:gd name="connsiteY791" fmla="*/ 171525 h 3009544"/>
              <a:gd name="connsiteX792" fmla="*/ 1473177 w 3070954"/>
              <a:gd name="connsiteY792" fmla="*/ 46245 h 3009544"/>
              <a:gd name="connsiteX793" fmla="*/ 1517496 w 3070954"/>
              <a:gd name="connsiteY793" fmla="*/ 77445 h 3009544"/>
              <a:gd name="connsiteX794" fmla="*/ 1445816 w 3070954"/>
              <a:gd name="connsiteY794" fmla="*/ 91205 h 3009544"/>
              <a:gd name="connsiteX795" fmla="*/ 1463097 w 3070954"/>
              <a:gd name="connsiteY795" fmla="*/ 62245 h 3009544"/>
              <a:gd name="connsiteX796" fmla="*/ 1463736 w 3070954"/>
              <a:gd name="connsiteY796" fmla="*/ 95365 h 3009544"/>
              <a:gd name="connsiteX797" fmla="*/ 1467097 w 3070954"/>
              <a:gd name="connsiteY797" fmla="*/ 166565 h 3009544"/>
              <a:gd name="connsiteX798" fmla="*/ 1471097 w 3070954"/>
              <a:gd name="connsiteY798" fmla="*/ 318565 h 3009544"/>
              <a:gd name="connsiteX799" fmla="*/ 1477816 w 3070954"/>
              <a:gd name="connsiteY799" fmla="*/ 375845 h 3009544"/>
              <a:gd name="connsiteX800" fmla="*/ 1491576 w 3070954"/>
              <a:gd name="connsiteY800" fmla="*/ 448165 h 3009544"/>
              <a:gd name="connsiteX801" fmla="*/ 1493977 w 3070954"/>
              <a:gd name="connsiteY801" fmla="*/ 456645 h 3009544"/>
              <a:gd name="connsiteX802" fmla="*/ 1472696 w 3070954"/>
              <a:gd name="connsiteY802" fmla="*/ 437285 h 3009544"/>
              <a:gd name="connsiteX803" fmla="*/ 1401177 w 3070954"/>
              <a:gd name="connsiteY803" fmla="*/ 375045 h 3009544"/>
              <a:gd name="connsiteX804" fmla="*/ 1400376 w 3070954"/>
              <a:gd name="connsiteY804" fmla="*/ 374405 h 3009544"/>
              <a:gd name="connsiteX805" fmla="*/ 1397977 w 3070954"/>
              <a:gd name="connsiteY805" fmla="*/ 372325 h 3009544"/>
              <a:gd name="connsiteX806" fmla="*/ 1395416 w 3070954"/>
              <a:gd name="connsiteY806" fmla="*/ 364165 h 3009544"/>
              <a:gd name="connsiteX807" fmla="*/ 1391097 w 3070954"/>
              <a:gd name="connsiteY807" fmla="*/ 320965 h 3009544"/>
              <a:gd name="connsiteX808" fmla="*/ 1396057 w 3070954"/>
              <a:gd name="connsiteY808" fmla="*/ 274725 h 3009544"/>
              <a:gd name="connsiteX809" fmla="*/ 1401336 w 3070954"/>
              <a:gd name="connsiteY809" fmla="*/ 231045 h 3009544"/>
              <a:gd name="connsiteX810" fmla="*/ 1419897 w 3070954"/>
              <a:gd name="connsiteY810" fmla="*/ 152645 h 3009544"/>
              <a:gd name="connsiteX811" fmla="*/ 1445816 w 3070954"/>
              <a:gd name="connsiteY811" fmla="*/ 91205 h 3009544"/>
              <a:gd name="connsiteX812" fmla="*/ 1281177 w 3070954"/>
              <a:gd name="connsiteY812" fmla="*/ 261125 h 3009544"/>
              <a:gd name="connsiteX813" fmla="*/ 1321336 w 3070954"/>
              <a:gd name="connsiteY813" fmla="*/ 227045 h 3009544"/>
              <a:gd name="connsiteX814" fmla="*/ 1386937 w 3070954"/>
              <a:gd name="connsiteY814" fmla="*/ 160165 h 3009544"/>
              <a:gd name="connsiteX815" fmla="*/ 1417977 w 3070954"/>
              <a:gd name="connsiteY815" fmla="*/ 125765 h 3009544"/>
              <a:gd name="connsiteX816" fmla="*/ 1408376 w 3070954"/>
              <a:gd name="connsiteY816" fmla="*/ 147685 h 3009544"/>
              <a:gd name="connsiteX817" fmla="*/ 1388376 w 3070954"/>
              <a:gd name="connsiteY817" fmla="*/ 223045 h 3009544"/>
              <a:gd name="connsiteX818" fmla="*/ 1382616 w 3070954"/>
              <a:gd name="connsiteY818" fmla="*/ 266565 h 3009544"/>
              <a:gd name="connsiteX819" fmla="*/ 1376057 w 3070954"/>
              <a:gd name="connsiteY819" fmla="*/ 315525 h 3009544"/>
              <a:gd name="connsiteX820" fmla="*/ 1378937 w 3070954"/>
              <a:gd name="connsiteY820" fmla="*/ 352645 h 3009544"/>
              <a:gd name="connsiteX821" fmla="*/ 1379257 w 3070954"/>
              <a:gd name="connsiteY821" fmla="*/ 355525 h 3009544"/>
              <a:gd name="connsiteX822" fmla="*/ 1304217 w 3070954"/>
              <a:gd name="connsiteY822" fmla="*/ 292005 h 3009544"/>
              <a:gd name="connsiteX823" fmla="*/ 1277656 w 3070954"/>
              <a:gd name="connsiteY823" fmla="*/ 271525 h 3009544"/>
              <a:gd name="connsiteX824" fmla="*/ 1281177 w 3070954"/>
              <a:gd name="connsiteY824" fmla="*/ 261125 h 3009544"/>
              <a:gd name="connsiteX825" fmla="*/ 1296536 w 3070954"/>
              <a:gd name="connsiteY825" fmla="*/ 320965 h 3009544"/>
              <a:gd name="connsiteX826" fmla="*/ 1459576 w 3070954"/>
              <a:gd name="connsiteY826" fmla="*/ 463045 h 3009544"/>
              <a:gd name="connsiteX827" fmla="*/ 1514937 w 3070954"/>
              <a:gd name="connsiteY827" fmla="*/ 542405 h 3009544"/>
              <a:gd name="connsiteX828" fmla="*/ 1530616 w 3070954"/>
              <a:gd name="connsiteY828" fmla="*/ 592005 h 3009544"/>
              <a:gd name="connsiteX829" fmla="*/ 1531257 w 3070954"/>
              <a:gd name="connsiteY829" fmla="*/ 596325 h 3009544"/>
              <a:gd name="connsiteX830" fmla="*/ 1487576 w 3070954"/>
              <a:gd name="connsiteY830" fmla="*/ 577445 h 3009544"/>
              <a:gd name="connsiteX831" fmla="*/ 1462937 w 3070954"/>
              <a:gd name="connsiteY831" fmla="*/ 557445 h 3009544"/>
              <a:gd name="connsiteX832" fmla="*/ 1457336 w 3070954"/>
              <a:gd name="connsiteY832" fmla="*/ 551685 h 3009544"/>
              <a:gd name="connsiteX833" fmla="*/ 1424376 w 3070954"/>
              <a:gd name="connsiteY833" fmla="*/ 583685 h 3009544"/>
              <a:gd name="connsiteX834" fmla="*/ 1420856 w 3070954"/>
              <a:gd name="connsiteY834" fmla="*/ 589605 h 3009544"/>
              <a:gd name="connsiteX835" fmla="*/ 1402937 w 3070954"/>
              <a:gd name="connsiteY835" fmla="*/ 607525 h 3009544"/>
              <a:gd name="connsiteX836" fmla="*/ 1379097 w 3070954"/>
              <a:gd name="connsiteY836" fmla="*/ 630405 h 3009544"/>
              <a:gd name="connsiteX837" fmla="*/ 1359736 w 3070954"/>
              <a:gd name="connsiteY837" fmla="*/ 537285 h 3009544"/>
              <a:gd name="connsiteX838" fmla="*/ 1317496 w 3070954"/>
              <a:gd name="connsiteY838" fmla="*/ 411845 h 3009544"/>
              <a:gd name="connsiteX839" fmla="*/ 1253496 w 3070954"/>
              <a:gd name="connsiteY839" fmla="*/ 303205 h 3009544"/>
              <a:gd name="connsiteX840" fmla="*/ 1225977 w 3070954"/>
              <a:gd name="connsiteY840" fmla="*/ 266085 h 3009544"/>
              <a:gd name="connsiteX841" fmla="*/ 1296536 w 3070954"/>
              <a:gd name="connsiteY841" fmla="*/ 320965 h 3009544"/>
              <a:gd name="connsiteX842" fmla="*/ 1086616 w 3070954"/>
              <a:gd name="connsiteY842" fmla="*/ 182245 h 3009544"/>
              <a:gd name="connsiteX843" fmla="*/ 1140216 w 3070954"/>
              <a:gd name="connsiteY843" fmla="*/ 204165 h 3009544"/>
              <a:gd name="connsiteX844" fmla="*/ 1179736 w 3070954"/>
              <a:gd name="connsiteY844" fmla="*/ 231205 h 3009544"/>
              <a:gd name="connsiteX845" fmla="*/ 1181176 w 3070954"/>
              <a:gd name="connsiteY845" fmla="*/ 232805 h 3009544"/>
              <a:gd name="connsiteX846" fmla="*/ 1184216 w 3070954"/>
              <a:gd name="connsiteY846" fmla="*/ 234565 h 3009544"/>
              <a:gd name="connsiteX847" fmla="*/ 1190296 w 3070954"/>
              <a:gd name="connsiteY847" fmla="*/ 239205 h 3009544"/>
              <a:gd name="connsiteX848" fmla="*/ 1215417 w 3070954"/>
              <a:gd name="connsiteY848" fmla="*/ 272485 h 3009544"/>
              <a:gd name="connsiteX849" fmla="*/ 1245816 w 3070954"/>
              <a:gd name="connsiteY849" fmla="*/ 316165 h 3009544"/>
              <a:gd name="connsiteX850" fmla="*/ 1305656 w 3070954"/>
              <a:gd name="connsiteY850" fmla="*/ 424325 h 3009544"/>
              <a:gd name="connsiteX851" fmla="*/ 1343416 w 3070954"/>
              <a:gd name="connsiteY851" fmla="*/ 539845 h 3009544"/>
              <a:gd name="connsiteX852" fmla="*/ 1363257 w 3070954"/>
              <a:gd name="connsiteY852" fmla="*/ 647525 h 3009544"/>
              <a:gd name="connsiteX853" fmla="*/ 1349977 w 3070954"/>
              <a:gd name="connsiteY853" fmla="*/ 662085 h 3009544"/>
              <a:gd name="connsiteX854" fmla="*/ 1298937 w 3070954"/>
              <a:gd name="connsiteY854" fmla="*/ 713285 h 3009544"/>
              <a:gd name="connsiteX855" fmla="*/ 1279097 w 3070954"/>
              <a:gd name="connsiteY855" fmla="*/ 729125 h 3009544"/>
              <a:gd name="connsiteX856" fmla="*/ 1270776 w 3070954"/>
              <a:gd name="connsiteY856" fmla="*/ 702405 h 3009544"/>
              <a:gd name="connsiteX857" fmla="*/ 1264696 w 3070954"/>
              <a:gd name="connsiteY857" fmla="*/ 661445 h 3009544"/>
              <a:gd name="connsiteX858" fmla="*/ 1257336 w 3070954"/>
              <a:gd name="connsiteY858" fmla="*/ 577605 h 3009544"/>
              <a:gd name="connsiteX859" fmla="*/ 1239097 w 3070954"/>
              <a:gd name="connsiteY859" fmla="*/ 488325 h 3009544"/>
              <a:gd name="connsiteX860" fmla="*/ 1213977 w 3070954"/>
              <a:gd name="connsiteY860" fmla="*/ 404645 h 3009544"/>
              <a:gd name="connsiteX861" fmla="*/ 1132536 w 3070954"/>
              <a:gd name="connsiteY861" fmla="*/ 256325 h 3009544"/>
              <a:gd name="connsiteX862" fmla="*/ 1074937 w 3070954"/>
              <a:gd name="connsiteY862" fmla="*/ 189765 h 3009544"/>
              <a:gd name="connsiteX863" fmla="*/ 1058136 w 3070954"/>
              <a:gd name="connsiteY863" fmla="*/ 171045 h 3009544"/>
              <a:gd name="connsiteX864" fmla="*/ 1086616 w 3070954"/>
              <a:gd name="connsiteY864" fmla="*/ 182245 h 3009544"/>
              <a:gd name="connsiteX865" fmla="*/ 963576 w 3070954"/>
              <a:gd name="connsiteY865" fmla="*/ 140965 h 3009544"/>
              <a:gd name="connsiteX866" fmla="*/ 960216 w 3070954"/>
              <a:gd name="connsiteY866" fmla="*/ 135845 h 3009544"/>
              <a:gd name="connsiteX867" fmla="*/ 995896 w 3070954"/>
              <a:gd name="connsiteY867" fmla="*/ 150725 h 3009544"/>
              <a:gd name="connsiteX868" fmla="*/ 1026616 w 3070954"/>
              <a:gd name="connsiteY868" fmla="*/ 161285 h 3009544"/>
              <a:gd name="connsiteX869" fmla="*/ 1077816 w 3070954"/>
              <a:gd name="connsiteY869" fmla="*/ 213445 h 3009544"/>
              <a:gd name="connsiteX870" fmla="*/ 1129497 w 3070954"/>
              <a:gd name="connsiteY870" fmla="*/ 279525 h 3009544"/>
              <a:gd name="connsiteX871" fmla="*/ 1207736 w 3070954"/>
              <a:gd name="connsiteY871" fmla="*/ 434565 h 3009544"/>
              <a:gd name="connsiteX872" fmla="*/ 1228696 w 3070954"/>
              <a:gd name="connsiteY872" fmla="*/ 523525 h 3009544"/>
              <a:gd name="connsiteX873" fmla="*/ 1242937 w 3070954"/>
              <a:gd name="connsiteY873" fmla="*/ 609285 h 3009544"/>
              <a:gd name="connsiteX874" fmla="*/ 1251576 w 3070954"/>
              <a:gd name="connsiteY874" fmla="*/ 693605 h 3009544"/>
              <a:gd name="connsiteX875" fmla="*/ 1264856 w 3070954"/>
              <a:gd name="connsiteY875" fmla="*/ 739685 h 3009544"/>
              <a:gd name="connsiteX876" fmla="*/ 1242776 w 3070954"/>
              <a:gd name="connsiteY876" fmla="*/ 760485 h 3009544"/>
              <a:gd name="connsiteX877" fmla="*/ 1214296 w 3070954"/>
              <a:gd name="connsiteY877" fmla="*/ 794885 h 3009544"/>
              <a:gd name="connsiteX878" fmla="*/ 1175417 w 3070954"/>
              <a:gd name="connsiteY878" fmla="*/ 734565 h 3009544"/>
              <a:gd name="connsiteX879" fmla="*/ 1154776 w 3070954"/>
              <a:gd name="connsiteY879" fmla="*/ 709605 h 3009544"/>
              <a:gd name="connsiteX880" fmla="*/ 1137977 w 3070954"/>
              <a:gd name="connsiteY880" fmla="*/ 681125 h 3009544"/>
              <a:gd name="connsiteX881" fmla="*/ 1111576 w 3070954"/>
              <a:gd name="connsiteY881" fmla="*/ 604325 h 3009544"/>
              <a:gd name="connsiteX882" fmla="*/ 1105977 w 3070954"/>
              <a:gd name="connsiteY882" fmla="*/ 567845 h 3009544"/>
              <a:gd name="connsiteX883" fmla="*/ 1094457 w 3070954"/>
              <a:gd name="connsiteY883" fmla="*/ 525445 h 3009544"/>
              <a:gd name="connsiteX884" fmla="*/ 1071897 w 3070954"/>
              <a:gd name="connsiteY884" fmla="*/ 451525 h 3009544"/>
              <a:gd name="connsiteX885" fmla="*/ 1008216 w 3070954"/>
              <a:gd name="connsiteY885" fmla="*/ 295045 h 3009544"/>
              <a:gd name="connsiteX886" fmla="*/ 980056 w 3070954"/>
              <a:gd name="connsiteY886" fmla="*/ 225765 h 3009544"/>
              <a:gd name="connsiteX887" fmla="*/ 970457 w 3070954"/>
              <a:gd name="connsiteY887" fmla="*/ 164165 h 3009544"/>
              <a:gd name="connsiteX888" fmla="*/ 963576 w 3070954"/>
              <a:gd name="connsiteY888" fmla="*/ 140965 h 3009544"/>
              <a:gd name="connsiteX889" fmla="*/ 1190937 w 3070954"/>
              <a:gd name="connsiteY889" fmla="*/ 822405 h 3009544"/>
              <a:gd name="connsiteX890" fmla="*/ 1189656 w 3070954"/>
              <a:gd name="connsiteY890" fmla="*/ 824165 h 3009544"/>
              <a:gd name="connsiteX891" fmla="*/ 1189176 w 3070954"/>
              <a:gd name="connsiteY891" fmla="*/ 816965 h 3009544"/>
              <a:gd name="connsiteX892" fmla="*/ 1189816 w 3070954"/>
              <a:gd name="connsiteY892" fmla="*/ 817605 h 3009544"/>
              <a:gd name="connsiteX893" fmla="*/ 1190937 w 3070954"/>
              <a:gd name="connsiteY893" fmla="*/ 822405 h 3009544"/>
              <a:gd name="connsiteX894" fmla="*/ 979736 w 3070954"/>
              <a:gd name="connsiteY894" fmla="*/ 266885 h 3009544"/>
              <a:gd name="connsiteX895" fmla="*/ 987096 w 3070954"/>
              <a:gd name="connsiteY895" fmla="*/ 284005 h 3009544"/>
              <a:gd name="connsiteX896" fmla="*/ 1023736 w 3070954"/>
              <a:gd name="connsiteY896" fmla="*/ 363365 h 3009544"/>
              <a:gd name="connsiteX897" fmla="*/ 1055417 w 3070954"/>
              <a:gd name="connsiteY897" fmla="*/ 452005 h 3009544"/>
              <a:gd name="connsiteX898" fmla="*/ 1081497 w 3070954"/>
              <a:gd name="connsiteY898" fmla="*/ 540325 h 3009544"/>
              <a:gd name="connsiteX899" fmla="*/ 1099256 w 3070954"/>
              <a:gd name="connsiteY899" fmla="*/ 624165 h 3009544"/>
              <a:gd name="connsiteX900" fmla="*/ 1115897 w 3070954"/>
              <a:gd name="connsiteY900" fmla="*/ 672965 h 3009544"/>
              <a:gd name="connsiteX901" fmla="*/ 1097336 w 3070954"/>
              <a:gd name="connsiteY901" fmla="*/ 655045 h 3009544"/>
              <a:gd name="connsiteX902" fmla="*/ 1009977 w 3070954"/>
              <a:gd name="connsiteY902" fmla="*/ 601445 h 3009544"/>
              <a:gd name="connsiteX903" fmla="*/ 983736 w 3070954"/>
              <a:gd name="connsiteY903" fmla="*/ 562405 h 3009544"/>
              <a:gd name="connsiteX904" fmla="*/ 959896 w 3070954"/>
              <a:gd name="connsiteY904" fmla="*/ 480805 h 3009544"/>
              <a:gd name="connsiteX905" fmla="*/ 956056 w 3070954"/>
              <a:gd name="connsiteY905" fmla="*/ 387205 h 3009544"/>
              <a:gd name="connsiteX906" fmla="*/ 958296 w 3070954"/>
              <a:gd name="connsiteY906" fmla="*/ 358085 h 3009544"/>
              <a:gd name="connsiteX907" fmla="*/ 959736 w 3070954"/>
              <a:gd name="connsiteY907" fmla="*/ 354885 h 3009544"/>
              <a:gd name="connsiteX908" fmla="*/ 979736 w 3070954"/>
              <a:gd name="connsiteY908" fmla="*/ 266885 h 3009544"/>
              <a:gd name="connsiteX909" fmla="*/ 944536 w 3070954"/>
              <a:gd name="connsiteY909" fmla="*/ 388965 h 3009544"/>
              <a:gd name="connsiteX910" fmla="*/ 947096 w 3070954"/>
              <a:gd name="connsiteY910" fmla="*/ 489605 h 3009544"/>
              <a:gd name="connsiteX911" fmla="*/ 970136 w 3070954"/>
              <a:gd name="connsiteY911" fmla="*/ 568005 h 3009544"/>
              <a:gd name="connsiteX912" fmla="*/ 986296 w 3070954"/>
              <a:gd name="connsiteY912" fmla="*/ 593765 h 3009544"/>
              <a:gd name="connsiteX913" fmla="*/ 876056 w 3070954"/>
              <a:gd name="connsiteY913" fmla="*/ 572645 h 3009544"/>
              <a:gd name="connsiteX914" fmla="*/ 873176 w 3070954"/>
              <a:gd name="connsiteY914" fmla="*/ 572485 h 3009544"/>
              <a:gd name="connsiteX915" fmla="*/ 944536 w 3070954"/>
              <a:gd name="connsiteY915" fmla="*/ 388965 h 3009544"/>
              <a:gd name="connsiteX916" fmla="*/ 920696 w 3070954"/>
              <a:gd name="connsiteY916" fmla="*/ 606565 h 3009544"/>
              <a:gd name="connsiteX917" fmla="*/ 1044536 w 3070954"/>
              <a:gd name="connsiteY917" fmla="*/ 648005 h 3009544"/>
              <a:gd name="connsiteX918" fmla="*/ 1087897 w 3070954"/>
              <a:gd name="connsiteY918" fmla="*/ 686725 h 3009544"/>
              <a:gd name="connsiteX919" fmla="*/ 1131096 w 3070954"/>
              <a:gd name="connsiteY919" fmla="*/ 728325 h 3009544"/>
              <a:gd name="connsiteX920" fmla="*/ 1163256 w 3070954"/>
              <a:gd name="connsiteY920" fmla="*/ 769765 h 3009544"/>
              <a:gd name="connsiteX921" fmla="*/ 1173656 w 3070954"/>
              <a:gd name="connsiteY921" fmla="*/ 782885 h 3009544"/>
              <a:gd name="connsiteX922" fmla="*/ 1178776 w 3070954"/>
              <a:gd name="connsiteY922" fmla="*/ 804325 h 3009544"/>
              <a:gd name="connsiteX923" fmla="*/ 1180376 w 3070954"/>
              <a:gd name="connsiteY923" fmla="*/ 836805 h 3009544"/>
              <a:gd name="connsiteX924" fmla="*/ 1170296 w 3070954"/>
              <a:gd name="connsiteY924" fmla="*/ 852805 h 3009544"/>
              <a:gd name="connsiteX925" fmla="*/ 1144696 w 3070954"/>
              <a:gd name="connsiteY925" fmla="*/ 814245 h 3009544"/>
              <a:gd name="connsiteX926" fmla="*/ 1096216 w 3070954"/>
              <a:gd name="connsiteY926" fmla="*/ 751685 h 3009544"/>
              <a:gd name="connsiteX927" fmla="*/ 1041336 w 3070954"/>
              <a:gd name="connsiteY927" fmla="*/ 703205 h 3009544"/>
              <a:gd name="connsiteX928" fmla="*/ 969336 w 3070954"/>
              <a:gd name="connsiteY928" fmla="*/ 652325 h 3009544"/>
              <a:gd name="connsiteX929" fmla="*/ 865816 w 3070954"/>
              <a:gd name="connsiteY929" fmla="*/ 600325 h 3009544"/>
              <a:gd name="connsiteX930" fmla="*/ 920696 w 3070954"/>
              <a:gd name="connsiteY930" fmla="*/ 606565 h 3009544"/>
              <a:gd name="connsiteX931" fmla="*/ 656376 w 3070954"/>
              <a:gd name="connsiteY931" fmla="*/ 562245 h 3009544"/>
              <a:gd name="connsiteX932" fmla="*/ 783576 w 3070954"/>
              <a:gd name="connsiteY932" fmla="*/ 589125 h 3009544"/>
              <a:gd name="connsiteX933" fmla="*/ 825816 w 3070954"/>
              <a:gd name="connsiteY933" fmla="*/ 596805 h 3009544"/>
              <a:gd name="connsiteX934" fmla="*/ 839576 w 3070954"/>
              <a:gd name="connsiteY934" fmla="*/ 603365 h 3009544"/>
              <a:gd name="connsiteX935" fmla="*/ 904696 w 3070954"/>
              <a:gd name="connsiteY935" fmla="*/ 634405 h 3009544"/>
              <a:gd name="connsiteX936" fmla="*/ 979096 w 3070954"/>
              <a:gd name="connsiteY936" fmla="*/ 674725 h 3009544"/>
              <a:gd name="connsiteX937" fmla="*/ 1087576 w 3070954"/>
              <a:gd name="connsiteY937" fmla="*/ 766085 h 3009544"/>
              <a:gd name="connsiteX938" fmla="*/ 1128216 w 3070954"/>
              <a:gd name="connsiteY938" fmla="*/ 819525 h 3009544"/>
              <a:gd name="connsiteX939" fmla="*/ 1150616 w 3070954"/>
              <a:gd name="connsiteY939" fmla="*/ 854245 h 3009544"/>
              <a:gd name="connsiteX940" fmla="*/ 1160216 w 3070954"/>
              <a:gd name="connsiteY940" fmla="*/ 870565 h 3009544"/>
              <a:gd name="connsiteX941" fmla="*/ 1150296 w 3070954"/>
              <a:gd name="connsiteY941" fmla="*/ 888005 h 3009544"/>
              <a:gd name="connsiteX942" fmla="*/ 1121656 w 3070954"/>
              <a:gd name="connsiteY942" fmla="*/ 969765 h 3009544"/>
              <a:gd name="connsiteX943" fmla="*/ 1042776 w 3070954"/>
              <a:gd name="connsiteY943" fmla="*/ 845605 h 3009544"/>
              <a:gd name="connsiteX944" fmla="*/ 906136 w 3070954"/>
              <a:gd name="connsiteY944" fmla="*/ 713765 h 3009544"/>
              <a:gd name="connsiteX945" fmla="*/ 827256 w 3070954"/>
              <a:gd name="connsiteY945" fmla="*/ 665445 h 3009544"/>
              <a:gd name="connsiteX946" fmla="*/ 746457 w 3070954"/>
              <a:gd name="connsiteY946" fmla="*/ 607845 h 3009544"/>
              <a:gd name="connsiteX947" fmla="*/ 663096 w 3070954"/>
              <a:gd name="connsiteY947" fmla="*/ 566405 h 3009544"/>
              <a:gd name="connsiteX948" fmla="*/ 637656 w 3070954"/>
              <a:gd name="connsiteY948" fmla="*/ 559845 h 3009544"/>
              <a:gd name="connsiteX949" fmla="*/ 656376 w 3070954"/>
              <a:gd name="connsiteY949" fmla="*/ 562245 h 3009544"/>
              <a:gd name="connsiteX950" fmla="*/ 528856 w 3070954"/>
              <a:gd name="connsiteY950" fmla="*/ 544805 h 3009544"/>
              <a:gd name="connsiteX951" fmla="*/ 619096 w 3070954"/>
              <a:gd name="connsiteY951" fmla="*/ 557605 h 3009544"/>
              <a:gd name="connsiteX952" fmla="*/ 638776 w 3070954"/>
              <a:gd name="connsiteY952" fmla="*/ 569125 h 3009544"/>
              <a:gd name="connsiteX953" fmla="*/ 700536 w 3070954"/>
              <a:gd name="connsiteY953" fmla="*/ 595525 h 3009544"/>
              <a:gd name="connsiteX954" fmla="*/ 864856 w 3070954"/>
              <a:gd name="connsiteY954" fmla="*/ 705925 h 3009544"/>
              <a:gd name="connsiteX955" fmla="*/ 1017977 w 3070954"/>
              <a:gd name="connsiteY955" fmla="*/ 841765 h 3009544"/>
              <a:gd name="connsiteX956" fmla="*/ 1073017 w 3070954"/>
              <a:gd name="connsiteY956" fmla="*/ 919205 h 3009544"/>
              <a:gd name="connsiteX957" fmla="*/ 1118616 w 3070954"/>
              <a:gd name="connsiteY957" fmla="*/ 999045 h 3009544"/>
              <a:gd name="connsiteX958" fmla="*/ 1118296 w 3070954"/>
              <a:gd name="connsiteY958" fmla="*/ 1023525 h 3009544"/>
              <a:gd name="connsiteX959" fmla="*/ 1130136 w 3070954"/>
              <a:gd name="connsiteY959" fmla="*/ 1103685 h 3009544"/>
              <a:gd name="connsiteX960" fmla="*/ 1119256 w 3070954"/>
              <a:gd name="connsiteY960" fmla="*/ 1099045 h 3009544"/>
              <a:gd name="connsiteX961" fmla="*/ 1066136 w 3070954"/>
              <a:gd name="connsiteY961" fmla="*/ 1068165 h 3009544"/>
              <a:gd name="connsiteX962" fmla="*/ 1015576 w 3070954"/>
              <a:gd name="connsiteY962" fmla="*/ 1038565 h 3009544"/>
              <a:gd name="connsiteX963" fmla="*/ 965336 w 3070954"/>
              <a:gd name="connsiteY963" fmla="*/ 1001765 h 3009544"/>
              <a:gd name="connsiteX964" fmla="*/ 792376 w 3070954"/>
              <a:gd name="connsiteY964" fmla="*/ 847685 h 3009544"/>
              <a:gd name="connsiteX965" fmla="*/ 713977 w 3070954"/>
              <a:gd name="connsiteY965" fmla="*/ 762565 h 3009544"/>
              <a:gd name="connsiteX966" fmla="*/ 676376 w 3070954"/>
              <a:gd name="connsiteY966" fmla="*/ 721605 h 3009544"/>
              <a:gd name="connsiteX967" fmla="*/ 640696 w 3070954"/>
              <a:gd name="connsiteY967" fmla="*/ 674725 h 3009544"/>
              <a:gd name="connsiteX968" fmla="*/ 563256 w 3070954"/>
              <a:gd name="connsiteY968" fmla="*/ 584965 h 3009544"/>
              <a:gd name="connsiteX969" fmla="*/ 523736 w 3070954"/>
              <a:gd name="connsiteY969" fmla="*/ 543525 h 3009544"/>
              <a:gd name="connsiteX970" fmla="*/ 528856 w 3070954"/>
              <a:gd name="connsiteY970" fmla="*/ 544805 h 3009544"/>
              <a:gd name="connsiteX971" fmla="*/ 429816 w 3070954"/>
              <a:gd name="connsiteY971" fmla="*/ 504165 h 3009544"/>
              <a:gd name="connsiteX972" fmla="*/ 505977 w 3070954"/>
              <a:gd name="connsiteY972" fmla="*/ 538885 h 3009544"/>
              <a:gd name="connsiteX973" fmla="*/ 521497 w 3070954"/>
              <a:gd name="connsiteY973" fmla="*/ 554885 h 3009544"/>
              <a:gd name="connsiteX974" fmla="*/ 558457 w 3070954"/>
              <a:gd name="connsiteY974" fmla="*/ 597925 h 3009544"/>
              <a:gd name="connsiteX975" fmla="*/ 633816 w 3070954"/>
              <a:gd name="connsiteY975" fmla="*/ 688805 h 3009544"/>
              <a:gd name="connsiteX976" fmla="*/ 669017 w 3070954"/>
              <a:gd name="connsiteY976" fmla="*/ 735845 h 3009544"/>
              <a:gd name="connsiteX977" fmla="*/ 706136 w 3070954"/>
              <a:gd name="connsiteY977" fmla="*/ 776645 h 3009544"/>
              <a:gd name="connsiteX978" fmla="*/ 782937 w 3070954"/>
              <a:gd name="connsiteY978" fmla="*/ 860325 h 3009544"/>
              <a:gd name="connsiteX979" fmla="*/ 955256 w 3070954"/>
              <a:gd name="connsiteY979" fmla="*/ 1015365 h 3009544"/>
              <a:gd name="connsiteX980" fmla="*/ 1055897 w 3070954"/>
              <a:gd name="connsiteY980" fmla="*/ 1081925 h 3009544"/>
              <a:gd name="connsiteX981" fmla="*/ 1101336 w 3070954"/>
              <a:gd name="connsiteY981" fmla="*/ 1110565 h 3009544"/>
              <a:gd name="connsiteX982" fmla="*/ 1130937 w 3070954"/>
              <a:gd name="connsiteY982" fmla="*/ 1124005 h 3009544"/>
              <a:gd name="connsiteX983" fmla="*/ 1137336 w 3070954"/>
              <a:gd name="connsiteY983" fmla="*/ 1127365 h 3009544"/>
              <a:gd name="connsiteX984" fmla="*/ 1171256 w 3070954"/>
              <a:gd name="connsiteY984" fmla="*/ 1203845 h 3009544"/>
              <a:gd name="connsiteX985" fmla="*/ 1057176 w 3070954"/>
              <a:gd name="connsiteY985" fmla="*/ 1168005 h 3009544"/>
              <a:gd name="connsiteX986" fmla="*/ 920056 w 3070954"/>
              <a:gd name="connsiteY986" fmla="*/ 1110885 h 3009544"/>
              <a:gd name="connsiteX987" fmla="*/ 786136 w 3070954"/>
              <a:gd name="connsiteY987" fmla="*/ 1042405 h 3009544"/>
              <a:gd name="connsiteX988" fmla="*/ 673336 w 3070954"/>
              <a:gd name="connsiteY988" fmla="*/ 957605 h 3009544"/>
              <a:gd name="connsiteX989" fmla="*/ 567096 w 3070954"/>
              <a:gd name="connsiteY989" fmla="*/ 855365 h 3009544"/>
              <a:gd name="connsiteX990" fmla="*/ 479256 w 3070954"/>
              <a:gd name="connsiteY990" fmla="*/ 739525 h 3009544"/>
              <a:gd name="connsiteX991" fmla="*/ 423896 w 3070954"/>
              <a:gd name="connsiteY991" fmla="*/ 604325 h 3009544"/>
              <a:gd name="connsiteX992" fmla="*/ 411576 w 3070954"/>
              <a:gd name="connsiteY992" fmla="*/ 533605 h 3009544"/>
              <a:gd name="connsiteX993" fmla="*/ 408536 w 3070954"/>
              <a:gd name="connsiteY993" fmla="*/ 496805 h 3009544"/>
              <a:gd name="connsiteX994" fmla="*/ 407896 w 3070954"/>
              <a:gd name="connsiteY994" fmla="*/ 489285 h 3009544"/>
              <a:gd name="connsiteX995" fmla="*/ 429816 w 3070954"/>
              <a:gd name="connsiteY995" fmla="*/ 504165 h 3009544"/>
              <a:gd name="connsiteX996" fmla="*/ 387416 w 3070954"/>
              <a:gd name="connsiteY996" fmla="*/ 600965 h 3009544"/>
              <a:gd name="connsiteX997" fmla="*/ 400696 w 3070954"/>
              <a:gd name="connsiteY997" fmla="*/ 524165 h 3009544"/>
              <a:gd name="connsiteX998" fmla="*/ 408696 w 3070954"/>
              <a:gd name="connsiteY998" fmla="*/ 592645 h 3009544"/>
              <a:gd name="connsiteX999" fmla="*/ 460056 w 3070954"/>
              <a:gd name="connsiteY999" fmla="*/ 732965 h 3009544"/>
              <a:gd name="connsiteX1000" fmla="*/ 542776 w 3070954"/>
              <a:gd name="connsiteY1000" fmla="*/ 849445 h 3009544"/>
              <a:gd name="connsiteX1001" fmla="*/ 648216 w 3070954"/>
              <a:gd name="connsiteY1001" fmla="*/ 957285 h 3009544"/>
              <a:gd name="connsiteX1002" fmla="*/ 705017 w 3070954"/>
              <a:gd name="connsiteY1002" fmla="*/ 1000965 h 3009544"/>
              <a:gd name="connsiteX1003" fmla="*/ 765017 w 3070954"/>
              <a:gd name="connsiteY1003" fmla="*/ 1047365 h 3009544"/>
              <a:gd name="connsiteX1004" fmla="*/ 901656 w 3070954"/>
              <a:gd name="connsiteY1004" fmla="*/ 1120005 h 3009544"/>
              <a:gd name="connsiteX1005" fmla="*/ 1050776 w 3070954"/>
              <a:gd name="connsiteY1005" fmla="*/ 1182405 h 3009544"/>
              <a:gd name="connsiteX1006" fmla="*/ 1125497 w 3070954"/>
              <a:gd name="connsiteY1006" fmla="*/ 1208805 h 3009544"/>
              <a:gd name="connsiteX1007" fmla="*/ 1182136 w 3070954"/>
              <a:gd name="connsiteY1007" fmla="*/ 1222405 h 3009544"/>
              <a:gd name="connsiteX1008" fmla="*/ 1230296 w 3070954"/>
              <a:gd name="connsiteY1008" fmla="*/ 1287205 h 3009544"/>
              <a:gd name="connsiteX1009" fmla="*/ 1252536 w 3070954"/>
              <a:gd name="connsiteY1009" fmla="*/ 1309605 h 3009544"/>
              <a:gd name="connsiteX1010" fmla="*/ 987096 w 3070954"/>
              <a:gd name="connsiteY1010" fmla="*/ 1260325 h 3009544"/>
              <a:gd name="connsiteX1011" fmla="*/ 838296 w 3070954"/>
              <a:gd name="connsiteY1011" fmla="*/ 1188485 h 3009544"/>
              <a:gd name="connsiteX1012" fmla="*/ 703576 w 3070954"/>
              <a:gd name="connsiteY1012" fmla="*/ 1097925 h 3009544"/>
              <a:gd name="connsiteX1013" fmla="*/ 490296 w 3070954"/>
              <a:gd name="connsiteY1013" fmla="*/ 877445 h 3009544"/>
              <a:gd name="connsiteX1014" fmla="*/ 419256 w 3070954"/>
              <a:gd name="connsiteY1014" fmla="*/ 734085 h 3009544"/>
              <a:gd name="connsiteX1015" fmla="*/ 385176 w 3070954"/>
              <a:gd name="connsiteY1015" fmla="*/ 621925 h 3009544"/>
              <a:gd name="connsiteX1016" fmla="*/ 387416 w 3070954"/>
              <a:gd name="connsiteY1016" fmla="*/ 600965 h 3009544"/>
              <a:gd name="connsiteX1017" fmla="*/ 1202776 w 3070954"/>
              <a:gd name="connsiteY1017" fmla="*/ 1348325 h 3009544"/>
              <a:gd name="connsiteX1018" fmla="*/ 1138937 w 3070954"/>
              <a:gd name="connsiteY1018" fmla="*/ 1352165 h 3009544"/>
              <a:gd name="connsiteX1019" fmla="*/ 1105497 w 3070954"/>
              <a:gd name="connsiteY1019" fmla="*/ 1351045 h 3009544"/>
              <a:gd name="connsiteX1020" fmla="*/ 1058937 w 3070954"/>
              <a:gd name="connsiteY1020" fmla="*/ 1348645 h 3009544"/>
              <a:gd name="connsiteX1021" fmla="*/ 893497 w 3070954"/>
              <a:gd name="connsiteY1021" fmla="*/ 1310085 h 3009544"/>
              <a:gd name="connsiteX1022" fmla="*/ 745977 w 3070954"/>
              <a:gd name="connsiteY1022" fmla="*/ 1237445 h 3009544"/>
              <a:gd name="connsiteX1023" fmla="*/ 622136 w 3070954"/>
              <a:gd name="connsiteY1023" fmla="*/ 1132165 h 3009544"/>
              <a:gd name="connsiteX1024" fmla="*/ 526616 w 3070954"/>
              <a:gd name="connsiteY1024" fmla="*/ 1014565 h 3009544"/>
              <a:gd name="connsiteX1025" fmla="*/ 480536 w 3070954"/>
              <a:gd name="connsiteY1025" fmla="*/ 954565 h 3009544"/>
              <a:gd name="connsiteX1026" fmla="*/ 438136 w 3070954"/>
              <a:gd name="connsiteY1026" fmla="*/ 882085 h 3009544"/>
              <a:gd name="connsiteX1027" fmla="*/ 404696 w 3070954"/>
              <a:gd name="connsiteY1027" fmla="*/ 813765 h 3009544"/>
              <a:gd name="connsiteX1028" fmla="*/ 385336 w 3070954"/>
              <a:gd name="connsiteY1028" fmla="*/ 731525 h 3009544"/>
              <a:gd name="connsiteX1029" fmla="*/ 382616 w 3070954"/>
              <a:gd name="connsiteY1029" fmla="*/ 648965 h 3009544"/>
              <a:gd name="connsiteX1030" fmla="*/ 406296 w 3070954"/>
              <a:gd name="connsiteY1030" fmla="*/ 730565 h 3009544"/>
              <a:gd name="connsiteX1031" fmla="*/ 435096 w 3070954"/>
              <a:gd name="connsiteY1031" fmla="*/ 798725 h 3009544"/>
              <a:gd name="connsiteX1032" fmla="*/ 472056 w 3070954"/>
              <a:gd name="connsiteY1032" fmla="*/ 873285 h 3009544"/>
              <a:gd name="connsiteX1033" fmla="*/ 674136 w 3070954"/>
              <a:gd name="connsiteY1033" fmla="*/ 1093125 h 3009544"/>
              <a:gd name="connsiteX1034" fmla="*/ 948856 w 3070954"/>
              <a:gd name="connsiteY1034" fmla="*/ 1261925 h 3009544"/>
              <a:gd name="connsiteX1035" fmla="*/ 1240376 w 3070954"/>
              <a:gd name="connsiteY1035" fmla="*/ 1323845 h 3009544"/>
              <a:gd name="connsiteX1036" fmla="*/ 1266456 w 3070954"/>
              <a:gd name="connsiteY1036" fmla="*/ 1327205 h 3009544"/>
              <a:gd name="connsiteX1037" fmla="*/ 1266616 w 3070954"/>
              <a:gd name="connsiteY1037" fmla="*/ 1327205 h 3009544"/>
              <a:gd name="connsiteX1038" fmla="*/ 1269017 w 3070954"/>
              <a:gd name="connsiteY1038" fmla="*/ 1327525 h 3009544"/>
              <a:gd name="connsiteX1039" fmla="*/ 1273496 w 3070954"/>
              <a:gd name="connsiteY1039" fmla="*/ 1326885 h 3009544"/>
              <a:gd name="connsiteX1040" fmla="*/ 1289977 w 3070954"/>
              <a:gd name="connsiteY1040" fmla="*/ 1338725 h 3009544"/>
              <a:gd name="connsiteX1041" fmla="*/ 1202776 w 3070954"/>
              <a:gd name="connsiteY1041" fmla="*/ 1348325 h 3009544"/>
              <a:gd name="connsiteX1042" fmla="*/ 1324217 w 3070954"/>
              <a:gd name="connsiteY1042" fmla="*/ 1327365 h 3009544"/>
              <a:gd name="connsiteX1043" fmla="*/ 1219096 w 3070954"/>
              <a:gd name="connsiteY1043" fmla="*/ 1228965 h 3009544"/>
              <a:gd name="connsiteX1044" fmla="*/ 1154136 w 3070954"/>
              <a:gd name="connsiteY1044" fmla="*/ 941445 h 3009544"/>
              <a:gd name="connsiteX1045" fmla="*/ 1240856 w 3070954"/>
              <a:gd name="connsiteY1045" fmla="*/ 803525 h 3009544"/>
              <a:gd name="connsiteX1046" fmla="*/ 1262456 w 3070954"/>
              <a:gd name="connsiteY1046" fmla="*/ 776005 h 3009544"/>
              <a:gd name="connsiteX1047" fmla="*/ 1288536 w 3070954"/>
              <a:gd name="connsiteY1047" fmla="*/ 753125 h 3009544"/>
              <a:gd name="connsiteX1048" fmla="*/ 1276217 w 3070954"/>
              <a:gd name="connsiteY1048" fmla="*/ 782085 h 3009544"/>
              <a:gd name="connsiteX1049" fmla="*/ 1243576 w 3070954"/>
              <a:gd name="connsiteY1049" fmla="*/ 889765 h 3009544"/>
              <a:gd name="connsiteX1050" fmla="*/ 1244856 w 3070954"/>
              <a:gd name="connsiteY1050" fmla="*/ 1010565 h 3009544"/>
              <a:gd name="connsiteX1051" fmla="*/ 1259897 w 3070954"/>
              <a:gd name="connsiteY1051" fmla="*/ 1130085 h 3009544"/>
              <a:gd name="connsiteX1052" fmla="*/ 1307416 w 3070954"/>
              <a:gd name="connsiteY1052" fmla="*/ 1228485 h 3009544"/>
              <a:gd name="connsiteX1053" fmla="*/ 1380696 w 3070954"/>
              <a:gd name="connsiteY1053" fmla="*/ 1314885 h 3009544"/>
              <a:gd name="connsiteX1054" fmla="*/ 1462456 w 3070954"/>
              <a:gd name="connsiteY1054" fmla="*/ 1379365 h 3009544"/>
              <a:gd name="connsiteX1055" fmla="*/ 1464536 w 3070954"/>
              <a:gd name="connsiteY1055" fmla="*/ 1380485 h 3009544"/>
              <a:gd name="connsiteX1056" fmla="*/ 1436696 w 3070954"/>
              <a:gd name="connsiteY1056" fmla="*/ 1373765 h 3009544"/>
              <a:gd name="connsiteX1057" fmla="*/ 1386616 w 3070954"/>
              <a:gd name="connsiteY1057" fmla="*/ 1360965 h 3009544"/>
              <a:gd name="connsiteX1058" fmla="*/ 1380696 w 3070954"/>
              <a:gd name="connsiteY1058" fmla="*/ 1358885 h 3009544"/>
              <a:gd name="connsiteX1059" fmla="*/ 1376376 w 3070954"/>
              <a:gd name="connsiteY1059" fmla="*/ 1357285 h 3009544"/>
              <a:gd name="connsiteX1060" fmla="*/ 1324217 w 3070954"/>
              <a:gd name="connsiteY1060" fmla="*/ 1327365 h 3009544"/>
              <a:gd name="connsiteX1061" fmla="*/ 458616 w 3070954"/>
              <a:gd name="connsiteY1061" fmla="*/ 1474885 h 3009544"/>
              <a:gd name="connsiteX1062" fmla="*/ 616856 w 3070954"/>
              <a:gd name="connsiteY1062" fmla="*/ 1453285 h 3009544"/>
              <a:gd name="connsiteX1063" fmla="*/ 698937 w 3070954"/>
              <a:gd name="connsiteY1063" fmla="*/ 1448325 h 3009544"/>
              <a:gd name="connsiteX1064" fmla="*/ 785017 w 3070954"/>
              <a:gd name="connsiteY1064" fmla="*/ 1449285 h 3009544"/>
              <a:gd name="connsiteX1065" fmla="*/ 873816 w 3070954"/>
              <a:gd name="connsiteY1065" fmla="*/ 1445925 h 3009544"/>
              <a:gd name="connsiteX1066" fmla="*/ 963576 w 3070954"/>
              <a:gd name="connsiteY1066" fmla="*/ 1452165 h 3009544"/>
              <a:gd name="connsiteX1067" fmla="*/ 1121336 w 3070954"/>
              <a:gd name="connsiteY1067" fmla="*/ 1454565 h 3009544"/>
              <a:gd name="connsiteX1068" fmla="*/ 1197497 w 3070954"/>
              <a:gd name="connsiteY1068" fmla="*/ 1451045 h 3009544"/>
              <a:gd name="connsiteX1069" fmla="*/ 1277816 w 3070954"/>
              <a:gd name="connsiteY1069" fmla="*/ 1438565 h 3009544"/>
              <a:gd name="connsiteX1070" fmla="*/ 1331736 w 3070954"/>
              <a:gd name="connsiteY1070" fmla="*/ 1421445 h 3009544"/>
              <a:gd name="connsiteX1071" fmla="*/ 1370456 w 3070954"/>
              <a:gd name="connsiteY1071" fmla="*/ 1397125 h 3009544"/>
              <a:gd name="connsiteX1072" fmla="*/ 1368057 w 3070954"/>
              <a:gd name="connsiteY1072" fmla="*/ 1399685 h 3009544"/>
              <a:gd name="connsiteX1073" fmla="*/ 1317496 w 3070954"/>
              <a:gd name="connsiteY1073" fmla="*/ 1439365 h 3009544"/>
              <a:gd name="connsiteX1074" fmla="*/ 1178296 w 3070954"/>
              <a:gd name="connsiteY1074" fmla="*/ 1484165 h 3009544"/>
              <a:gd name="connsiteX1075" fmla="*/ 1030937 w 3070954"/>
              <a:gd name="connsiteY1075" fmla="*/ 1510405 h 3009544"/>
              <a:gd name="connsiteX1076" fmla="*/ 872056 w 3070954"/>
              <a:gd name="connsiteY1076" fmla="*/ 1500965 h 3009544"/>
              <a:gd name="connsiteX1077" fmla="*/ 803256 w 3070954"/>
              <a:gd name="connsiteY1077" fmla="*/ 1498565 h 3009544"/>
              <a:gd name="connsiteX1078" fmla="*/ 727576 w 3070954"/>
              <a:gd name="connsiteY1078" fmla="*/ 1500645 h 3009544"/>
              <a:gd name="connsiteX1079" fmla="*/ 585176 w 3070954"/>
              <a:gd name="connsiteY1079" fmla="*/ 1481125 h 3009544"/>
              <a:gd name="connsiteX1080" fmla="*/ 437656 w 3070954"/>
              <a:gd name="connsiteY1080" fmla="*/ 1481285 h 3009544"/>
              <a:gd name="connsiteX1081" fmla="*/ 434457 w 3070954"/>
              <a:gd name="connsiteY1081" fmla="*/ 1481285 h 3009544"/>
              <a:gd name="connsiteX1082" fmla="*/ 458616 w 3070954"/>
              <a:gd name="connsiteY1082" fmla="*/ 1474885 h 3009544"/>
              <a:gd name="connsiteX1083" fmla="*/ 235896 w 3070954"/>
              <a:gd name="connsiteY1083" fmla="*/ 1563525 h 3009544"/>
              <a:gd name="connsiteX1084" fmla="*/ 306776 w 3070954"/>
              <a:gd name="connsiteY1084" fmla="*/ 1528165 h 3009544"/>
              <a:gd name="connsiteX1085" fmla="*/ 363736 w 3070954"/>
              <a:gd name="connsiteY1085" fmla="*/ 1502405 h 3009544"/>
              <a:gd name="connsiteX1086" fmla="*/ 367896 w 3070954"/>
              <a:gd name="connsiteY1086" fmla="*/ 1502565 h 3009544"/>
              <a:gd name="connsiteX1087" fmla="*/ 370296 w 3070954"/>
              <a:gd name="connsiteY1087" fmla="*/ 1499845 h 3009544"/>
              <a:gd name="connsiteX1088" fmla="*/ 374776 w 3070954"/>
              <a:gd name="connsiteY1088" fmla="*/ 1498085 h 3009544"/>
              <a:gd name="connsiteX1089" fmla="*/ 397977 w 3070954"/>
              <a:gd name="connsiteY1089" fmla="*/ 1490405 h 3009544"/>
              <a:gd name="connsiteX1090" fmla="*/ 417977 w 3070954"/>
              <a:gd name="connsiteY1090" fmla="*/ 1490725 h 3009544"/>
              <a:gd name="connsiteX1091" fmla="*/ 485336 w 3070954"/>
              <a:gd name="connsiteY1091" fmla="*/ 1492965 h 3009544"/>
              <a:gd name="connsiteX1092" fmla="*/ 558616 w 3070954"/>
              <a:gd name="connsiteY1092" fmla="*/ 1491045 h 3009544"/>
              <a:gd name="connsiteX1093" fmla="*/ 626776 w 3070954"/>
              <a:gd name="connsiteY1093" fmla="*/ 1499205 h 3009544"/>
              <a:gd name="connsiteX1094" fmla="*/ 694776 w 3070954"/>
              <a:gd name="connsiteY1094" fmla="*/ 1512485 h 3009544"/>
              <a:gd name="connsiteX1095" fmla="*/ 759896 w 3070954"/>
              <a:gd name="connsiteY1095" fmla="*/ 1514405 h 3009544"/>
              <a:gd name="connsiteX1096" fmla="*/ 904216 w 3070954"/>
              <a:gd name="connsiteY1096" fmla="*/ 1518405 h 3009544"/>
              <a:gd name="connsiteX1097" fmla="*/ 1046457 w 3070954"/>
              <a:gd name="connsiteY1097" fmla="*/ 1525925 h 3009544"/>
              <a:gd name="connsiteX1098" fmla="*/ 1187096 w 3070954"/>
              <a:gd name="connsiteY1098" fmla="*/ 1499205 h 3009544"/>
              <a:gd name="connsiteX1099" fmla="*/ 1314137 w 3070954"/>
              <a:gd name="connsiteY1099" fmla="*/ 1459845 h 3009544"/>
              <a:gd name="connsiteX1100" fmla="*/ 1362296 w 3070954"/>
              <a:gd name="connsiteY1100" fmla="*/ 1426725 h 3009544"/>
              <a:gd name="connsiteX1101" fmla="*/ 1383416 w 3070954"/>
              <a:gd name="connsiteY1101" fmla="*/ 1407845 h 3009544"/>
              <a:gd name="connsiteX1102" fmla="*/ 1397017 w 3070954"/>
              <a:gd name="connsiteY1102" fmla="*/ 1390405 h 3009544"/>
              <a:gd name="connsiteX1103" fmla="*/ 1420217 w 3070954"/>
              <a:gd name="connsiteY1103" fmla="*/ 1397445 h 3009544"/>
              <a:gd name="connsiteX1104" fmla="*/ 1401977 w 3070954"/>
              <a:gd name="connsiteY1104" fmla="*/ 1410085 h 3009544"/>
              <a:gd name="connsiteX1105" fmla="*/ 1374137 w 3070954"/>
              <a:gd name="connsiteY1105" fmla="*/ 1432965 h 3009544"/>
              <a:gd name="connsiteX1106" fmla="*/ 1347097 w 3070954"/>
              <a:gd name="connsiteY1106" fmla="*/ 1452485 h 3009544"/>
              <a:gd name="connsiteX1107" fmla="*/ 1311257 w 3070954"/>
              <a:gd name="connsiteY1107" fmla="*/ 1477925 h 3009544"/>
              <a:gd name="connsiteX1108" fmla="*/ 1247897 w 3070954"/>
              <a:gd name="connsiteY1108" fmla="*/ 1516805 h 3009544"/>
              <a:gd name="connsiteX1109" fmla="*/ 1174136 w 3070954"/>
              <a:gd name="connsiteY1109" fmla="*/ 1548325 h 3009544"/>
              <a:gd name="connsiteX1110" fmla="*/ 1012856 w 3070954"/>
              <a:gd name="connsiteY1110" fmla="*/ 1576325 h 3009544"/>
              <a:gd name="connsiteX1111" fmla="*/ 860856 w 3070954"/>
              <a:gd name="connsiteY1111" fmla="*/ 1582565 h 3009544"/>
              <a:gd name="connsiteX1112" fmla="*/ 698616 w 3070954"/>
              <a:gd name="connsiteY1112" fmla="*/ 1574245 h 3009544"/>
              <a:gd name="connsiteX1113" fmla="*/ 624536 w 3070954"/>
              <a:gd name="connsiteY1113" fmla="*/ 1565445 h 3009544"/>
              <a:gd name="connsiteX1114" fmla="*/ 540856 w 3070954"/>
              <a:gd name="connsiteY1114" fmla="*/ 1557605 h 3009544"/>
              <a:gd name="connsiteX1115" fmla="*/ 389017 w 3070954"/>
              <a:gd name="connsiteY1115" fmla="*/ 1544485 h 3009544"/>
              <a:gd name="connsiteX1116" fmla="*/ 311256 w 3070954"/>
              <a:gd name="connsiteY1116" fmla="*/ 1549605 h 3009544"/>
              <a:gd name="connsiteX1117" fmla="*/ 237656 w 3070954"/>
              <a:gd name="connsiteY1117" fmla="*/ 1567205 h 3009544"/>
              <a:gd name="connsiteX1118" fmla="*/ 227256 w 3070954"/>
              <a:gd name="connsiteY1118" fmla="*/ 1569605 h 3009544"/>
              <a:gd name="connsiteX1119" fmla="*/ 235896 w 3070954"/>
              <a:gd name="connsiteY1119" fmla="*/ 1563525 h 3009544"/>
              <a:gd name="connsiteX1120" fmla="*/ 139096 w 3070954"/>
              <a:gd name="connsiteY1120" fmla="*/ 1618405 h 3009544"/>
              <a:gd name="connsiteX1121" fmla="*/ 176376 w 3070954"/>
              <a:gd name="connsiteY1121" fmla="*/ 1599685 h 3009544"/>
              <a:gd name="connsiteX1122" fmla="*/ 213656 w 3070954"/>
              <a:gd name="connsiteY1122" fmla="*/ 1577605 h 3009544"/>
              <a:gd name="connsiteX1123" fmla="*/ 264376 w 3070954"/>
              <a:gd name="connsiteY1123" fmla="*/ 1568805 h 3009544"/>
              <a:gd name="connsiteX1124" fmla="*/ 344056 w 3070954"/>
              <a:gd name="connsiteY1124" fmla="*/ 1559845 h 3009544"/>
              <a:gd name="connsiteX1125" fmla="*/ 383576 w 3070954"/>
              <a:gd name="connsiteY1125" fmla="*/ 1556965 h 3009544"/>
              <a:gd name="connsiteX1126" fmla="*/ 426457 w 3070954"/>
              <a:gd name="connsiteY1126" fmla="*/ 1560005 h 3009544"/>
              <a:gd name="connsiteX1127" fmla="*/ 506616 w 3070954"/>
              <a:gd name="connsiteY1127" fmla="*/ 1568965 h 3009544"/>
              <a:gd name="connsiteX1128" fmla="*/ 664216 w 3070954"/>
              <a:gd name="connsiteY1128" fmla="*/ 1585285 h 3009544"/>
              <a:gd name="connsiteX1129" fmla="*/ 821816 w 3070954"/>
              <a:gd name="connsiteY1129" fmla="*/ 1599845 h 3009544"/>
              <a:gd name="connsiteX1130" fmla="*/ 973017 w 3070954"/>
              <a:gd name="connsiteY1130" fmla="*/ 1595845 h 3009544"/>
              <a:gd name="connsiteX1131" fmla="*/ 1133176 w 3070954"/>
              <a:gd name="connsiteY1131" fmla="*/ 1575045 h 3009544"/>
              <a:gd name="connsiteX1132" fmla="*/ 1270296 w 3070954"/>
              <a:gd name="connsiteY1132" fmla="*/ 1524325 h 3009544"/>
              <a:gd name="connsiteX1133" fmla="*/ 1329977 w 3070954"/>
              <a:gd name="connsiteY1133" fmla="*/ 1486725 h 3009544"/>
              <a:gd name="connsiteX1134" fmla="*/ 1367416 w 3070954"/>
              <a:gd name="connsiteY1134" fmla="*/ 1460005 h 3009544"/>
              <a:gd name="connsiteX1135" fmla="*/ 1314296 w 3070954"/>
              <a:gd name="connsiteY1135" fmla="*/ 1506245 h 3009544"/>
              <a:gd name="connsiteX1136" fmla="*/ 1279257 w 3070954"/>
              <a:gd name="connsiteY1136" fmla="*/ 1530405 h 3009544"/>
              <a:gd name="connsiteX1137" fmla="*/ 1246137 w 3070954"/>
              <a:gd name="connsiteY1137" fmla="*/ 1547045 h 3009544"/>
              <a:gd name="connsiteX1138" fmla="*/ 1167417 w 3070954"/>
              <a:gd name="connsiteY1138" fmla="*/ 1574085 h 3009544"/>
              <a:gd name="connsiteX1139" fmla="*/ 1089336 w 3070954"/>
              <a:gd name="connsiteY1139" fmla="*/ 1591685 h 3009544"/>
              <a:gd name="connsiteX1140" fmla="*/ 1005816 w 3070954"/>
              <a:gd name="connsiteY1140" fmla="*/ 1609925 h 3009544"/>
              <a:gd name="connsiteX1141" fmla="*/ 851096 w 3070954"/>
              <a:gd name="connsiteY1141" fmla="*/ 1636005 h 3009544"/>
              <a:gd name="connsiteX1142" fmla="*/ 702457 w 3070954"/>
              <a:gd name="connsiteY1142" fmla="*/ 1644645 h 3009544"/>
              <a:gd name="connsiteX1143" fmla="*/ 634457 w 3070954"/>
              <a:gd name="connsiteY1143" fmla="*/ 1649605 h 3009544"/>
              <a:gd name="connsiteX1144" fmla="*/ 549017 w 3070954"/>
              <a:gd name="connsiteY1144" fmla="*/ 1640165 h 3009544"/>
              <a:gd name="connsiteX1145" fmla="*/ 389656 w 3070954"/>
              <a:gd name="connsiteY1145" fmla="*/ 1632645 h 3009544"/>
              <a:gd name="connsiteX1146" fmla="*/ 312696 w 3070954"/>
              <a:gd name="connsiteY1146" fmla="*/ 1626725 h 3009544"/>
              <a:gd name="connsiteX1147" fmla="*/ 241497 w 3070954"/>
              <a:gd name="connsiteY1147" fmla="*/ 1622405 h 3009544"/>
              <a:gd name="connsiteX1148" fmla="*/ 187096 w 3070954"/>
              <a:gd name="connsiteY1148" fmla="*/ 1621125 h 3009544"/>
              <a:gd name="connsiteX1149" fmla="*/ 123256 w 3070954"/>
              <a:gd name="connsiteY1149" fmla="*/ 1630725 h 3009544"/>
              <a:gd name="connsiteX1150" fmla="*/ 118457 w 3070954"/>
              <a:gd name="connsiteY1150" fmla="*/ 1632485 h 3009544"/>
              <a:gd name="connsiteX1151" fmla="*/ 139096 w 3070954"/>
              <a:gd name="connsiteY1151" fmla="*/ 1618405 h 3009544"/>
              <a:gd name="connsiteX1152" fmla="*/ 149176 w 3070954"/>
              <a:gd name="connsiteY1152" fmla="*/ 1718725 h 3009544"/>
              <a:gd name="connsiteX1153" fmla="*/ 102776 w 3070954"/>
              <a:gd name="connsiteY1153" fmla="*/ 1714885 h 3009544"/>
              <a:gd name="connsiteX1154" fmla="*/ 38457 w 3070954"/>
              <a:gd name="connsiteY1154" fmla="*/ 1715685 h 3009544"/>
              <a:gd name="connsiteX1155" fmla="*/ 77656 w 3070954"/>
              <a:gd name="connsiteY1155" fmla="*/ 1678245 h 3009544"/>
              <a:gd name="connsiteX1156" fmla="*/ 97497 w 3070954"/>
              <a:gd name="connsiteY1156" fmla="*/ 1654565 h 3009544"/>
              <a:gd name="connsiteX1157" fmla="*/ 97497 w 3070954"/>
              <a:gd name="connsiteY1157" fmla="*/ 1654565 h 3009544"/>
              <a:gd name="connsiteX1158" fmla="*/ 133017 w 3070954"/>
              <a:gd name="connsiteY1158" fmla="*/ 1640805 h 3009544"/>
              <a:gd name="connsiteX1159" fmla="*/ 202616 w 3070954"/>
              <a:gd name="connsiteY1159" fmla="*/ 1635685 h 3009544"/>
              <a:gd name="connsiteX1160" fmla="*/ 342776 w 3070954"/>
              <a:gd name="connsiteY1160" fmla="*/ 1646405 h 3009544"/>
              <a:gd name="connsiteX1161" fmla="*/ 421176 w 3070954"/>
              <a:gd name="connsiteY1161" fmla="*/ 1648805 h 3009544"/>
              <a:gd name="connsiteX1162" fmla="*/ 504536 w 3070954"/>
              <a:gd name="connsiteY1162" fmla="*/ 1652805 h 3009544"/>
              <a:gd name="connsiteX1163" fmla="*/ 578457 w 3070954"/>
              <a:gd name="connsiteY1163" fmla="*/ 1658565 h 3009544"/>
              <a:gd name="connsiteX1164" fmla="*/ 657656 w 3070954"/>
              <a:gd name="connsiteY1164" fmla="*/ 1665605 h 3009544"/>
              <a:gd name="connsiteX1165" fmla="*/ 725017 w 3070954"/>
              <a:gd name="connsiteY1165" fmla="*/ 1660965 h 3009544"/>
              <a:gd name="connsiteX1166" fmla="*/ 796536 w 3070954"/>
              <a:gd name="connsiteY1166" fmla="*/ 1658565 h 3009544"/>
              <a:gd name="connsiteX1167" fmla="*/ 952856 w 3070954"/>
              <a:gd name="connsiteY1167" fmla="*/ 1636805 h 3009544"/>
              <a:gd name="connsiteX1168" fmla="*/ 1112056 w 3070954"/>
              <a:gd name="connsiteY1168" fmla="*/ 1604645 h 3009544"/>
              <a:gd name="connsiteX1169" fmla="*/ 1258937 w 3070954"/>
              <a:gd name="connsiteY1169" fmla="*/ 1560485 h 3009544"/>
              <a:gd name="connsiteX1170" fmla="*/ 1361496 w 3070954"/>
              <a:gd name="connsiteY1170" fmla="*/ 1491685 h 3009544"/>
              <a:gd name="connsiteX1171" fmla="*/ 1401496 w 3070954"/>
              <a:gd name="connsiteY1171" fmla="*/ 1448325 h 3009544"/>
              <a:gd name="connsiteX1172" fmla="*/ 1437496 w 3070954"/>
              <a:gd name="connsiteY1172" fmla="*/ 1401925 h 3009544"/>
              <a:gd name="connsiteX1173" fmla="*/ 1441336 w 3070954"/>
              <a:gd name="connsiteY1173" fmla="*/ 1402725 h 3009544"/>
              <a:gd name="connsiteX1174" fmla="*/ 1427897 w 3070954"/>
              <a:gd name="connsiteY1174" fmla="*/ 1430245 h 3009544"/>
              <a:gd name="connsiteX1175" fmla="*/ 1408057 w 3070954"/>
              <a:gd name="connsiteY1175" fmla="*/ 1450885 h 3009544"/>
              <a:gd name="connsiteX1176" fmla="*/ 1353017 w 3070954"/>
              <a:gd name="connsiteY1176" fmla="*/ 1503205 h 3009544"/>
              <a:gd name="connsiteX1177" fmla="*/ 1228536 w 3070954"/>
              <a:gd name="connsiteY1177" fmla="*/ 1593605 h 3009544"/>
              <a:gd name="connsiteX1178" fmla="*/ 1080376 w 3070954"/>
              <a:gd name="connsiteY1178" fmla="*/ 1668005 h 3009544"/>
              <a:gd name="connsiteX1179" fmla="*/ 1003096 w 3070954"/>
              <a:gd name="connsiteY1179" fmla="*/ 1687525 h 3009544"/>
              <a:gd name="connsiteX1180" fmla="*/ 920056 w 3070954"/>
              <a:gd name="connsiteY1180" fmla="*/ 1707205 h 3009544"/>
              <a:gd name="connsiteX1181" fmla="*/ 765656 w 3070954"/>
              <a:gd name="connsiteY1181" fmla="*/ 1722085 h 3009544"/>
              <a:gd name="connsiteX1182" fmla="*/ 693656 w 3070954"/>
              <a:gd name="connsiteY1182" fmla="*/ 1719365 h 3009544"/>
              <a:gd name="connsiteX1183" fmla="*/ 608856 w 3070954"/>
              <a:gd name="connsiteY1183" fmla="*/ 1719845 h 3009544"/>
              <a:gd name="connsiteX1184" fmla="*/ 533656 w 3070954"/>
              <a:gd name="connsiteY1184" fmla="*/ 1723365 h 3009544"/>
              <a:gd name="connsiteX1185" fmla="*/ 438616 w 3070954"/>
              <a:gd name="connsiteY1185" fmla="*/ 1724005 h 3009544"/>
              <a:gd name="connsiteX1186" fmla="*/ 272856 w 3070954"/>
              <a:gd name="connsiteY1186" fmla="*/ 1712805 h 3009544"/>
              <a:gd name="connsiteX1187" fmla="*/ 197977 w 3070954"/>
              <a:gd name="connsiteY1187" fmla="*/ 1716165 h 3009544"/>
              <a:gd name="connsiteX1188" fmla="*/ 167256 w 3070954"/>
              <a:gd name="connsiteY1188" fmla="*/ 1722245 h 3009544"/>
              <a:gd name="connsiteX1189" fmla="*/ 149176 w 3070954"/>
              <a:gd name="connsiteY1189" fmla="*/ 1718725 h 3009544"/>
              <a:gd name="connsiteX1190" fmla="*/ 965497 w 3070954"/>
              <a:gd name="connsiteY1190" fmla="*/ 1793765 h 3009544"/>
              <a:gd name="connsiteX1191" fmla="*/ 894136 w 3070954"/>
              <a:gd name="connsiteY1191" fmla="*/ 1813285 h 3009544"/>
              <a:gd name="connsiteX1192" fmla="*/ 816696 w 3070954"/>
              <a:gd name="connsiteY1192" fmla="*/ 1824485 h 3009544"/>
              <a:gd name="connsiteX1193" fmla="*/ 731736 w 3070954"/>
              <a:gd name="connsiteY1193" fmla="*/ 1832325 h 3009544"/>
              <a:gd name="connsiteX1194" fmla="*/ 570457 w 3070954"/>
              <a:gd name="connsiteY1194" fmla="*/ 1816165 h 3009544"/>
              <a:gd name="connsiteX1195" fmla="*/ 495256 w 3070954"/>
              <a:gd name="connsiteY1195" fmla="*/ 1800965 h 3009544"/>
              <a:gd name="connsiteX1196" fmla="*/ 413017 w 3070954"/>
              <a:gd name="connsiteY1196" fmla="*/ 1784965 h 3009544"/>
              <a:gd name="connsiteX1197" fmla="*/ 192056 w 3070954"/>
              <a:gd name="connsiteY1197" fmla="*/ 1729765 h 3009544"/>
              <a:gd name="connsiteX1198" fmla="*/ 210776 w 3070954"/>
              <a:gd name="connsiteY1198" fmla="*/ 1725925 h 3009544"/>
              <a:gd name="connsiteX1199" fmla="*/ 258136 w 3070954"/>
              <a:gd name="connsiteY1199" fmla="*/ 1726085 h 3009544"/>
              <a:gd name="connsiteX1200" fmla="*/ 422776 w 3070954"/>
              <a:gd name="connsiteY1200" fmla="*/ 1738565 h 3009544"/>
              <a:gd name="connsiteX1201" fmla="*/ 589017 w 3070954"/>
              <a:gd name="connsiteY1201" fmla="*/ 1736005 h 3009544"/>
              <a:gd name="connsiteX1202" fmla="*/ 751416 w 3070954"/>
              <a:gd name="connsiteY1202" fmla="*/ 1738885 h 3009544"/>
              <a:gd name="connsiteX1203" fmla="*/ 820056 w 3070954"/>
              <a:gd name="connsiteY1203" fmla="*/ 1738085 h 3009544"/>
              <a:gd name="connsiteX1204" fmla="*/ 898616 w 3070954"/>
              <a:gd name="connsiteY1204" fmla="*/ 1729445 h 3009544"/>
              <a:gd name="connsiteX1205" fmla="*/ 973497 w 3070954"/>
              <a:gd name="connsiteY1205" fmla="*/ 1712965 h 3009544"/>
              <a:gd name="connsiteX1206" fmla="*/ 1055417 w 3070954"/>
              <a:gd name="connsiteY1206" fmla="*/ 1695525 h 3009544"/>
              <a:gd name="connsiteX1207" fmla="*/ 1323257 w 3070954"/>
              <a:gd name="connsiteY1207" fmla="*/ 1548805 h 3009544"/>
              <a:gd name="connsiteX1208" fmla="*/ 1405816 w 3070954"/>
              <a:gd name="connsiteY1208" fmla="*/ 1476165 h 3009544"/>
              <a:gd name="connsiteX1209" fmla="*/ 1443257 w 3070954"/>
              <a:gd name="connsiteY1209" fmla="*/ 1439045 h 3009544"/>
              <a:gd name="connsiteX1210" fmla="*/ 1457177 w 3070954"/>
              <a:gd name="connsiteY1210" fmla="*/ 1406565 h 3009544"/>
              <a:gd name="connsiteX1211" fmla="*/ 1461656 w 3070954"/>
              <a:gd name="connsiteY1211" fmla="*/ 1407525 h 3009544"/>
              <a:gd name="connsiteX1212" fmla="*/ 1432536 w 3070954"/>
              <a:gd name="connsiteY1212" fmla="*/ 1463205 h 3009544"/>
              <a:gd name="connsiteX1213" fmla="*/ 1392376 w 3070954"/>
              <a:gd name="connsiteY1213" fmla="*/ 1518565 h 3009544"/>
              <a:gd name="connsiteX1214" fmla="*/ 1339576 w 3070954"/>
              <a:gd name="connsiteY1214" fmla="*/ 1578885 h 3009544"/>
              <a:gd name="connsiteX1215" fmla="*/ 1285816 w 3070954"/>
              <a:gd name="connsiteY1215" fmla="*/ 1627045 h 3009544"/>
              <a:gd name="connsiteX1216" fmla="*/ 1234296 w 3070954"/>
              <a:gd name="connsiteY1216" fmla="*/ 1670085 h 3009544"/>
              <a:gd name="connsiteX1217" fmla="*/ 1177336 w 3070954"/>
              <a:gd name="connsiteY1217" fmla="*/ 1706565 h 3009544"/>
              <a:gd name="connsiteX1218" fmla="*/ 1146776 w 3070954"/>
              <a:gd name="connsiteY1218" fmla="*/ 1726405 h 3009544"/>
              <a:gd name="connsiteX1219" fmla="*/ 1115736 w 3070954"/>
              <a:gd name="connsiteY1219" fmla="*/ 1742725 h 3009544"/>
              <a:gd name="connsiteX1220" fmla="*/ 1083897 w 3070954"/>
              <a:gd name="connsiteY1220" fmla="*/ 1763205 h 3009544"/>
              <a:gd name="connsiteX1221" fmla="*/ 1067096 w 3070954"/>
              <a:gd name="connsiteY1221" fmla="*/ 1770085 h 3009544"/>
              <a:gd name="connsiteX1222" fmla="*/ 1065176 w 3070954"/>
              <a:gd name="connsiteY1222" fmla="*/ 1771365 h 3009544"/>
              <a:gd name="connsiteX1223" fmla="*/ 1031096 w 3070954"/>
              <a:gd name="connsiteY1223" fmla="*/ 1779845 h 3009544"/>
              <a:gd name="connsiteX1224" fmla="*/ 965497 w 3070954"/>
              <a:gd name="connsiteY1224" fmla="*/ 1793765 h 3009544"/>
              <a:gd name="connsiteX1225" fmla="*/ 1243257 w 3070954"/>
              <a:gd name="connsiteY1225" fmla="*/ 1699205 h 3009544"/>
              <a:gd name="connsiteX1226" fmla="*/ 1178296 w 3070954"/>
              <a:gd name="connsiteY1226" fmla="*/ 1733445 h 3009544"/>
              <a:gd name="connsiteX1227" fmla="*/ 1144856 w 3070954"/>
              <a:gd name="connsiteY1227" fmla="*/ 1747365 h 3009544"/>
              <a:gd name="connsiteX1228" fmla="*/ 1121977 w 3070954"/>
              <a:gd name="connsiteY1228" fmla="*/ 1752165 h 3009544"/>
              <a:gd name="connsiteX1229" fmla="*/ 1135897 w 3070954"/>
              <a:gd name="connsiteY1229" fmla="*/ 1744645 h 3009544"/>
              <a:gd name="connsiteX1230" fmla="*/ 1168536 w 3070954"/>
              <a:gd name="connsiteY1230" fmla="*/ 1728485 h 3009544"/>
              <a:gd name="connsiteX1231" fmla="*/ 1290137 w 3070954"/>
              <a:gd name="connsiteY1231" fmla="*/ 1641765 h 3009544"/>
              <a:gd name="connsiteX1232" fmla="*/ 1348217 w 3070954"/>
              <a:gd name="connsiteY1232" fmla="*/ 1589925 h 3009544"/>
              <a:gd name="connsiteX1233" fmla="*/ 1401656 w 3070954"/>
              <a:gd name="connsiteY1233" fmla="*/ 1532325 h 3009544"/>
              <a:gd name="connsiteX1234" fmla="*/ 1447576 w 3070954"/>
              <a:gd name="connsiteY1234" fmla="*/ 1466725 h 3009544"/>
              <a:gd name="connsiteX1235" fmla="*/ 1464217 w 3070954"/>
              <a:gd name="connsiteY1235" fmla="*/ 1435205 h 3009544"/>
              <a:gd name="connsiteX1236" fmla="*/ 1476217 w 3070954"/>
              <a:gd name="connsiteY1236" fmla="*/ 1409925 h 3009544"/>
              <a:gd name="connsiteX1237" fmla="*/ 1478456 w 3070954"/>
              <a:gd name="connsiteY1237" fmla="*/ 1410405 h 3009544"/>
              <a:gd name="connsiteX1238" fmla="*/ 1471736 w 3070954"/>
              <a:gd name="connsiteY1238" fmla="*/ 1437925 h 3009544"/>
              <a:gd name="connsiteX1239" fmla="*/ 1465496 w 3070954"/>
              <a:gd name="connsiteY1239" fmla="*/ 1449765 h 3009544"/>
              <a:gd name="connsiteX1240" fmla="*/ 1461816 w 3070954"/>
              <a:gd name="connsiteY1240" fmla="*/ 1461925 h 3009544"/>
              <a:gd name="connsiteX1241" fmla="*/ 1453496 w 3070954"/>
              <a:gd name="connsiteY1241" fmla="*/ 1482405 h 3009544"/>
              <a:gd name="connsiteX1242" fmla="*/ 1436376 w 3070954"/>
              <a:gd name="connsiteY1242" fmla="*/ 1509445 h 3009544"/>
              <a:gd name="connsiteX1243" fmla="*/ 1392696 w 3070954"/>
              <a:gd name="connsiteY1243" fmla="*/ 1566245 h 3009544"/>
              <a:gd name="connsiteX1244" fmla="*/ 1346456 w 3070954"/>
              <a:gd name="connsiteY1244" fmla="*/ 1628805 h 3009544"/>
              <a:gd name="connsiteX1245" fmla="*/ 1327736 w 3070954"/>
              <a:gd name="connsiteY1245" fmla="*/ 1650565 h 3009544"/>
              <a:gd name="connsiteX1246" fmla="*/ 1317496 w 3070954"/>
              <a:gd name="connsiteY1246" fmla="*/ 1657605 h 3009544"/>
              <a:gd name="connsiteX1247" fmla="*/ 1293017 w 3070954"/>
              <a:gd name="connsiteY1247" fmla="*/ 1669925 h 3009544"/>
              <a:gd name="connsiteX1248" fmla="*/ 1287257 w 3070954"/>
              <a:gd name="connsiteY1248" fmla="*/ 1673125 h 3009544"/>
              <a:gd name="connsiteX1249" fmla="*/ 1288057 w 3070954"/>
              <a:gd name="connsiteY1249" fmla="*/ 1671845 h 3009544"/>
              <a:gd name="connsiteX1250" fmla="*/ 1243257 w 3070954"/>
              <a:gd name="connsiteY1250" fmla="*/ 1699205 h 3009544"/>
              <a:gd name="connsiteX1251" fmla="*/ 1051897 w 3070954"/>
              <a:gd name="connsiteY1251" fmla="*/ 2316325 h 3009544"/>
              <a:gd name="connsiteX1252" fmla="*/ 1048696 w 3070954"/>
              <a:gd name="connsiteY1252" fmla="*/ 2329445 h 3009544"/>
              <a:gd name="connsiteX1253" fmla="*/ 1044376 w 3070954"/>
              <a:gd name="connsiteY1253" fmla="*/ 2305925 h 3009544"/>
              <a:gd name="connsiteX1254" fmla="*/ 1065656 w 3070954"/>
              <a:gd name="connsiteY1254" fmla="*/ 2164485 h 3009544"/>
              <a:gd name="connsiteX1255" fmla="*/ 1111576 w 3070954"/>
              <a:gd name="connsiteY1255" fmla="*/ 2029605 h 3009544"/>
              <a:gd name="connsiteX1256" fmla="*/ 1181336 w 3070954"/>
              <a:gd name="connsiteY1256" fmla="*/ 1894565 h 3009544"/>
              <a:gd name="connsiteX1257" fmla="*/ 1217977 w 3070954"/>
              <a:gd name="connsiteY1257" fmla="*/ 1836645 h 3009544"/>
              <a:gd name="connsiteX1258" fmla="*/ 1249496 w 3070954"/>
              <a:gd name="connsiteY1258" fmla="*/ 1781605 h 3009544"/>
              <a:gd name="connsiteX1259" fmla="*/ 1340217 w 3070954"/>
              <a:gd name="connsiteY1259" fmla="*/ 1679365 h 3009544"/>
              <a:gd name="connsiteX1260" fmla="*/ 1425977 w 3070954"/>
              <a:gd name="connsiteY1260" fmla="*/ 1566885 h 3009544"/>
              <a:gd name="connsiteX1261" fmla="*/ 1482137 w 3070954"/>
              <a:gd name="connsiteY1261" fmla="*/ 1477285 h 3009544"/>
              <a:gd name="connsiteX1262" fmla="*/ 1492217 w 3070954"/>
              <a:gd name="connsiteY1262" fmla="*/ 1451525 h 3009544"/>
              <a:gd name="connsiteX1263" fmla="*/ 1492696 w 3070954"/>
              <a:gd name="connsiteY1263" fmla="*/ 1450565 h 3009544"/>
              <a:gd name="connsiteX1264" fmla="*/ 1497017 w 3070954"/>
              <a:gd name="connsiteY1264" fmla="*/ 1443205 h 3009544"/>
              <a:gd name="connsiteX1265" fmla="*/ 1498616 w 3070954"/>
              <a:gd name="connsiteY1265" fmla="*/ 1440165 h 3009544"/>
              <a:gd name="connsiteX1266" fmla="*/ 1500536 w 3070954"/>
              <a:gd name="connsiteY1266" fmla="*/ 1440645 h 3009544"/>
              <a:gd name="connsiteX1267" fmla="*/ 1502296 w 3070954"/>
              <a:gd name="connsiteY1267" fmla="*/ 1433445 h 3009544"/>
              <a:gd name="connsiteX1268" fmla="*/ 1506137 w 3070954"/>
              <a:gd name="connsiteY1268" fmla="*/ 1424325 h 3009544"/>
              <a:gd name="connsiteX1269" fmla="*/ 1513496 w 3070954"/>
              <a:gd name="connsiteY1269" fmla="*/ 1420485 h 3009544"/>
              <a:gd name="connsiteX1270" fmla="*/ 1513816 w 3070954"/>
              <a:gd name="connsiteY1270" fmla="*/ 1418085 h 3009544"/>
              <a:gd name="connsiteX1271" fmla="*/ 1513816 w 3070954"/>
              <a:gd name="connsiteY1271" fmla="*/ 1415845 h 3009544"/>
              <a:gd name="connsiteX1272" fmla="*/ 1565336 w 3070954"/>
              <a:gd name="connsiteY1272" fmla="*/ 1425925 h 3009544"/>
              <a:gd name="connsiteX1273" fmla="*/ 1538296 w 3070954"/>
              <a:gd name="connsiteY1273" fmla="*/ 1447045 h 3009544"/>
              <a:gd name="connsiteX1274" fmla="*/ 1504217 w 3070954"/>
              <a:gd name="connsiteY1274" fmla="*/ 1518405 h 3009544"/>
              <a:gd name="connsiteX1275" fmla="*/ 1436376 w 3070954"/>
              <a:gd name="connsiteY1275" fmla="*/ 1676965 h 3009544"/>
              <a:gd name="connsiteX1276" fmla="*/ 1355257 w 3070954"/>
              <a:gd name="connsiteY1276" fmla="*/ 1810085 h 3009544"/>
              <a:gd name="connsiteX1277" fmla="*/ 1307097 w 3070954"/>
              <a:gd name="connsiteY1277" fmla="*/ 1870725 h 3009544"/>
              <a:gd name="connsiteX1278" fmla="*/ 1262137 w 3070954"/>
              <a:gd name="connsiteY1278" fmla="*/ 1927525 h 3009544"/>
              <a:gd name="connsiteX1279" fmla="*/ 1229017 w 3070954"/>
              <a:gd name="connsiteY1279" fmla="*/ 1981925 h 3009544"/>
              <a:gd name="connsiteX1280" fmla="*/ 1186457 w 3070954"/>
              <a:gd name="connsiteY1280" fmla="*/ 2051525 h 3009544"/>
              <a:gd name="connsiteX1281" fmla="*/ 1150136 w 3070954"/>
              <a:gd name="connsiteY1281" fmla="*/ 2115365 h 3009544"/>
              <a:gd name="connsiteX1282" fmla="*/ 1113336 w 3070954"/>
              <a:gd name="connsiteY1282" fmla="*/ 2180805 h 3009544"/>
              <a:gd name="connsiteX1283" fmla="*/ 1093497 w 3070954"/>
              <a:gd name="connsiteY1283" fmla="*/ 2211045 h 3009544"/>
              <a:gd name="connsiteX1284" fmla="*/ 1078296 w 3070954"/>
              <a:gd name="connsiteY1284" fmla="*/ 2242725 h 3009544"/>
              <a:gd name="connsiteX1285" fmla="*/ 1051897 w 3070954"/>
              <a:gd name="connsiteY1285" fmla="*/ 2316325 h 3009544"/>
              <a:gd name="connsiteX1286" fmla="*/ 1065977 w 3070954"/>
              <a:gd name="connsiteY1286" fmla="*/ 2408805 h 3009544"/>
              <a:gd name="connsiteX1287" fmla="*/ 1058296 w 3070954"/>
              <a:gd name="connsiteY1287" fmla="*/ 2408805 h 3009544"/>
              <a:gd name="connsiteX1288" fmla="*/ 1062457 w 3070954"/>
              <a:gd name="connsiteY1288" fmla="*/ 2391685 h 3009544"/>
              <a:gd name="connsiteX1289" fmla="*/ 1058616 w 3070954"/>
              <a:gd name="connsiteY1289" fmla="*/ 2362405 h 3009544"/>
              <a:gd name="connsiteX1290" fmla="*/ 1057497 w 3070954"/>
              <a:gd name="connsiteY1290" fmla="*/ 2359045 h 3009544"/>
              <a:gd name="connsiteX1291" fmla="*/ 1060376 w 3070954"/>
              <a:gd name="connsiteY1291" fmla="*/ 2344165 h 3009544"/>
              <a:gd name="connsiteX1292" fmla="*/ 1079736 w 3070954"/>
              <a:gd name="connsiteY1292" fmla="*/ 2272965 h 3009544"/>
              <a:gd name="connsiteX1293" fmla="*/ 1139736 w 3070954"/>
              <a:gd name="connsiteY1293" fmla="*/ 2160165 h 3009544"/>
              <a:gd name="connsiteX1294" fmla="*/ 1173176 w 3070954"/>
              <a:gd name="connsiteY1294" fmla="*/ 2103365 h 3009544"/>
              <a:gd name="connsiteX1295" fmla="*/ 1212696 w 3070954"/>
              <a:gd name="connsiteY1295" fmla="*/ 2039685 h 3009544"/>
              <a:gd name="connsiteX1296" fmla="*/ 1227576 w 3070954"/>
              <a:gd name="connsiteY1296" fmla="*/ 2011525 h 3009544"/>
              <a:gd name="connsiteX1297" fmla="*/ 1244217 w 3070954"/>
              <a:gd name="connsiteY1297" fmla="*/ 1982085 h 3009544"/>
              <a:gd name="connsiteX1298" fmla="*/ 1282937 w 3070954"/>
              <a:gd name="connsiteY1298" fmla="*/ 1923045 h 3009544"/>
              <a:gd name="connsiteX1299" fmla="*/ 1441017 w 3070954"/>
              <a:gd name="connsiteY1299" fmla="*/ 1700645 h 3009544"/>
              <a:gd name="connsiteX1300" fmla="*/ 1499736 w 3070954"/>
              <a:gd name="connsiteY1300" fmla="*/ 1561445 h 3009544"/>
              <a:gd name="connsiteX1301" fmla="*/ 1529496 w 3070954"/>
              <a:gd name="connsiteY1301" fmla="*/ 1491525 h 3009544"/>
              <a:gd name="connsiteX1302" fmla="*/ 1572217 w 3070954"/>
              <a:gd name="connsiteY1302" fmla="*/ 1431685 h 3009544"/>
              <a:gd name="connsiteX1303" fmla="*/ 1575097 w 3070954"/>
              <a:gd name="connsiteY1303" fmla="*/ 1427685 h 3009544"/>
              <a:gd name="connsiteX1304" fmla="*/ 1580376 w 3070954"/>
              <a:gd name="connsiteY1304" fmla="*/ 1428645 h 3009544"/>
              <a:gd name="connsiteX1305" fmla="*/ 1571257 w 3070954"/>
              <a:gd name="connsiteY1305" fmla="*/ 1561445 h 3009544"/>
              <a:gd name="connsiteX1306" fmla="*/ 1520536 w 3070954"/>
              <a:gd name="connsiteY1306" fmla="*/ 1704325 h 3009544"/>
              <a:gd name="connsiteX1307" fmla="*/ 1363897 w 3070954"/>
              <a:gd name="connsiteY1307" fmla="*/ 1935045 h 3009544"/>
              <a:gd name="connsiteX1308" fmla="*/ 1323097 w 3070954"/>
              <a:gd name="connsiteY1308" fmla="*/ 1992005 h 3009544"/>
              <a:gd name="connsiteX1309" fmla="*/ 1282456 w 3070954"/>
              <a:gd name="connsiteY1309" fmla="*/ 2052645 h 3009544"/>
              <a:gd name="connsiteX1310" fmla="*/ 1204696 w 3070954"/>
              <a:gd name="connsiteY1310" fmla="*/ 2176325 h 3009544"/>
              <a:gd name="connsiteX1311" fmla="*/ 1126136 w 3070954"/>
              <a:gd name="connsiteY1311" fmla="*/ 2305765 h 3009544"/>
              <a:gd name="connsiteX1312" fmla="*/ 1091897 w 3070954"/>
              <a:gd name="connsiteY1312" fmla="*/ 2364325 h 3009544"/>
              <a:gd name="connsiteX1313" fmla="*/ 1069816 w 3070954"/>
              <a:gd name="connsiteY1313" fmla="*/ 2401765 h 3009544"/>
              <a:gd name="connsiteX1314" fmla="*/ 1065977 w 3070954"/>
              <a:gd name="connsiteY1314" fmla="*/ 2408805 h 3009544"/>
              <a:gd name="connsiteX1315" fmla="*/ 1122616 w 3070954"/>
              <a:gd name="connsiteY1315" fmla="*/ 2402885 h 3009544"/>
              <a:gd name="connsiteX1316" fmla="*/ 1084376 w 3070954"/>
              <a:gd name="connsiteY1316" fmla="*/ 2407685 h 3009544"/>
              <a:gd name="connsiteX1317" fmla="*/ 1085176 w 3070954"/>
              <a:gd name="connsiteY1317" fmla="*/ 2406405 h 3009544"/>
              <a:gd name="connsiteX1318" fmla="*/ 1122457 w 3070954"/>
              <a:gd name="connsiteY1318" fmla="*/ 2340645 h 3009544"/>
              <a:gd name="connsiteX1319" fmla="*/ 1164696 w 3070954"/>
              <a:gd name="connsiteY1319" fmla="*/ 2276165 h 3009544"/>
              <a:gd name="connsiteX1320" fmla="*/ 1205656 w 3070954"/>
              <a:gd name="connsiteY1320" fmla="*/ 2203045 h 3009544"/>
              <a:gd name="connsiteX1321" fmla="*/ 1246937 w 3070954"/>
              <a:gd name="connsiteY1321" fmla="*/ 2142725 h 3009544"/>
              <a:gd name="connsiteX1322" fmla="*/ 1287416 w 3070954"/>
              <a:gd name="connsiteY1322" fmla="*/ 2074245 h 3009544"/>
              <a:gd name="connsiteX1323" fmla="*/ 1331897 w 3070954"/>
              <a:gd name="connsiteY1323" fmla="*/ 2007365 h 3009544"/>
              <a:gd name="connsiteX1324" fmla="*/ 1379257 w 3070954"/>
              <a:gd name="connsiteY1324" fmla="*/ 1940005 h 3009544"/>
              <a:gd name="connsiteX1325" fmla="*/ 1464057 w 3070954"/>
              <a:gd name="connsiteY1325" fmla="*/ 1825925 h 3009544"/>
              <a:gd name="connsiteX1326" fmla="*/ 1539257 w 3070954"/>
              <a:gd name="connsiteY1326" fmla="*/ 1698565 h 3009544"/>
              <a:gd name="connsiteX1327" fmla="*/ 1587576 w 3070954"/>
              <a:gd name="connsiteY1327" fmla="*/ 1552645 h 3009544"/>
              <a:gd name="connsiteX1328" fmla="*/ 1596856 w 3070954"/>
              <a:gd name="connsiteY1328" fmla="*/ 1474085 h 3009544"/>
              <a:gd name="connsiteX1329" fmla="*/ 1590616 w 3070954"/>
              <a:gd name="connsiteY1329" fmla="*/ 1431045 h 3009544"/>
              <a:gd name="connsiteX1330" fmla="*/ 1594137 w 3070954"/>
              <a:gd name="connsiteY1330" fmla="*/ 1431685 h 3009544"/>
              <a:gd name="connsiteX1331" fmla="*/ 1641816 w 3070954"/>
              <a:gd name="connsiteY1331" fmla="*/ 1439205 h 3009544"/>
              <a:gd name="connsiteX1332" fmla="*/ 1645336 w 3070954"/>
              <a:gd name="connsiteY1332" fmla="*/ 1457925 h 3009544"/>
              <a:gd name="connsiteX1333" fmla="*/ 1651897 w 3070954"/>
              <a:gd name="connsiteY1333" fmla="*/ 1495365 h 3009544"/>
              <a:gd name="connsiteX1334" fmla="*/ 1660856 w 3070954"/>
              <a:gd name="connsiteY1334" fmla="*/ 1571045 h 3009544"/>
              <a:gd name="connsiteX1335" fmla="*/ 1643576 w 3070954"/>
              <a:gd name="connsiteY1335" fmla="*/ 1724645 h 3009544"/>
              <a:gd name="connsiteX1336" fmla="*/ 1609177 w 3070954"/>
              <a:gd name="connsiteY1336" fmla="*/ 1796005 h 3009544"/>
              <a:gd name="connsiteX1337" fmla="*/ 1593177 w 3070954"/>
              <a:gd name="connsiteY1337" fmla="*/ 1832965 h 3009544"/>
              <a:gd name="connsiteX1338" fmla="*/ 1574137 w 3070954"/>
              <a:gd name="connsiteY1338" fmla="*/ 1869285 h 3009544"/>
              <a:gd name="connsiteX1339" fmla="*/ 1534296 w 3070954"/>
              <a:gd name="connsiteY1339" fmla="*/ 1944965 h 3009544"/>
              <a:gd name="connsiteX1340" fmla="*/ 1489177 w 3070954"/>
              <a:gd name="connsiteY1340" fmla="*/ 2006885 h 3009544"/>
              <a:gd name="connsiteX1341" fmla="*/ 1446296 w 3070954"/>
              <a:gd name="connsiteY1341" fmla="*/ 2057765 h 3009544"/>
              <a:gd name="connsiteX1342" fmla="*/ 1407257 w 3070954"/>
              <a:gd name="connsiteY1342" fmla="*/ 2114085 h 3009544"/>
              <a:gd name="connsiteX1343" fmla="*/ 1365496 w 3070954"/>
              <a:gd name="connsiteY1343" fmla="*/ 2170725 h 3009544"/>
              <a:gd name="connsiteX1344" fmla="*/ 1314776 w 3070954"/>
              <a:gd name="connsiteY1344" fmla="*/ 2233445 h 3009544"/>
              <a:gd name="connsiteX1345" fmla="*/ 1205656 w 3070954"/>
              <a:gd name="connsiteY1345" fmla="*/ 2337125 h 3009544"/>
              <a:gd name="connsiteX1346" fmla="*/ 1146616 w 3070954"/>
              <a:gd name="connsiteY1346" fmla="*/ 2381765 h 3009544"/>
              <a:gd name="connsiteX1347" fmla="*/ 1122616 w 3070954"/>
              <a:gd name="connsiteY1347" fmla="*/ 2402885 h 3009544"/>
              <a:gd name="connsiteX1348" fmla="*/ 1321336 w 3070954"/>
              <a:gd name="connsiteY1348" fmla="*/ 2349125 h 3009544"/>
              <a:gd name="connsiteX1349" fmla="*/ 1304217 w 3070954"/>
              <a:gd name="connsiteY1349" fmla="*/ 2357605 h 3009544"/>
              <a:gd name="connsiteX1350" fmla="*/ 1234776 w 3070954"/>
              <a:gd name="connsiteY1350" fmla="*/ 2389445 h 3009544"/>
              <a:gd name="connsiteX1351" fmla="*/ 1147897 w 3070954"/>
              <a:gd name="connsiteY1351" fmla="*/ 2401125 h 3009544"/>
              <a:gd name="connsiteX1352" fmla="*/ 1151256 w 3070954"/>
              <a:gd name="connsiteY1352" fmla="*/ 2398085 h 3009544"/>
              <a:gd name="connsiteX1353" fmla="*/ 1215256 w 3070954"/>
              <a:gd name="connsiteY1353" fmla="*/ 2349125 h 3009544"/>
              <a:gd name="connsiteX1354" fmla="*/ 1323097 w 3070954"/>
              <a:gd name="connsiteY1354" fmla="*/ 2247045 h 3009544"/>
              <a:gd name="connsiteX1355" fmla="*/ 1417017 w 3070954"/>
              <a:gd name="connsiteY1355" fmla="*/ 2127365 h 3009544"/>
              <a:gd name="connsiteX1356" fmla="*/ 1455416 w 3070954"/>
              <a:gd name="connsiteY1356" fmla="*/ 2071205 h 3009544"/>
              <a:gd name="connsiteX1357" fmla="*/ 1477977 w 3070954"/>
              <a:gd name="connsiteY1357" fmla="*/ 2045125 h 3009544"/>
              <a:gd name="connsiteX1358" fmla="*/ 1501496 w 3070954"/>
              <a:gd name="connsiteY1358" fmla="*/ 2015845 h 3009544"/>
              <a:gd name="connsiteX1359" fmla="*/ 1542937 w 3070954"/>
              <a:gd name="connsiteY1359" fmla="*/ 1959525 h 3009544"/>
              <a:gd name="connsiteX1360" fmla="*/ 1582296 w 3070954"/>
              <a:gd name="connsiteY1360" fmla="*/ 1886405 h 3009544"/>
              <a:gd name="connsiteX1361" fmla="*/ 1618456 w 3070954"/>
              <a:gd name="connsiteY1361" fmla="*/ 1813605 h 3009544"/>
              <a:gd name="connsiteX1362" fmla="*/ 1654937 w 3070954"/>
              <a:gd name="connsiteY1362" fmla="*/ 1736005 h 3009544"/>
              <a:gd name="connsiteX1363" fmla="*/ 1671576 w 3070954"/>
              <a:gd name="connsiteY1363" fmla="*/ 1663205 h 3009544"/>
              <a:gd name="connsiteX1364" fmla="*/ 1674937 w 3070954"/>
              <a:gd name="connsiteY1364" fmla="*/ 1624005 h 3009544"/>
              <a:gd name="connsiteX1365" fmla="*/ 1674616 w 3070954"/>
              <a:gd name="connsiteY1365" fmla="*/ 1583685 h 3009544"/>
              <a:gd name="connsiteX1366" fmla="*/ 1667736 w 3070954"/>
              <a:gd name="connsiteY1366" fmla="*/ 1516645 h 3009544"/>
              <a:gd name="connsiteX1367" fmla="*/ 1659576 w 3070954"/>
              <a:gd name="connsiteY1367" fmla="*/ 1481125 h 3009544"/>
              <a:gd name="connsiteX1368" fmla="*/ 1652057 w 3070954"/>
              <a:gd name="connsiteY1368" fmla="*/ 1447525 h 3009544"/>
              <a:gd name="connsiteX1369" fmla="*/ 1648696 w 3070954"/>
              <a:gd name="connsiteY1369" fmla="*/ 1439205 h 3009544"/>
              <a:gd name="connsiteX1370" fmla="*/ 1677177 w 3070954"/>
              <a:gd name="connsiteY1370" fmla="*/ 1436485 h 3009544"/>
              <a:gd name="connsiteX1371" fmla="*/ 1698137 w 3070954"/>
              <a:gd name="connsiteY1371" fmla="*/ 1493285 h 3009544"/>
              <a:gd name="connsiteX1372" fmla="*/ 1719257 w 3070954"/>
              <a:gd name="connsiteY1372" fmla="*/ 1645125 h 3009544"/>
              <a:gd name="connsiteX1373" fmla="*/ 1713017 w 3070954"/>
              <a:gd name="connsiteY1373" fmla="*/ 1804005 h 3009544"/>
              <a:gd name="connsiteX1374" fmla="*/ 1658296 w 3070954"/>
              <a:gd name="connsiteY1374" fmla="*/ 1948005 h 3009544"/>
              <a:gd name="connsiteX1375" fmla="*/ 1565177 w 3070954"/>
              <a:gd name="connsiteY1375" fmla="*/ 2059685 h 3009544"/>
              <a:gd name="connsiteX1376" fmla="*/ 1521336 w 3070954"/>
              <a:gd name="connsiteY1376" fmla="*/ 2114245 h 3009544"/>
              <a:gd name="connsiteX1377" fmla="*/ 1471416 w 3070954"/>
              <a:gd name="connsiteY1377" fmla="*/ 2169605 h 3009544"/>
              <a:gd name="connsiteX1378" fmla="*/ 1385177 w 3070954"/>
              <a:gd name="connsiteY1378" fmla="*/ 2284965 h 3009544"/>
              <a:gd name="connsiteX1379" fmla="*/ 1340856 w 3070954"/>
              <a:gd name="connsiteY1379" fmla="*/ 2335045 h 3009544"/>
              <a:gd name="connsiteX1380" fmla="*/ 1321336 w 3070954"/>
              <a:gd name="connsiteY1380" fmla="*/ 2349125 h 3009544"/>
              <a:gd name="connsiteX1381" fmla="*/ 1816376 w 3070954"/>
              <a:gd name="connsiteY1381" fmla="*/ 1759685 h 3009544"/>
              <a:gd name="connsiteX1382" fmla="*/ 1807736 w 3070954"/>
              <a:gd name="connsiteY1382" fmla="*/ 1793765 h 3009544"/>
              <a:gd name="connsiteX1383" fmla="*/ 1799416 w 3070954"/>
              <a:gd name="connsiteY1383" fmla="*/ 1841445 h 3009544"/>
              <a:gd name="connsiteX1384" fmla="*/ 1759897 w 3070954"/>
              <a:gd name="connsiteY1384" fmla="*/ 1908805 h 3009544"/>
              <a:gd name="connsiteX1385" fmla="*/ 1710616 w 3070954"/>
              <a:gd name="connsiteY1385" fmla="*/ 1978085 h 3009544"/>
              <a:gd name="connsiteX1386" fmla="*/ 1614456 w 3070954"/>
              <a:gd name="connsiteY1386" fmla="*/ 2108005 h 3009544"/>
              <a:gd name="connsiteX1387" fmla="*/ 1496376 w 3070954"/>
              <a:gd name="connsiteY1387" fmla="*/ 2228325 h 3009544"/>
              <a:gd name="connsiteX1388" fmla="*/ 1379897 w 3070954"/>
              <a:gd name="connsiteY1388" fmla="*/ 2319045 h 3009544"/>
              <a:gd name="connsiteX1389" fmla="*/ 1393977 w 3070954"/>
              <a:gd name="connsiteY1389" fmla="*/ 2300165 h 3009544"/>
              <a:gd name="connsiteX1390" fmla="*/ 1433977 w 3070954"/>
              <a:gd name="connsiteY1390" fmla="*/ 2241125 h 3009544"/>
              <a:gd name="connsiteX1391" fmla="*/ 1479736 w 3070954"/>
              <a:gd name="connsiteY1391" fmla="*/ 2184165 h 3009544"/>
              <a:gd name="connsiteX1392" fmla="*/ 1526296 w 3070954"/>
              <a:gd name="connsiteY1392" fmla="*/ 2134085 h 3009544"/>
              <a:gd name="connsiteX1393" fmla="*/ 1573816 w 3070954"/>
              <a:gd name="connsiteY1393" fmla="*/ 2074405 h 3009544"/>
              <a:gd name="connsiteX1394" fmla="*/ 1667897 w 3070954"/>
              <a:gd name="connsiteY1394" fmla="*/ 1963205 h 3009544"/>
              <a:gd name="connsiteX1395" fmla="*/ 1735416 w 3070954"/>
              <a:gd name="connsiteY1395" fmla="*/ 1691205 h 3009544"/>
              <a:gd name="connsiteX1396" fmla="*/ 1723257 w 3070954"/>
              <a:gd name="connsiteY1396" fmla="*/ 1539525 h 3009544"/>
              <a:gd name="connsiteX1397" fmla="*/ 1703736 w 3070954"/>
              <a:gd name="connsiteY1397" fmla="*/ 1477125 h 3009544"/>
              <a:gd name="connsiteX1398" fmla="*/ 1684217 w 3070954"/>
              <a:gd name="connsiteY1398" fmla="*/ 1435685 h 3009544"/>
              <a:gd name="connsiteX1399" fmla="*/ 1684856 w 3070954"/>
              <a:gd name="connsiteY1399" fmla="*/ 1435525 h 3009544"/>
              <a:gd name="connsiteX1400" fmla="*/ 1740217 w 3070954"/>
              <a:gd name="connsiteY1400" fmla="*/ 1425125 h 3009544"/>
              <a:gd name="connsiteX1401" fmla="*/ 1799736 w 3070954"/>
              <a:gd name="connsiteY1401" fmla="*/ 1532325 h 3009544"/>
              <a:gd name="connsiteX1402" fmla="*/ 1822456 w 3070954"/>
              <a:gd name="connsiteY1402" fmla="*/ 1596325 h 3009544"/>
              <a:gd name="connsiteX1403" fmla="*/ 1823897 w 3070954"/>
              <a:gd name="connsiteY1403" fmla="*/ 1685765 h 3009544"/>
              <a:gd name="connsiteX1404" fmla="*/ 1816376 w 3070954"/>
              <a:gd name="connsiteY1404" fmla="*/ 1759685 h 3009544"/>
              <a:gd name="connsiteX1405" fmla="*/ 1929177 w 3070954"/>
              <a:gd name="connsiteY1405" fmla="*/ 1808325 h 3009544"/>
              <a:gd name="connsiteX1406" fmla="*/ 1881496 w 3070954"/>
              <a:gd name="connsiteY1406" fmla="*/ 1783045 h 3009544"/>
              <a:gd name="connsiteX1407" fmla="*/ 1846776 w 3070954"/>
              <a:gd name="connsiteY1407" fmla="*/ 1751685 h 3009544"/>
              <a:gd name="connsiteX1408" fmla="*/ 1849656 w 3070954"/>
              <a:gd name="connsiteY1408" fmla="*/ 1732645 h 3009544"/>
              <a:gd name="connsiteX1409" fmla="*/ 1854137 w 3070954"/>
              <a:gd name="connsiteY1409" fmla="*/ 1682085 h 3009544"/>
              <a:gd name="connsiteX1410" fmla="*/ 1878776 w 3070954"/>
              <a:gd name="connsiteY1410" fmla="*/ 1713605 h 3009544"/>
              <a:gd name="connsiteX1411" fmla="*/ 1944536 w 3070954"/>
              <a:gd name="connsiteY1411" fmla="*/ 1776325 h 3009544"/>
              <a:gd name="connsiteX1412" fmla="*/ 2021496 w 3070954"/>
              <a:gd name="connsiteY1412" fmla="*/ 1823205 h 3009544"/>
              <a:gd name="connsiteX1413" fmla="*/ 2045816 w 3070954"/>
              <a:gd name="connsiteY1413" fmla="*/ 1835845 h 3009544"/>
              <a:gd name="connsiteX1414" fmla="*/ 1929177 w 3070954"/>
              <a:gd name="connsiteY1414" fmla="*/ 1808325 h 3009544"/>
              <a:gd name="connsiteX1415" fmla="*/ 2094937 w 3070954"/>
              <a:gd name="connsiteY1415" fmla="*/ 1837445 h 3009544"/>
              <a:gd name="connsiteX1416" fmla="*/ 2068536 w 3070954"/>
              <a:gd name="connsiteY1416" fmla="*/ 1829125 h 3009544"/>
              <a:gd name="connsiteX1417" fmla="*/ 2032696 w 3070954"/>
              <a:gd name="connsiteY1417" fmla="*/ 1812965 h 3009544"/>
              <a:gd name="connsiteX1418" fmla="*/ 1962937 w 3070954"/>
              <a:gd name="connsiteY1418" fmla="*/ 1772485 h 3009544"/>
              <a:gd name="connsiteX1419" fmla="*/ 1900376 w 3070954"/>
              <a:gd name="connsiteY1419" fmla="*/ 1719685 h 3009544"/>
              <a:gd name="connsiteX1420" fmla="*/ 1874937 w 3070954"/>
              <a:gd name="connsiteY1420" fmla="*/ 1693125 h 3009544"/>
              <a:gd name="connsiteX1421" fmla="*/ 1854456 w 3070954"/>
              <a:gd name="connsiteY1421" fmla="*/ 1670085 h 3009544"/>
              <a:gd name="connsiteX1422" fmla="*/ 1854776 w 3070954"/>
              <a:gd name="connsiteY1422" fmla="*/ 1651845 h 3009544"/>
              <a:gd name="connsiteX1423" fmla="*/ 1850296 w 3070954"/>
              <a:gd name="connsiteY1423" fmla="*/ 1585605 h 3009544"/>
              <a:gd name="connsiteX1424" fmla="*/ 1906456 w 3070954"/>
              <a:gd name="connsiteY1424" fmla="*/ 1647525 h 3009544"/>
              <a:gd name="connsiteX1425" fmla="*/ 1997336 w 3070954"/>
              <a:gd name="connsiteY1425" fmla="*/ 1729925 h 3009544"/>
              <a:gd name="connsiteX1426" fmla="*/ 2110137 w 3070954"/>
              <a:gd name="connsiteY1426" fmla="*/ 1812805 h 3009544"/>
              <a:gd name="connsiteX1427" fmla="*/ 2154456 w 3070954"/>
              <a:gd name="connsiteY1427" fmla="*/ 1839525 h 3009544"/>
              <a:gd name="connsiteX1428" fmla="*/ 2094937 w 3070954"/>
              <a:gd name="connsiteY1428" fmla="*/ 1837445 h 3009544"/>
              <a:gd name="connsiteX1429" fmla="*/ 2251736 w 3070954"/>
              <a:gd name="connsiteY1429" fmla="*/ 1847845 h 3009544"/>
              <a:gd name="connsiteX1430" fmla="*/ 2254137 w 3070954"/>
              <a:gd name="connsiteY1430" fmla="*/ 1850245 h 3009544"/>
              <a:gd name="connsiteX1431" fmla="*/ 2256376 w 3070954"/>
              <a:gd name="connsiteY1431" fmla="*/ 1854565 h 3009544"/>
              <a:gd name="connsiteX1432" fmla="*/ 2196536 w 3070954"/>
              <a:gd name="connsiteY1432" fmla="*/ 1843685 h 3009544"/>
              <a:gd name="connsiteX1433" fmla="*/ 2006137 w 3070954"/>
              <a:gd name="connsiteY1433" fmla="*/ 1719205 h 3009544"/>
              <a:gd name="connsiteX1434" fmla="*/ 1916217 w 3070954"/>
              <a:gd name="connsiteY1434" fmla="*/ 1640325 h 3009544"/>
              <a:gd name="connsiteX1435" fmla="*/ 1846137 w 3070954"/>
              <a:gd name="connsiteY1435" fmla="*/ 1567525 h 3009544"/>
              <a:gd name="connsiteX1436" fmla="*/ 1821816 w 3070954"/>
              <a:gd name="connsiteY1436" fmla="*/ 1509445 h 3009544"/>
              <a:gd name="connsiteX1437" fmla="*/ 1788217 w 3070954"/>
              <a:gd name="connsiteY1437" fmla="*/ 1444965 h 3009544"/>
              <a:gd name="connsiteX1438" fmla="*/ 1772696 w 3070954"/>
              <a:gd name="connsiteY1438" fmla="*/ 1422725 h 3009544"/>
              <a:gd name="connsiteX1439" fmla="*/ 1767097 w 3070954"/>
              <a:gd name="connsiteY1439" fmla="*/ 1414565 h 3009544"/>
              <a:gd name="connsiteX1440" fmla="*/ 1771097 w 3070954"/>
              <a:gd name="connsiteY1440" fmla="*/ 1412165 h 3009544"/>
              <a:gd name="connsiteX1441" fmla="*/ 1779097 w 3070954"/>
              <a:gd name="connsiteY1441" fmla="*/ 1409925 h 3009544"/>
              <a:gd name="connsiteX1442" fmla="*/ 1783416 w 3070954"/>
              <a:gd name="connsiteY1442" fmla="*/ 1409765 h 3009544"/>
              <a:gd name="connsiteX1443" fmla="*/ 1795576 w 3070954"/>
              <a:gd name="connsiteY1443" fmla="*/ 1415685 h 3009544"/>
              <a:gd name="connsiteX1444" fmla="*/ 1799736 w 3070954"/>
              <a:gd name="connsiteY1444" fmla="*/ 1420645 h 3009544"/>
              <a:gd name="connsiteX1445" fmla="*/ 1833177 w 3070954"/>
              <a:gd name="connsiteY1445" fmla="*/ 1438885 h 3009544"/>
              <a:gd name="connsiteX1446" fmla="*/ 1901496 w 3070954"/>
              <a:gd name="connsiteY1446" fmla="*/ 1494885 h 3009544"/>
              <a:gd name="connsiteX1447" fmla="*/ 2037336 w 3070954"/>
              <a:gd name="connsiteY1447" fmla="*/ 1608645 h 3009544"/>
              <a:gd name="connsiteX1448" fmla="*/ 2156217 w 3070954"/>
              <a:gd name="connsiteY1448" fmla="*/ 1737285 h 3009544"/>
              <a:gd name="connsiteX1449" fmla="*/ 2208696 w 3070954"/>
              <a:gd name="connsiteY1449" fmla="*/ 1801285 h 3009544"/>
              <a:gd name="connsiteX1450" fmla="*/ 2240696 w 3070954"/>
              <a:gd name="connsiteY1450" fmla="*/ 1835525 h 3009544"/>
              <a:gd name="connsiteX1451" fmla="*/ 2251736 w 3070954"/>
              <a:gd name="connsiteY1451" fmla="*/ 1847845 h 3009544"/>
              <a:gd name="connsiteX1452" fmla="*/ 2163416 w 3070954"/>
              <a:gd name="connsiteY1452" fmla="*/ 1650885 h 3009544"/>
              <a:gd name="connsiteX1453" fmla="*/ 2178776 w 3070954"/>
              <a:gd name="connsiteY1453" fmla="*/ 1689445 h 3009544"/>
              <a:gd name="connsiteX1454" fmla="*/ 2198937 w 3070954"/>
              <a:gd name="connsiteY1454" fmla="*/ 1727845 h 3009544"/>
              <a:gd name="connsiteX1455" fmla="*/ 2223257 w 3070954"/>
              <a:gd name="connsiteY1455" fmla="*/ 1793445 h 3009544"/>
              <a:gd name="connsiteX1456" fmla="*/ 2213336 w 3070954"/>
              <a:gd name="connsiteY1456" fmla="*/ 1784645 h 3009544"/>
              <a:gd name="connsiteX1457" fmla="*/ 2183416 w 3070954"/>
              <a:gd name="connsiteY1457" fmla="*/ 1747365 h 3009544"/>
              <a:gd name="connsiteX1458" fmla="*/ 2126137 w 3070954"/>
              <a:gd name="connsiteY1458" fmla="*/ 1680485 h 3009544"/>
              <a:gd name="connsiteX1459" fmla="*/ 2069177 w 3070954"/>
              <a:gd name="connsiteY1459" fmla="*/ 1618565 h 3009544"/>
              <a:gd name="connsiteX1460" fmla="*/ 1932696 w 3070954"/>
              <a:gd name="connsiteY1460" fmla="*/ 1505925 h 3009544"/>
              <a:gd name="connsiteX1461" fmla="*/ 1927897 w 3070954"/>
              <a:gd name="connsiteY1461" fmla="*/ 1501925 h 3009544"/>
              <a:gd name="connsiteX1462" fmla="*/ 2051897 w 3070954"/>
              <a:gd name="connsiteY1462" fmla="*/ 1562245 h 3009544"/>
              <a:gd name="connsiteX1463" fmla="*/ 2101017 w 3070954"/>
              <a:gd name="connsiteY1463" fmla="*/ 1578245 h 3009544"/>
              <a:gd name="connsiteX1464" fmla="*/ 2110937 w 3070954"/>
              <a:gd name="connsiteY1464" fmla="*/ 1583365 h 3009544"/>
              <a:gd name="connsiteX1465" fmla="*/ 2163416 w 3070954"/>
              <a:gd name="connsiteY1465" fmla="*/ 1650885 h 3009544"/>
              <a:gd name="connsiteX1466" fmla="*/ 3028857 w 3070954"/>
              <a:gd name="connsiteY1466" fmla="*/ 1061605 h 3009544"/>
              <a:gd name="connsiteX1467" fmla="*/ 2962456 w 3070954"/>
              <a:gd name="connsiteY1467" fmla="*/ 1207685 h 3009544"/>
              <a:gd name="connsiteX1468" fmla="*/ 2920857 w 3070954"/>
              <a:gd name="connsiteY1468" fmla="*/ 1275525 h 3009544"/>
              <a:gd name="connsiteX1469" fmla="*/ 2875097 w 3070954"/>
              <a:gd name="connsiteY1469" fmla="*/ 1338725 h 3009544"/>
              <a:gd name="connsiteX1470" fmla="*/ 2848376 w 3070954"/>
              <a:gd name="connsiteY1470" fmla="*/ 1364645 h 3009544"/>
              <a:gd name="connsiteX1471" fmla="*/ 2828536 w 3070954"/>
              <a:gd name="connsiteY1471" fmla="*/ 1394245 h 3009544"/>
              <a:gd name="connsiteX1472" fmla="*/ 2806616 w 3070954"/>
              <a:gd name="connsiteY1472" fmla="*/ 1421445 h 3009544"/>
              <a:gd name="connsiteX1473" fmla="*/ 2783736 w 3070954"/>
              <a:gd name="connsiteY1473" fmla="*/ 1452005 h 3009544"/>
              <a:gd name="connsiteX1474" fmla="*/ 2660857 w 3070954"/>
              <a:gd name="connsiteY1474" fmla="*/ 1535525 h 3009544"/>
              <a:gd name="connsiteX1475" fmla="*/ 2507257 w 3070954"/>
              <a:gd name="connsiteY1475" fmla="*/ 1578405 h 3009544"/>
              <a:gd name="connsiteX1476" fmla="*/ 2180057 w 3070954"/>
              <a:gd name="connsiteY1476" fmla="*/ 1567685 h 3009544"/>
              <a:gd name="connsiteX1477" fmla="*/ 2104857 w 3070954"/>
              <a:gd name="connsiteY1477" fmla="*/ 1549445 h 3009544"/>
              <a:gd name="connsiteX1478" fmla="*/ 2100057 w 3070954"/>
              <a:gd name="connsiteY1478" fmla="*/ 1548005 h 3009544"/>
              <a:gd name="connsiteX1479" fmla="*/ 1965977 w 3070954"/>
              <a:gd name="connsiteY1479" fmla="*/ 1491845 h 3009544"/>
              <a:gd name="connsiteX1480" fmla="*/ 1817496 w 3070954"/>
              <a:gd name="connsiteY1480" fmla="*/ 1395205 h 3009544"/>
              <a:gd name="connsiteX1481" fmla="*/ 1828217 w 3070954"/>
              <a:gd name="connsiteY1481" fmla="*/ 1388485 h 3009544"/>
              <a:gd name="connsiteX1482" fmla="*/ 1879897 w 3070954"/>
              <a:gd name="connsiteY1482" fmla="*/ 1402725 h 3009544"/>
              <a:gd name="connsiteX1483" fmla="*/ 1964376 w 3070954"/>
              <a:gd name="connsiteY1483" fmla="*/ 1420805 h 3009544"/>
              <a:gd name="connsiteX1484" fmla="*/ 2135097 w 3070954"/>
              <a:gd name="connsiteY1484" fmla="*/ 1444965 h 3009544"/>
              <a:gd name="connsiteX1485" fmla="*/ 2304536 w 3070954"/>
              <a:gd name="connsiteY1485" fmla="*/ 1459045 h 3009544"/>
              <a:gd name="connsiteX1486" fmla="*/ 2457336 w 3070954"/>
              <a:gd name="connsiteY1486" fmla="*/ 1452965 h 3009544"/>
              <a:gd name="connsiteX1487" fmla="*/ 2609816 w 3070954"/>
              <a:gd name="connsiteY1487" fmla="*/ 1408325 h 3009544"/>
              <a:gd name="connsiteX1488" fmla="*/ 2739897 w 3070954"/>
              <a:gd name="connsiteY1488" fmla="*/ 1341445 h 3009544"/>
              <a:gd name="connsiteX1489" fmla="*/ 2797177 w 3070954"/>
              <a:gd name="connsiteY1489" fmla="*/ 1292805 h 3009544"/>
              <a:gd name="connsiteX1490" fmla="*/ 2854296 w 3070954"/>
              <a:gd name="connsiteY1490" fmla="*/ 1239365 h 3009544"/>
              <a:gd name="connsiteX1491" fmla="*/ 2881656 w 3070954"/>
              <a:gd name="connsiteY1491" fmla="*/ 1212485 h 3009544"/>
              <a:gd name="connsiteX1492" fmla="*/ 2905336 w 3070954"/>
              <a:gd name="connsiteY1492" fmla="*/ 1182405 h 3009544"/>
              <a:gd name="connsiteX1493" fmla="*/ 2955897 w 3070954"/>
              <a:gd name="connsiteY1493" fmla="*/ 1117285 h 3009544"/>
              <a:gd name="connsiteX1494" fmla="*/ 3022616 w 3070954"/>
              <a:gd name="connsiteY1494" fmla="*/ 1004325 h 3009544"/>
              <a:gd name="connsiteX1495" fmla="*/ 3043097 w 3070954"/>
              <a:gd name="connsiteY1495" fmla="*/ 963685 h 3009544"/>
              <a:gd name="connsiteX1496" fmla="*/ 3042137 w 3070954"/>
              <a:gd name="connsiteY1496" fmla="*/ 978405 h 3009544"/>
              <a:gd name="connsiteX1497" fmla="*/ 3028857 w 3070954"/>
              <a:gd name="connsiteY1497" fmla="*/ 1061605 h 300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Lst>
            <a:rect l="l" t="t" r="r" b="b"/>
            <a:pathLst>
              <a:path w="3070954" h="3009544">
                <a:moveTo>
                  <a:pt x="3070456" y="953445"/>
                </a:moveTo>
                <a:cubicBezTo>
                  <a:pt x="3072057" y="939685"/>
                  <a:pt x="3069977" y="926405"/>
                  <a:pt x="3061656" y="915045"/>
                </a:cubicBezTo>
                <a:cubicBezTo>
                  <a:pt x="3050456" y="899685"/>
                  <a:pt x="3035736" y="904965"/>
                  <a:pt x="3023416" y="914885"/>
                </a:cubicBezTo>
                <a:cubicBezTo>
                  <a:pt x="2989656" y="942085"/>
                  <a:pt x="2956376" y="970245"/>
                  <a:pt x="2919736" y="993445"/>
                </a:cubicBezTo>
                <a:cubicBezTo>
                  <a:pt x="2897816" y="1007365"/>
                  <a:pt x="2875416" y="1020325"/>
                  <a:pt x="2853816" y="1034885"/>
                </a:cubicBezTo>
                <a:cubicBezTo>
                  <a:pt x="2830776" y="1050405"/>
                  <a:pt x="2810137" y="1066725"/>
                  <a:pt x="2784376" y="1078085"/>
                </a:cubicBezTo>
                <a:cubicBezTo>
                  <a:pt x="2754137" y="1091525"/>
                  <a:pt x="2720857" y="1095205"/>
                  <a:pt x="2687576" y="1098725"/>
                </a:cubicBezTo>
                <a:cubicBezTo>
                  <a:pt x="2706937" y="1083045"/>
                  <a:pt x="2725656" y="1066565"/>
                  <a:pt x="2743416" y="1049285"/>
                </a:cubicBezTo>
                <a:cubicBezTo>
                  <a:pt x="2779897" y="1013925"/>
                  <a:pt x="2814296" y="975045"/>
                  <a:pt x="2845496" y="934885"/>
                </a:cubicBezTo>
                <a:cubicBezTo>
                  <a:pt x="2874296" y="897765"/>
                  <a:pt x="2896217" y="851365"/>
                  <a:pt x="2915097" y="808645"/>
                </a:cubicBezTo>
                <a:cubicBezTo>
                  <a:pt x="2937177" y="758885"/>
                  <a:pt x="2960696" y="709765"/>
                  <a:pt x="2978776" y="658405"/>
                </a:cubicBezTo>
                <a:cubicBezTo>
                  <a:pt x="2997017" y="606725"/>
                  <a:pt x="3007416" y="553285"/>
                  <a:pt x="3020696" y="500325"/>
                </a:cubicBezTo>
                <a:cubicBezTo>
                  <a:pt x="3033177" y="450405"/>
                  <a:pt x="3042616" y="400645"/>
                  <a:pt x="3049977" y="349765"/>
                </a:cubicBezTo>
                <a:cubicBezTo>
                  <a:pt x="3057336" y="298565"/>
                  <a:pt x="3065496" y="248005"/>
                  <a:pt x="3063257" y="196165"/>
                </a:cubicBezTo>
                <a:cubicBezTo>
                  <a:pt x="3061496" y="156965"/>
                  <a:pt x="3056857" y="115685"/>
                  <a:pt x="3063416" y="76965"/>
                </a:cubicBezTo>
                <a:cubicBezTo>
                  <a:pt x="3066937" y="56165"/>
                  <a:pt x="3077336" y="19685"/>
                  <a:pt x="3059576" y="2885"/>
                </a:cubicBezTo>
                <a:cubicBezTo>
                  <a:pt x="3055097" y="-1275"/>
                  <a:pt x="3047257" y="-635"/>
                  <a:pt x="3042616" y="2885"/>
                </a:cubicBezTo>
                <a:cubicBezTo>
                  <a:pt x="3033656" y="9765"/>
                  <a:pt x="3023897" y="20485"/>
                  <a:pt x="3016696" y="24645"/>
                </a:cubicBezTo>
                <a:cubicBezTo>
                  <a:pt x="3002776" y="32805"/>
                  <a:pt x="2989177" y="39845"/>
                  <a:pt x="2976217" y="49605"/>
                </a:cubicBezTo>
                <a:cubicBezTo>
                  <a:pt x="2945496" y="72965"/>
                  <a:pt x="2909977" y="92485"/>
                  <a:pt x="2875097" y="108645"/>
                </a:cubicBezTo>
                <a:cubicBezTo>
                  <a:pt x="2858937" y="116165"/>
                  <a:pt x="2841177" y="119685"/>
                  <a:pt x="2824376" y="125925"/>
                </a:cubicBezTo>
                <a:cubicBezTo>
                  <a:pt x="2808536" y="131685"/>
                  <a:pt x="2794137" y="140485"/>
                  <a:pt x="2778776" y="147205"/>
                </a:cubicBezTo>
                <a:cubicBezTo>
                  <a:pt x="2746616" y="161285"/>
                  <a:pt x="2721496" y="184325"/>
                  <a:pt x="2695416" y="207685"/>
                </a:cubicBezTo>
                <a:cubicBezTo>
                  <a:pt x="2667097" y="233125"/>
                  <a:pt x="2640857" y="260965"/>
                  <a:pt x="2614296" y="288005"/>
                </a:cubicBezTo>
                <a:cubicBezTo>
                  <a:pt x="2587416" y="315525"/>
                  <a:pt x="2561336" y="344645"/>
                  <a:pt x="2539416" y="376165"/>
                </a:cubicBezTo>
                <a:cubicBezTo>
                  <a:pt x="2517496" y="407525"/>
                  <a:pt x="2500217" y="441765"/>
                  <a:pt x="2485336" y="476965"/>
                </a:cubicBezTo>
                <a:cubicBezTo>
                  <a:pt x="2482296" y="484165"/>
                  <a:pt x="2479736" y="491525"/>
                  <a:pt x="2477336" y="498885"/>
                </a:cubicBezTo>
                <a:cubicBezTo>
                  <a:pt x="2475897" y="481925"/>
                  <a:pt x="2473977" y="464965"/>
                  <a:pt x="2471257" y="448165"/>
                </a:cubicBezTo>
                <a:cubicBezTo>
                  <a:pt x="2467097" y="422085"/>
                  <a:pt x="2460857" y="396165"/>
                  <a:pt x="2455416" y="370245"/>
                </a:cubicBezTo>
                <a:cubicBezTo>
                  <a:pt x="2449816" y="343685"/>
                  <a:pt x="2439576" y="317765"/>
                  <a:pt x="2434776" y="291205"/>
                </a:cubicBezTo>
                <a:cubicBezTo>
                  <a:pt x="2431416" y="272325"/>
                  <a:pt x="2426456" y="255205"/>
                  <a:pt x="2419416" y="237445"/>
                </a:cubicBezTo>
                <a:cubicBezTo>
                  <a:pt x="2411576" y="217765"/>
                  <a:pt x="2397977" y="200325"/>
                  <a:pt x="2389177" y="180805"/>
                </a:cubicBezTo>
                <a:cubicBezTo>
                  <a:pt x="2368857" y="135845"/>
                  <a:pt x="2347736" y="91365"/>
                  <a:pt x="2317816" y="51845"/>
                </a:cubicBezTo>
                <a:cubicBezTo>
                  <a:pt x="2310456" y="42085"/>
                  <a:pt x="2296057" y="47205"/>
                  <a:pt x="2293977" y="58245"/>
                </a:cubicBezTo>
                <a:cubicBezTo>
                  <a:pt x="2290776" y="75365"/>
                  <a:pt x="2278937" y="88965"/>
                  <a:pt x="2268857" y="102565"/>
                </a:cubicBezTo>
                <a:cubicBezTo>
                  <a:pt x="2258616" y="116325"/>
                  <a:pt x="2248536" y="130245"/>
                  <a:pt x="2238937" y="144485"/>
                </a:cubicBezTo>
                <a:cubicBezTo>
                  <a:pt x="2217816" y="175685"/>
                  <a:pt x="2196217" y="205925"/>
                  <a:pt x="2169496" y="232645"/>
                </a:cubicBezTo>
                <a:cubicBezTo>
                  <a:pt x="2146296" y="255845"/>
                  <a:pt x="2120376" y="278405"/>
                  <a:pt x="2090456" y="292485"/>
                </a:cubicBezTo>
                <a:cubicBezTo>
                  <a:pt x="2077017" y="298725"/>
                  <a:pt x="2064217" y="303045"/>
                  <a:pt x="2052057" y="311685"/>
                </a:cubicBezTo>
                <a:cubicBezTo>
                  <a:pt x="2038137" y="321445"/>
                  <a:pt x="2024057" y="331205"/>
                  <a:pt x="2011257" y="342245"/>
                </a:cubicBezTo>
                <a:cubicBezTo>
                  <a:pt x="2001177" y="351045"/>
                  <a:pt x="1988376" y="355685"/>
                  <a:pt x="1978937" y="365445"/>
                </a:cubicBezTo>
                <a:cubicBezTo>
                  <a:pt x="1968536" y="376325"/>
                  <a:pt x="1956536" y="386565"/>
                  <a:pt x="1944696" y="396645"/>
                </a:cubicBezTo>
                <a:cubicBezTo>
                  <a:pt x="1944057" y="383365"/>
                  <a:pt x="1935897" y="370405"/>
                  <a:pt x="1931416" y="357605"/>
                </a:cubicBezTo>
                <a:cubicBezTo>
                  <a:pt x="1922456" y="332005"/>
                  <a:pt x="1908536" y="311045"/>
                  <a:pt x="1893816" y="288325"/>
                </a:cubicBezTo>
                <a:cubicBezTo>
                  <a:pt x="1864696" y="243525"/>
                  <a:pt x="1820057" y="210245"/>
                  <a:pt x="1776536" y="180645"/>
                </a:cubicBezTo>
                <a:cubicBezTo>
                  <a:pt x="1726137" y="146405"/>
                  <a:pt x="1674137" y="116805"/>
                  <a:pt x="1618137" y="93285"/>
                </a:cubicBezTo>
                <a:cubicBezTo>
                  <a:pt x="1605656" y="88005"/>
                  <a:pt x="1593336" y="82565"/>
                  <a:pt x="1581336" y="76485"/>
                </a:cubicBezTo>
                <a:cubicBezTo>
                  <a:pt x="1570296" y="70885"/>
                  <a:pt x="1557336" y="68325"/>
                  <a:pt x="1545496" y="64165"/>
                </a:cubicBezTo>
                <a:cubicBezTo>
                  <a:pt x="1518937" y="54885"/>
                  <a:pt x="1495736" y="41445"/>
                  <a:pt x="1474937" y="22405"/>
                </a:cubicBezTo>
                <a:cubicBezTo>
                  <a:pt x="1472057" y="19685"/>
                  <a:pt x="1469017" y="19845"/>
                  <a:pt x="1466616" y="21445"/>
                </a:cubicBezTo>
                <a:cubicBezTo>
                  <a:pt x="1463416" y="20805"/>
                  <a:pt x="1459576" y="22085"/>
                  <a:pt x="1458137" y="25445"/>
                </a:cubicBezTo>
                <a:cubicBezTo>
                  <a:pt x="1446776" y="52165"/>
                  <a:pt x="1430296" y="76965"/>
                  <a:pt x="1410776" y="98405"/>
                </a:cubicBezTo>
                <a:cubicBezTo>
                  <a:pt x="1389177" y="122085"/>
                  <a:pt x="1368217" y="146245"/>
                  <a:pt x="1345656" y="169125"/>
                </a:cubicBezTo>
                <a:cubicBezTo>
                  <a:pt x="1325977" y="189125"/>
                  <a:pt x="1305977" y="208645"/>
                  <a:pt x="1284057" y="226085"/>
                </a:cubicBezTo>
                <a:cubicBezTo>
                  <a:pt x="1273336" y="234565"/>
                  <a:pt x="1262776" y="244165"/>
                  <a:pt x="1257017" y="256005"/>
                </a:cubicBezTo>
                <a:cubicBezTo>
                  <a:pt x="1246616" y="248165"/>
                  <a:pt x="1236057" y="240485"/>
                  <a:pt x="1225497" y="232645"/>
                </a:cubicBezTo>
                <a:cubicBezTo>
                  <a:pt x="1199096" y="213285"/>
                  <a:pt x="1173176" y="192325"/>
                  <a:pt x="1144216" y="176805"/>
                </a:cubicBezTo>
                <a:cubicBezTo>
                  <a:pt x="1130937" y="169765"/>
                  <a:pt x="1116376" y="163045"/>
                  <a:pt x="1101656" y="159685"/>
                </a:cubicBezTo>
                <a:cubicBezTo>
                  <a:pt x="1084376" y="155685"/>
                  <a:pt x="1068376" y="147685"/>
                  <a:pt x="1051096" y="143205"/>
                </a:cubicBezTo>
                <a:cubicBezTo>
                  <a:pt x="1033656" y="138725"/>
                  <a:pt x="1015896" y="135365"/>
                  <a:pt x="999096" y="128485"/>
                </a:cubicBezTo>
                <a:cubicBezTo>
                  <a:pt x="984536" y="122565"/>
                  <a:pt x="969497" y="118405"/>
                  <a:pt x="953656" y="117285"/>
                </a:cubicBezTo>
                <a:cubicBezTo>
                  <a:pt x="952056" y="117125"/>
                  <a:pt x="950776" y="117445"/>
                  <a:pt x="949497" y="117765"/>
                </a:cubicBezTo>
                <a:cubicBezTo>
                  <a:pt x="945816" y="116805"/>
                  <a:pt x="941336" y="118085"/>
                  <a:pt x="940376" y="121925"/>
                </a:cubicBezTo>
                <a:cubicBezTo>
                  <a:pt x="936856" y="134885"/>
                  <a:pt x="944216" y="142885"/>
                  <a:pt x="945977" y="155205"/>
                </a:cubicBezTo>
                <a:cubicBezTo>
                  <a:pt x="949176" y="176965"/>
                  <a:pt x="953336" y="198245"/>
                  <a:pt x="954457" y="220165"/>
                </a:cubicBezTo>
                <a:cubicBezTo>
                  <a:pt x="956856" y="269125"/>
                  <a:pt x="949176" y="312645"/>
                  <a:pt x="928856" y="357285"/>
                </a:cubicBezTo>
                <a:cubicBezTo>
                  <a:pt x="911096" y="396005"/>
                  <a:pt x="893816" y="434725"/>
                  <a:pt x="879736" y="474885"/>
                </a:cubicBezTo>
                <a:cubicBezTo>
                  <a:pt x="873017" y="493765"/>
                  <a:pt x="866457" y="512165"/>
                  <a:pt x="858296" y="530405"/>
                </a:cubicBezTo>
                <a:cubicBezTo>
                  <a:pt x="856056" y="535525"/>
                  <a:pt x="853656" y="540965"/>
                  <a:pt x="851576" y="546405"/>
                </a:cubicBezTo>
                <a:cubicBezTo>
                  <a:pt x="850136" y="546885"/>
                  <a:pt x="848856" y="548165"/>
                  <a:pt x="848376" y="550085"/>
                </a:cubicBezTo>
                <a:cubicBezTo>
                  <a:pt x="847096" y="554405"/>
                  <a:pt x="846457" y="558885"/>
                  <a:pt x="845977" y="563205"/>
                </a:cubicBezTo>
                <a:cubicBezTo>
                  <a:pt x="845336" y="565605"/>
                  <a:pt x="844856" y="568165"/>
                  <a:pt x="844376" y="570565"/>
                </a:cubicBezTo>
                <a:cubicBezTo>
                  <a:pt x="834136" y="569765"/>
                  <a:pt x="824056" y="568645"/>
                  <a:pt x="813977" y="567205"/>
                </a:cubicBezTo>
                <a:cubicBezTo>
                  <a:pt x="791896" y="564005"/>
                  <a:pt x="770296" y="557125"/>
                  <a:pt x="748696" y="551845"/>
                </a:cubicBezTo>
                <a:cubicBezTo>
                  <a:pt x="706616" y="541605"/>
                  <a:pt x="664216" y="536325"/>
                  <a:pt x="621497" y="531045"/>
                </a:cubicBezTo>
                <a:cubicBezTo>
                  <a:pt x="579576" y="525925"/>
                  <a:pt x="534937" y="524805"/>
                  <a:pt x="494937" y="510725"/>
                </a:cubicBezTo>
                <a:cubicBezTo>
                  <a:pt x="491736" y="509605"/>
                  <a:pt x="488536" y="508325"/>
                  <a:pt x="485336" y="507045"/>
                </a:cubicBezTo>
                <a:cubicBezTo>
                  <a:pt x="483896" y="506405"/>
                  <a:pt x="482457" y="505925"/>
                  <a:pt x="481176" y="505445"/>
                </a:cubicBezTo>
                <a:cubicBezTo>
                  <a:pt x="468856" y="500325"/>
                  <a:pt x="456696" y="494565"/>
                  <a:pt x="444536" y="489125"/>
                </a:cubicBezTo>
                <a:cubicBezTo>
                  <a:pt x="442616" y="488325"/>
                  <a:pt x="439896" y="487205"/>
                  <a:pt x="436696" y="485765"/>
                </a:cubicBezTo>
                <a:cubicBezTo>
                  <a:pt x="429017" y="480645"/>
                  <a:pt x="422136" y="474405"/>
                  <a:pt x="415576" y="468005"/>
                </a:cubicBezTo>
                <a:cubicBezTo>
                  <a:pt x="414136" y="466565"/>
                  <a:pt x="412536" y="464965"/>
                  <a:pt x="410937" y="463365"/>
                </a:cubicBezTo>
                <a:cubicBezTo>
                  <a:pt x="410937" y="463365"/>
                  <a:pt x="410937" y="463365"/>
                  <a:pt x="410937" y="463365"/>
                </a:cubicBezTo>
                <a:cubicBezTo>
                  <a:pt x="411736" y="459205"/>
                  <a:pt x="408376" y="456805"/>
                  <a:pt x="405017" y="456805"/>
                </a:cubicBezTo>
                <a:cubicBezTo>
                  <a:pt x="403896" y="455525"/>
                  <a:pt x="402457" y="454565"/>
                  <a:pt x="400696" y="454565"/>
                </a:cubicBezTo>
                <a:cubicBezTo>
                  <a:pt x="400216" y="453925"/>
                  <a:pt x="399416" y="453445"/>
                  <a:pt x="398616" y="453285"/>
                </a:cubicBezTo>
                <a:cubicBezTo>
                  <a:pt x="396056" y="452805"/>
                  <a:pt x="393977" y="453445"/>
                  <a:pt x="392056" y="455045"/>
                </a:cubicBezTo>
                <a:cubicBezTo>
                  <a:pt x="389017" y="456165"/>
                  <a:pt x="387416" y="458725"/>
                  <a:pt x="387576" y="461445"/>
                </a:cubicBezTo>
                <a:cubicBezTo>
                  <a:pt x="383416" y="470725"/>
                  <a:pt x="382296" y="485125"/>
                  <a:pt x="381336" y="490565"/>
                </a:cubicBezTo>
                <a:cubicBezTo>
                  <a:pt x="381017" y="492805"/>
                  <a:pt x="380056" y="500485"/>
                  <a:pt x="380056" y="508805"/>
                </a:cubicBezTo>
                <a:cubicBezTo>
                  <a:pt x="358616" y="597925"/>
                  <a:pt x="344216" y="690405"/>
                  <a:pt x="367576" y="780485"/>
                </a:cubicBezTo>
                <a:cubicBezTo>
                  <a:pt x="373497" y="803525"/>
                  <a:pt x="378776" y="825765"/>
                  <a:pt x="388536" y="847685"/>
                </a:cubicBezTo>
                <a:cubicBezTo>
                  <a:pt x="399896" y="873125"/>
                  <a:pt x="414616" y="897125"/>
                  <a:pt x="427416" y="921765"/>
                </a:cubicBezTo>
                <a:cubicBezTo>
                  <a:pt x="451416" y="967845"/>
                  <a:pt x="485816" y="1005285"/>
                  <a:pt x="514296" y="1048165"/>
                </a:cubicBezTo>
                <a:cubicBezTo>
                  <a:pt x="542296" y="1090245"/>
                  <a:pt x="575256" y="1126565"/>
                  <a:pt x="611096" y="1162245"/>
                </a:cubicBezTo>
                <a:cubicBezTo>
                  <a:pt x="649176" y="1200165"/>
                  <a:pt x="688216" y="1235525"/>
                  <a:pt x="733816" y="1264485"/>
                </a:cubicBezTo>
                <a:cubicBezTo>
                  <a:pt x="778457" y="1292965"/>
                  <a:pt x="826296" y="1316325"/>
                  <a:pt x="875736" y="1335045"/>
                </a:cubicBezTo>
                <a:cubicBezTo>
                  <a:pt x="926776" y="1354245"/>
                  <a:pt x="979896" y="1375525"/>
                  <a:pt x="1035096" y="1378085"/>
                </a:cubicBezTo>
                <a:cubicBezTo>
                  <a:pt x="1062937" y="1379365"/>
                  <a:pt x="1090457" y="1380165"/>
                  <a:pt x="1118136" y="1382725"/>
                </a:cubicBezTo>
                <a:cubicBezTo>
                  <a:pt x="1140376" y="1384645"/>
                  <a:pt x="1160856" y="1377605"/>
                  <a:pt x="1183256" y="1380485"/>
                </a:cubicBezTo>
                <a:cubicBezTo>
                  <a:pt x="1194776" y="1381925"/>
                  <a:pt x="1208856" y="1377925"/>
                  <a:pt x="1220216" y="1376485"/>
                </a:cubicBezTo>
                <a:cubicBezTo>
                  <a:pt x="1235257" y="1374725"/>
                  <a:pt x="1250296" y="1372965"/>
                  <a:pt x="1265177" y="1370405"/>
                </a:cubicBezTo>
                <a:cubicBezTo>
                  <a:pt x="1289977" y="1366405"/>
                  <a:pt x="1315097" y="1366405"/>
                  <a:pt x="1340217" y="1368325"/>
                </a:cubicBezTo>
                <a:cubicBezTo>
                  <a:pt x="1344376" y="1370245"/>
                  <a:pt x="1348536" y="1372165"/>
                  <a:pt x="1352696" y="1374085"/>
                </a:cubicBezTo>
                <a:cubicBezTo>
                  <a:pt x="1340376" y="1382725"/>
                  <a:pt x="1328536" y="1391685"/>
                  <a:pt x="1314137" y="1396965"/>
                </a:cubicBezTo>
                <a:cubicBezTo>
                  <a:pt x="1288696" y="1406405"/>
                  <a:pt x="1263257" y="1412645"/>
                  <a:pt x="1236536" y="1417445"/>
                </a:cubicBezTo>
                <a:cubicBezTo>
                  <a:pt x="1184856" y="1426565"/>
                  <a:pt x="1129176" y="1428165"/>
                  <a:pt x="1076856" y="1427685"/>
                </a:cubicBezTo>
                <a:cubicBezTo>
                  <a:pt x="1021977" y="1427205"/>
                  <a:pt x="967256" y="1424965"/>
                  <a:pt x="912696" y="1420325"/>
                </a:cubicBezTo>
                <a:cubicBezTo>
                  <a:pt x="885656" y="1418085"/>
                  <a:pt x="858296" y="1418565"/>
                  <a:pt x="831096" y="1419685"/>
                </a:cubicBezTo>
                <a:cubicBezTo>
                  <a:pt x="799576" y="1420965"/>
                  <a:pt x="769017" y="1422245"/>
                  <a:pt x="737656" y="1421445"/>
                </a:cubicBezTo>
                <a:cubicBezTo>
                  <a:pt x="682937" y="1420005"/>
                  <a:pt x="628216" y="1427045"/>
                  <a:pt x="573656" y="1430085"/>
                </a:cubicBezTo>
                <a:cubicBezTo>
                  <a:pt x="519576" y="1432965"/>
                  <a:pt x="469497" y="1447045"/>
                  <a:pt x="417176" y="1460325"/>
                </a:cubicBezTo>
                <a:cubicBezTo>
                  <a:pt x="367096" y="1472965"/>
                  <a:pt x="323416" y="1494725"/>
                  <a:pt x="276696" y="1516165"/>
                </a:cubicBezTo>
                <a:cubicBezTo>
                  <a:pt x="238616" y="1533605"/>
                  <a:pt x="204536" y="1557445"/>
                  <a:pt x="168536" y="1578245"/>
                </a:cubicBezTo>
                <a:cubicBezTo>
                  <a:pt x="151256" y="1582885"/>
                  <a:pt x="135256" y="1593925"/>
                  <a:pt x="119256" y="1601925"/>
                </a:cubicBezTo>
                <a:cubicBezTo>
                  <a:pt x="113336" y="1604965"/>
                  <a:pt x="107896" y="1610565"/>
                  <a:pt x="102776" y="1617125"/>
                </a:cubicBezTo>
                <a:cubicBezTo>
                  <a:pt x="99096" y="1619205"/>
                  <a:pt x="95416" y="1621125"/>
                  <a:pt x="91576" y="1622885"/>
                </a:cubicBezTo>
                <a:cubicBezTo>
                  <a:pt x="90616" y="1623365"/>
                  <a:pt x="89656" y="1623845"/>
                  <a:pt x="88696" y="1624325"/>
                </a:cubicBezTo>
                <a:cubicBezTo>
                  <a:pt x="85497" y="1628965"/>
                  <a:pt x="82136" y="1633445"/>
                  <a:pt x="79096" y="1637605"/>
                </a:cubicBezTo>
                <a:cubicBezTo>
                  <a:pt x="69336" y="1650725"/>
                  <a:pt x="58616" y="1662725"/>
                  <a:pt x="45977" y="1672485"/>
                </a:cubicBezTo>
                <a:cubicBezTo>
                  <a:pt x="46616" y="1672965"/>
                  <a:pt x="47416" y="1673285"/>
                  <a:pt x="48216" y="1673445"/>
                </a:cubicBezTo>
                <a:cubicBezTo>
                  <a:pt x="45977" y="1676805"/>
                  <a:pt x="43416" y="1680005"/>
                  <a:pt x="40536" y="1683045"/>
                </a:cubicBezTo>
                <a:cubicBezTo>
                  <a:pt x="30457" y="1693605"/>
                  <a:pt x="19416" y="1710405"/>
                  <a:pt x="6136" y="1716165"/>
                </a:cubicBezTo>
                <a:cubicBezTo>
                  <a:pt x="-3464" y="1720165"/>
                  <a:pt x="-1224" y="1734405"/>
                  <a:pt x="8856" y="1735845"/>
                </a:cubicBezTo>
                <a:cubicBezTo>
                  <a:pt x="31096" y="1739205"/>
                  <a:pt x="50296" y="1735045"/>
                  <a:pt x="72216" y="1735045"/>
                </a:cubicBezTo>
                <a:cubicBezTo>
                  <a:pt x="83576" y="1735045"/>
                  <a:pt x="94936" y="1736965"/>
                  <a:pt x="106136" y="1738405"/>
                </a:cubicBezTo>
                <a:cubicBezTo>
                  <a:pt x="119416" y="1740165"/>
                  <a:pt x="132856" y="1739685"/>
                  <a:pt x="146296" y="1741925"/>
                </a:cubicBezTo>
                <a:cubicBezTo>
                  <a:pt x="172056" y="1746405"/>
                  <a:pt x="195256" y="1757605"/>
                  <a:pt x="220056" y="1765125"/>
                </a:cubicBezTo>
                <a:cubicBezTo>
                  <a:pt x="246776" y="1773285"/>
                  <a:pt x="273977" y="1780325"/>
                  <a:pt x="301176" y="1786885"/>
                </a:cubicBezTo>
                <a:cubicBezTo>
                  <a:pt x="356536" y="1800325"/>
                  <a:pt x="412536" y="1809285"/>
                  <a:pt x="468056" y="1821445"/>
                </a:cubicBezTo>
                <a:cubicBezTo>
                  <a:pt x="491896" y="1826725"/>
                  <a:pt x="515576" y="1836005"/>
                  <a:pt x="539736" y="1839205"/>
                </a:cubicBezTo>
                <a:cubicBezTo>
                  <a:pt x="569017" y="1843045"/>
                  <a:pt x="598136" y="1846885"/>
                  <a:pt x="627416" y="1850725"/>
                </a:cubicBezTo>
                <a:cubicBezTo>
                  <a:pt x="679256" y="1857445"/>
                  <a:pt x="729017" y="1862085"/>
                  <a:pt x="781176" y="1857285"/>
                </a:cubicBezTo>
                <a:cubicBezTo>
                  <a:pt x="832216" y="1852645"/>
                  <a:pt x="884376" y="1847685"/>
                  <a:pt x="933497" y="1832325"/>
                </a:cubicBezTo>
                <a:cubicBezTo>
                  <a:pt x="955096" y="1825605"/>
                  <a:pt x="978457" y="1818405"/>
                  <a:pt x="1001017" y="1816325"/>
                </a:cubicBezTo>
                <a:cubicBezTo>
                  <a:pt x="1026616" y="1813925"/>
                  <a:pt x="1052056" y="1805125"/>
                  <a:pt x="1077017" y="1798885"/>
                </a:cubicBezTo>
                <a:cubicBezTo>
                  <a:pt x="1100856" y="1792965"/>
                  <a:pt x="1123576" y="1784005"/>
                  <a:pt x="1147096" y="1777605"/>
                </a:cubicBezTo>
                <a:cubicBezTo>
                  <a:pt x="1170296" y="1771205"/>
                  <a:pt x="1192056" y="1760325"/>
                  <a:pt x="1212696" y="1748165"/>
                </a:cubicBezTo>
                <a:cubicBezTo>
                  <a:pt x="1228536" y="1738885"/>
                  <a:pt x="1244696" y="1730725"/>
                  <a:pt x="1260696" y="1722245"/>
                </a:cubicBezTo>
                <a:cubicBezTo>
                  <a:pt x="1262616" y="1718565"/>
                  <a:pt x="1264696" y="1714725"/>
                  <a:pt x="1266616" y="1711045"/>
                </a:cubicBezTo>
                <a:cubicBezTo>
                  <a:pt x="1267097" y="1710725"/>
                  <a:pt x="1267576" y="1710565"/>
                  <a:pt x="1268057" y="1710245"/>
                </a:cubicBezTo>
                <a:cubicBezTo>
                  <a:pt x="1271897" y="1708005"/>
                  <a:pt x="1275416" y="1705445"/>
                  <a:pt x="1279097" y="1702885"/>
                </a:cubicBezTo>
                <a:cubicBezTo>
                  <a:pt x="1268536" y="1713925"/>
                  <a:pt x="1258296" y="1724965"/>
                  <a:pt x="1248376" y="1736485"/>
                </a:cubicBezTo>
                <a:cubicBezTo>
                  <a:pt x="1233336" y="1754245"/>
                  <a:pt x="1220536" y="1773285"/>
                  <a:pt x="1211256" y="1794565"/>
                </a:cubicBezTo>
                <a:cubicBezTo>
                  <a:pt x="1201656" y="1816805"/>
                  <a:pt x="1183096" y="1833925"/>
                  <a:pt x="1171417" y="1854885"/>
                </a:cubicBezTo>
                <a:cubicBezTo>
                  <a:pt x="1145497" y="1901445"/>
                  <a:pt x="1121497" y="1948485"/>
                  <a:pt x="1097176" y="1995845"/>
                </a:cubicBezTo>
                <a:cubicBezTo>
                  <a:pt x="1072696" y="2043685"/>
                  <a:pt x="1055096" y="2090405"/>
                  <a:pt x="1042296" y="2142565"/>
                </a:cubicBezTo>
                <a:cubicBezTo>
                  <a:pt x="1036056" y="2167845"/>
                  <a:pt x="1029497" y="2192965"/>
                  <a:pt x="1024056" y="2218565"/>
                </a:cubicBezTo>
                <a:cubicBezTo>
                  <a:pt x="1019096" y="2241925"/>
                  <a:pt x="1013176" y="2268165"/>
                  <a:pt x="1014937" y="2292165"/>
                </a:cubicBezTo>
                <a:cubicBezTo>
                  <a:pt x="1016536" y="2313285"/>
                  <a:pt x="1018616" y="2333925"/>
                  <a:pt x="1025497" y="2354085"/>
                </a:cubicBezTo>
                <a:cubicBezTo>
                  <a:pt x="1029336" y="2365605"/>
                  <a:pt x="1035256" y="2376005"/>
                  <a:pt x="1034616" y="2388645"/>
                </a:cubicBezTo>
                <a:cubicBezTo>
                  <a:pt x="1033977" y="2401605"/>
                  <a:pt x="1027736" y="2410885"/>
                  <a:pt x="1030457" y="2424485"/>
                </a:cubicBezTo>
                <a:cubicBezTo>
                  <a:pt x="1031736" y="2430565"/>
                  <a:pt x="1036056" y="2435685"/>
                  <a:pt x="1042616" y="2436485"/>
                </a:cubicBezTo>
                <a:cubicBezTo>
                  <a:pt x="1065656" y="2439045"/>
                  <a:pt x="1087897" y="2437605"/>
                  <a:pt x="1110616" y="2432965"/>
                </a:cubicBezTo>
                <a:cubicBezTo>
                  <a:pt x="1136056" y="2427685"/>
                  <a:pt x="1162457" y="2429605"/>
                  <a:pt x="1188376" y="2427365"/>
                </a:cubicBezTo>
                <a:cubicBezTo>
                  <a:pt x="1237177" y="2423205"/>
                  <a:pt x="1277496" y="2403685"/>
                  <a:pt x="1319897" y="2380965"/>
                </a:cubicBezTo>
                <a:cubicBezTo>
                  <a:pt x="1341496" y="2369445"/>
                  <a:pt x="1364376" y="2360645"/>
                  <a:pt x="1385656" y="2348325"/>
                </a:cubicBezTo>
                <a:cubicBezTo>
                  <a:pt x="1407576" y="2335685"/>
                  <a:pt x="1428217" y="2321285"/>
                  <a:pt x="1448217" y="2305765"/>
                </a:cubicBezTo>
                <a:cubicBezTo>
                  <a:pt x="1490937" y="2272645"/>
                  <a:pt x="1531097" y="2236165"/>
                  <a:pt x="1569177" y="2197925"/>
                </a:cubicBezTo>
                <a:cubicBezTo>
                  <a:pt x="1607416" y="2159525"/>
                  <a:pt x="1645017" y="2119205"/>
                  <a:pt x="1677656" y="2075845"/>
                </a:cubicBezTo>
                <a:cubicBezTo>
                  <a:pt x="1685017" y="2066085"/>
                  <a:pt x="1692057" y="2056325"/>
                  <a:pt x="1699097" y="2046405"/>
                </a:cubicBezTo>
                <a:cubicBezTo>
                  <a:pt x="1699576" y="2050085"/>
                  <a:pt x="1700217" y="2053925"/>
                  <a:pt x="1701017" y="2057605"/>
                </a:cubicBezTo>
                <a:cubicBezTo>
                  <a:pt x="1702616" y="2066245"/>
                  <a:pt x="1704217" y="2074885"/>
                  <a:pt x="1705816" y="2083525"/>
                </a:cubicBezTo>
                <a:cubicBezTo>
                  <a:pt x="1705177" y="2100645"/>
                  <a:pt x="1704536" y="2117925"/>
                  <a:pt x="1704696" y="2135205"/>
                </a:cubicBezTo>
                <a:cubicBezTo>
                  <a:pt x="1704856" y="2156005"/>
                  <a:pt x="1705336" y="2176645"/>
                  <a:pt x="1706776" y="2197285"/>
                </a:cubicBezTo>
                <a:cubicBezTo>
                  <a:pt x="1708217" y="2218085"/>
                  <a:pt x="1706776" y="2238725"/>
                  <a:pt x="1707736" y="2259525"/>
                </a:cubicBezTo>
                <a:cubicBezTo>
                  <a:pt x="1708696" y="2279845"/>
                  <a:pt x="1708536" y="2298085"/>
                  <a:pt x="1705977" y="2318405"/>
                </a:cubicBezTo>
                <a:cubicBezTo>
                  <a:pt x="1703257" y="2338885"/>
                  <a:pt x="1700376" y="2358885"/>
                  <a:pt x="1700376" y="2379525"/>
                </a:cubicBezTo>
                <a:cubicBezTo>
                  <a:pt x="1700376" y="2423685"/>
                  <a:pt x="1702296" y="2467845"/>
                  <a:pt x="1697177" y="2511685"/>
                </a:cubicBezTo>
                <a:cubicBezTo>
                  <a:pt x="1686616" y="2600325"/>
                  <a:pt x="1679416" y="2689125"/>
                  <a:pt x="1668376" y="2777765"/>
                </a:cubicBezTo>
                <a:cubicBezTo>
                  <a:pt x="1663576" y="2816165"/>
                  <a:pt x="1654296" y="2855845"/>
                  <a:pt x="1644536" y="2893445"/>
                </a:cubicBezTo>
                <a:cubicBezTo>
                  <a:pt x="1636696" y="2923205"/>
                  <a:pt x="1634456" y="2952325"/>
                  <a:pt x="1617816" y="2978085"/>
                </a:cubicBezTo>
                <a:cubicBezTo>
                  <a:pt x="1613656" y="2979525"/>
                  <a:pt x="1610137" y="2983045"/>
                  <a:pt x="1609017" y="2988965"/>
                </a:cubicBezTo>
                <a:cubicBezTo>
                  <a:pt x="1608696" y="2990725"/>
                  <a:pt x="1608376" y="2992485"/>
                  <a:pt x="1608057" y="2994245"/>
                </a:cubicBezTo>
                <a:cubicBezTo>
                  <a:pt x="1605496" y="3009605"/>
                  <a:pt x="1624376" y="3013925"/>
                  <a:pt x="1633496" y="3004805"/>
                </a:cubicBezTo>
                <a:cubicBezTo>
                  <a:pt x="1654616" y="2983365"/>
                  <a:pt x="1664057" y="2949605"/>
                  <a:pt x="1668217" y="2920645"/>
                </a:cubicBezTo>
                <a:cubicBezTo>
                  <a:pt x="1670937" y="2900965"/>
                  <a:pt x="1677977" y="2882245"/>
                  <a:pt x="1681017" y="2862565"/>
                </a:cubicBezTo>
                <a:cubicBezTo>
                  <a:pt x="1684217" y="2841925"/>
                  <a:pt x="1689816" y="2821925"/>
                  <a:pt x="1693816" y="2801445"/>
                </a:cubicBezTo>
                <a:cubicBezTo>
                  <a:pt x="1702937" y="2756165"/>
                  <a:pt x="1705017" y="2708485"/>
                  <a:pt x="1709496" y="2662565"/>
                </a:cubicBezTo>
                <a:cubicBezTo>
                  <a:pt x="1714137" y="2615845"/>
                  <a:pt x="1718616" y="2569125"/>
                  <a:pt x="1724376" y="2522565"/>
                </a:cubicBezTo>
                <a:cubicBezTo>
                  <a:pt x="1729656" y="2479365"/>
                  <a:pt x="1728696" y="2436165"/>
                  <a:pt x="1728057" y="2392645"/>
                </a:cubicBezTo>
                <a:cubicBezTo>
                  <a:pt x="1727416" y="2350885"/>
                  <a:pt x="1739416" y="2309605"/>
                  <a:pt x="1735576" y="2268005"/>
                </a:cubicBezTo>
                <a:cubicBezTo>
                  <a:pt x="1733656" y="2247845"/>
                  <a:pt x="1736856" y="2227525"/>
                  <a:pt x="1734456" y="2207685"/>
                </a:cubicBezTo>
                <a:cubicBezTo>
                  <a:pt x="1731736" y="2184805"/>
                  <a:pt x="1730616" y="2161765"/>
                  <a:pt x="1729816" y="2138725"/>
                </a:cubicBezTo>
                <a:cubicBezTo>
                  <a:pt x="1728536" y="2097445"/>
                  <a:pt x="1730776" y="2054405"/>
                  <a:pt x="1722937" y="2013765"/>
                </a:cubicBezTo>
                <a:cubicBezTo>
                  <a:pt x="1722937" y="2013445"/>
                  <a:pt x="1722776" y="2013125"/>
                  <a:pt x="1722616" y="2012805"/>
                </a:cubicBezTo>
                <a:cubicBezTo>
                  <a:pt x="1738616" y="1989605"/>
                  <a:pt x="1754456" y="1966085"/>
                  <a:pt x="1771097" y="1943205"/>
                </a:cubicBezTo>
                <a:cubicBezTo>
                  <a:pt x="1780217" y="1930565"/>
                  <a:pt x="1789017" y="1917765"/>
                  <a:pt x="1797336" y="1904645"/>
                </a:cubicBezTo>
                <a:cubicBezTo>
                  <a:pt x="1797656" y="1910245"/>
                  <a:pt x="1797977" y="1915845"/>
                  <a:pt x="1798296" y="1921445"/>
                </a:cubicBezTo>
                <a:cubicBezTo>
                  <a:pt x="1799416" y="1946085"/>
                  <a:pt x="1799416" y="1970565"/>
                  <a:pt x="1800696" y="1995205"/>
                </a:cubicBezTo>
                <a:cubicBezTo>
                  <a:pt x="1803257" y="2044325"/>
                  <a:pt x="1804856" y="2093605"/>
                  <a:pt x="1806296" y="2142725"/>
                </a:cubicBezTo>
                <a:cubicBezTo>
                  <a:pt x="1807736" y="2188005"/>
                  <a:pt x="1806296" y="2233125"/>
                  <a:pt x="1806616" y="2278245"/>
                </a:cubicBezTo>
                <a:cubicBezTo>
                  <a:pt x="1806776" y="2303045"/>
                  <a:pt x="1807576" y="2327845"/>
                  <a:pt x="1806937" y="2352805"/>
                </a:cubicBezTo>
                <a:cubicBezTo>
                  <a:pt x="1806296" y="2377285"/>
                  <a:pt x="1802776" y="2401445"/>
                  <a:pt x="1800856" y="2425765"/>
                </a:cubicBezTo>
                <a:cubicBezTo>
                  <a:pt x="1799257" y="2447205"/>
                  <a:pt x="1798616" y="2468805"/>
                  <a:pt x="1796536" y="2490085"/>
                </a:cubicBezTo>
                <a:cubicBezTo>
                  <a:pt x="1793977" y="2515365"/>
                  <a:pt x="1785977" y="2539045"/>
                  <a:pt x="1781336" y="2563845"/>
                </a:cubicBezTo>
                <a:cubicBezTo>
                  <a:pt x="1771897" y="2612645"/>
                  <a:pt x="1773977" y="2662565"/>
                  <a:pt x="1762937" y="2711365"/>
                </a:cubicBezTo>
                <a:cubicBezTo>
                  <a:pt x="1752536" y="2757285"/>
                  <a:pt x="1746137" y="2803845"/>
                  <a:pt x="1736696" y="2849925"/>
                </a:cubicBezTo>
                <a:cubicBezTo>
                  <a:pt x="1731897" y="2873445"/>
                  <a:pt x="1727257" y="2896005"/>
                  <a:pt x="1717496" y="2918085"/>
                </a:cubicBezTo>
                <a:cubicBezTo>
                  <a:pt x="1713977" y="2926085"/>
                  <a:pt x="1713977" y="2934245"/>
                  <a:pt x="1711097" y="2942405"/>
                </a:cubicBezTo>
                <a:cubicBezTo>
                  <a:pt x="1709656" y="2946405"/>
                  <a:pt x="1706137" y="2947685"/>
                  <a:pt x="1705496" y="2952485"/>
                </a:cubicBezTo>
                <a:cubicBezTo>
                  <a:pt x="1705017" y="2956005"/>
                  <a:pt x="1704696" y="2959685"/>
                  <a:pt x="1704536" y="2963205"/>
                </a:cubicBezTo>
                <a:cubicBezTo>
                  <a:pt x="1702776" y="2972485"/>
                  <a:pt x="1709496" y="2977765"/>
                  <a:pt x="1716696" y="2978405"/>
                </a:cubicBezTo>
                <a:cubicBezTo>
                  <a:pt x="1723897" y="2979685"/>
                  <a:pt x="1731736" y="2976165"/>
                  <a:pt x="1732376" y="2966885"/>
                </a:cubicBezTo>
                <a:cubicBezTo>
                  <a:pt x="1733496" y="2960805"/>
                  <a:pt x="1734776" y="2959045"/>
                  <a:pt x="1737656" y="2953445"/>
                </a:cubicBezTo>
                <a:cubicBezTo>
                  <a:pt x="1741656" y="2946085"/>
                  <a:pt x="1740376" y="2936645"/>
                  <a:pt x="1744057" y="2929125"/>
                </a:cubicBezTo>
                <a:cubicBezTo>
                  <a:pt x="1753496" y="2908805"/>
                  <a:pt x="1757496" y="2888005"/>
                  <a:pt x="1762456" y="2866405"/>
                </a:cubicBezTo>
                <a:cubicBezTo>
                  <a:pt x="1773336" y="2818405"/>
                  <a:pt x="1779897" y="2769445"/>
                  <a:pt x="1790137" y="2721285"/>
                </a:cubicBezTo>
                <a:cubicBezTo>
                  <a:pt x="1800376" y="2672645"/>
                  <a:pt x="1801336" y="2623525"/>
                  <a:pt x="1808856" y="2574405"/>
                </a:cubicBezTo>
                <a:cubicBezTo>
                  <a:pt x="1812696" y="2549285"/>
                  <a:pt x="1821177" y="2525445"/>
                  <a:pt x="1824536" y="2500325"/>
                </a:cubicBezTo>
                <a:cubicBezTo>
                  <a:pt x="1827576" y="2476805"/>
                  <a:pt x="1828057" y="2452965"/>
                  <a:pt x="1829496" y="2429445"/>
                </a:cubicBezTo>
                <a:cubicBezTo>
                  <a:pt x="1832536" y="2383845"/>
                  <a:pt x="1836057" y="2339525"/>
                  <a:pt x="1835097" y="2293605"/>
                </a:cubicBezTo>
                <a:cubicBezTo>
                  <a:pt x="1834137" y="2246405"/>
                  <a:pt x="1836057" y="2199205"/>
                  <a:pt x="1834456" y="2152005"/>
                </a:cubicBezTo>
                <a:cubicBezTo>
                  <a:pt x="1832856" y="2102885"/>
                  <a:pt x="1831736" y="2053445"/>
                  <a:pt x="1827897" y="2004325"/>
                </a:cubicBezTo>
                <a:cubicBezTo>
                  <a:pt x="1824376" y="1960485"/>
                  <a:pt x="1825177" y="1914565"/>
                  <a:pt x="1817336" y="1871045"/>
                </a:cubicBezTo>
                <a:cubicBezTo>
                  <a:pt x="1827736" y="1849765"/>
                  <a:pt x="1832376" y="1828805"/>
                  <a:pt x="1835576" y="1804485"/>
                </a:cubicBezTo>
                <a:cubicBezTo>
                  <a:pt x="1836856" y="1794885"/>
                  <a:pt x="1838937" y="1785445"/>
                  <a:pt x="1841177" y="1776165"/>
                </a:cubicBezTo>
                <a:cubicBezTo>
                  <a:pt x="1846137" y="1782725"/>
                  <a:pt x="1851576" y="1789125"/>
                  <a:pt x="1857816" y="1795205"/>
                </a:cubicBezTo>
                <a:cubicBezTo>
                  <a:pt x="1871576" y="1808645"/>
                  <a:pt x="1889977" y="1815845"/>
                  <a:pt x="1906456" y="1825445"/>
                </a:cubicBezTo>
                <a:cubicBezTo>
                  <a:pt x="1940376" y="1845445"/>
                  <a:pt x="1983897" y="1855525"/>
                  <a:pt x="2022616" y="1861285"/>
                </a:cubicBezTo>
                <a:cubicBezTo>
                  <a:pt x="2066616" y="1867685"/>
                  <a:pt x="2111736" y="1863685"/>
                  <a:pt x="2155897" y="1868005"/>
                </a:cubicBezTo>
                <a:cubicBezTo>
                  <a:pt x="2196217" y="1872005"/>
                  <a:pt x="2239097" y="1873605"/>
                  <a:pt x="2275257" y="1893605"/>
                </a:cubicBezTo>
                <a:cubicBezTo>
                  <a:pt x="2284217" y="1898565"/>
                  <a:pt x="2296857" y="1888485"/>
                  <a:pt x="2294616" y="1878725"/>
                </a:cubicBezTo>
                <a:cubicBezTo>
                  <a:pt x="2287257" y="1847685"/>
                  <a:pt x="2268857" y="1822405"/>
                  <a:pt x="2254296" y="1794565"/>
                </a:cubicBezTo>
                <a:cubicBezTo>
                  <a:pt x="2239097" y="1765605"/>
                  <a:pt x="2233977" y="1732485"/>
                  <a:pt x="2217656" y="1703685"/>
                </a:cubicBezTo>
                <a:cubicBezTo>
                  <a:pt x="2200857" y="1674085"/>
                  <a:pt x="2192057" y="1641125"/>
                  <a:pt x="2173496" y="1612325"/>
                </a:cubicBezTo>
                <a:cubicBezTo>
                  <a:pt x="2169017" y="1605285"/>
                  <a:pt x="2163416" y="1599525"/>
                  <a:pt x="2157656" y="1593765"/>
                </a:cubicBezTo>
                <a:cubicBezTo>
                  <a:pt x="2227897" y="1609445"/>
                  <a:pt x="2300376" y="1616965"/>
                  <a:pt x="2371097" y="1617125"/>
                </a:cubicBezTo>
                <a:cubicBezTo>
                  <a:pt x="2476696" y="1617445"/>
                  <a:pt x="2580376" y="1602085"/>
                  <a:pt x="2677656" y="1560165"/>
                </a:cubicBezTo>
                <a:cubicBezTo>
                  <a:pt x="2721177" y="1541445"/>
                  <a:pt x="2761816" y="1517605"/>
                  <a:pt x="2794776" y="1483205"/>
                </a:cubicBezTo>
                <a:cubicBezTo>
                  <a:pt x="2810616" y="1466565"/>
                  <a:pt x="2823736" y="1447845"/>
                  <a:pt x="2838937" y="1430565"/>
                </a:cubicBezTo>
                <a:cubicBezTo>
                  <a:pt x="2846296" y="1422245"/>
                  <a:pt x="2851736" y="1412005"/>
                  <a:pt x="2857336" y="1402565"/>
                </a:cubicBezTo>
                <a:cubicBezTo>
                  <a:pt x="2865336" y="1388805"/>
                  <a:pt x="2875416" y="1378885"/>
                  <a:pt x="2886776" y="1368005"/>
                </a:cubicBezTo>
                <a:cubicBezTo>
                  <a:pt x="2922937" y="1333285"/>
                  <a:pt x="2948696" y="1287525"/>
                  <a:pt x="2974456" y="1244805"/>
                </a:cubicBezTo>
                <a:cubicBezTo>
                  <a:pt x="3001336" y="1200005"/>
                  <a:pt x="3026137" y="1153285"/>
                  <a:pt x="3044857" y="1104485"/>
                </a:cubicBezTo>
                <a:cubicBezTo>
                  <a:pt x="3053977" y="1080805"/>
                  <a:pt x="3060857" y="1056165"/>
                  <a:pt x="3066137" y="1031205"/>
                </a:cubicBezTo>
                <a:cubicBezTo>
                  <a:pt x="3071416" y="1004965"/>
                  <a:pt x="3067416" y="978885"/>
                  <a:pt x="3070456" y="953445"/>
                </a:cubicBezTo>
                <a:close/>
                <a:moveTo>
                  <a:pt x="3032536" y="945445"/>
                </a:moveTo>
                <a:cubicBezTo>
                  <a:pt x="3031576" y="947685"/>
                  <a:pt x="3030616" y="949765"/>
                  <a:pt x="3030137" y="951045"/>
                </a:cubicBezTo>
                <a:cubicBezTo>
                  <a:pt x="3025816" y="961765"/>
                  <a:pt x="3021336" y="971845"/>
                  <a:pt x="3015736" y="982085"/>
                </a:cubicBezTo>
                <a:cubicBezTo>
                  <a:pt x="3001977" y="1007205"/>
                  <a:pt x="2989017" y="1032805"/>
                  <a:pt x="2974296" y="1057445"/>
                </a:cubicBezTo>
                <a:cubicBezTo>
                  <a:pt x="2946776" y="1103845"/>
                  <a:pt x="2912857" y="1144485"/>
                  <a:pt x="2880217" y="1187205"/>
                </a:cubicBezTo>
                <a:cubicBezTo>
                  <a:pt x="2847416" y="1230245"/>
                  <a:pt x="2803257" y="1264645"/>
                  <a:pt x="2762776" y="1300005"/>
                </a:cubicBezTo>
                <a:cubicBezTo>
                  <a:pt x="2722937" y="1334725"/>
                  <a:pt x="2679736" y="1366725"/>
                  <a:pt x="2629496" y="1384965"/>
                </a:cubicBezTo>
                <a:cubicBezTo>
                  <a:pt x="2605816" y="1393605"/>
                  <a:pt x="2581017" y="1398245"/>
                  <a:pt x="2557017" y="1405765"/>
                </a:cubicBezTo>
                <a:cubicBezTo>
                  <a:pt x="2530456" y="1414245"/>
                  <a:pt x="2503897" y="1423365"/>
                  <a:pt x="2477177" y="1431685"/>
                </a:cubicBezTo>
                <a:cubicBezTo>
                  <a:pt x="2425017" y="1447685"/>
                  <a:pt x="2366937" y="1444965"/>
                  <a:pt x="2313177" y="1443845"/>
                </a:cubicBezTo>
                <a:cubicBezTo>
                  <a:pt x="2256536" y="1442725"/>
                  <a:pt x="2199897" y="1437925"/>
                  <a:pt x="2143576" y="1431525"/>
                </a:cubicBezTo>
                <a:cubicBezTo>
                  <a:pt x="2086616" y="1425125"/>
                  <a:pt x="2029177" y="1419205"/>
                  <a:pt x="1972696" y="1409765"/>
                </a:cubicBezTo>
                <a:cubicBezTo>
                  <a:pt x="1944057" y="1404965"/>
                  <a:pt x="1915897" y="1398245"/>
                  <a:pt x="1887257" y="1393605"/>
                </a:cubicBezTo>
                <a:cubicBezTo>
                  <a:pt x="1870296" y="1390885"/>
                  <a:pt x="1853496" y="1385925"/>
                  <a:pt x="1836536" y="1382725"/>
                </a:cubicBezTo>
                <a:cubicBezTo>
                  <a:pt x="1837336" y="1382245"/>
                  <a:pt x="1837977" y="1381765"/>
                  <a:pt x="1838616" y="1381285"/>
                </a:cubicBezTo>
                <a:cubicBezTo>
                  <a:pt x="1845816" y="1381285"/>
                  <a:pt x="1853017" y="1380165"/>
                  <a:pt x="1860057" y="1378725"/>
                </a:cubicBezTo>
                <a:cubicBezTo>
                  <a:pt x="1875736" y="1380165"/>
                  <a:pt x="1891097" y="1373925"/>
                  <a:pt x="1907097" y="1374245"/>
                </a:cubicBezTo>
                <a:cubicBezTo>
                  <a:pt x="1930616" y="1374725"/>
                  <a:pt x="1953656" y="1377445"/>
                  <a:pt x="1977336" y="1375685"/>
                </a:cubicBezTo>
                <a:cubicBezTo>
                  <a:pt x="2032856" y="1371365"/>
                  <a:pt x="2087897" y="1373605"/>
                  <a:pt x="2142616" y="1383045"/>
                </a:cubicBezTo>
                <a:cubicBezTo>
                  <a:pt x="2169336" y="1387685"/>
                  <a:pt x="2195897" y="1392645"/>
                  <a:pt x="2222776" y="1395205"/>
                </a:cubicBezTo>
                <a:cubicBezTo>
                  <a:pt x="2252376" y="1397925"/>
                  <a:pt x="2282456" y="1397125"/>
                  <a:pt x="2312217" y="1397285"/>
                </a:cubicBezTo>
                <a:cubicBezTo>
                  <a:pt x="2366776" y="1397605"/>
                  <a:pt x="2421177" y="1396805"/>
                  <a:pt x="2475097" y="1388485"/>
                </a:cubicBezTo>
                <a:cubicBezTo>
                  <a:pt x="2528376" y="1380485"/>
                  <a:pt x="2577656" y="1357925"/>
                  <a:pt x="2625496" y="1334085"/>
                </a:cubicBezTo>
                <a:cubicBezTo>
                  <a:pt x="2672536" y="1310725"/>
                  <a:pt x="2713017" y="1275365"/>
                  <a:pt x="2754296" y="1243365"/>
                </a:cubicBezTo>
                <a:cubicBezTo>
                  <a:pt x="2793656" y="1212805"/>
                  <a:pt x="2827576" y="1175685"/>
                  <a:pt x="2863897" y="1141605"/>
                </a:cubicBezTo>
                <a:cubicBezTo>
                  <a:pt x="2899257" y="1108165"/>
                  <a:pt x="2928536" y="1067365"/>
                  <a:pt x="2960376" y="1030725"/>
                </a:cubicBezTo>
                <a:cubicBezTo>
                  <a:pt x="2985177" y="1002565"/>
                  <a:pt x="3009336" y="974405"/>
                  <a:pt x="3032536" y="945445"/>
                </a:cubicBezTo>
                <a:close/>
                <a:moveTo>
                  <a:pt x="1798776" y="1327845"/>
                </a:moveTo>
                <a:cubicBezTo>
                  <a:pt x="1802616" y="1291205"/>
                  <a:pt x="1801977" y="1254565"/>
                  <a:pt x="1800217" y="1217925"/>
                </a:cubicBezTo>
                <a:cubicBezTo>
                  <a:pt x="1799257" y="1198405"/>
                  <a:pt x="1797017" y="1179045"/>
                  <a:pt x="1795416" y="1159525"/>
                </a:cubicBezTo>
                <a:cubicBezTo>
                  <a:pt x="1793816" y="1140165"/>
                  <a:pt x="1795097" y="1120805"/>
                  <a:pt x="1793177" y="1101445"/>
                </a:cubicBezTo>
                <a:cubicBezTo>
                  <a:pt x="1789336" y="1062885"/>
                  <a:pt x="1786296" y="1024325"/>
                  <a:pt x="1778776" y="986245"/>
                </a:cubicBezTo>
                <a:cubicBezTo>
                  <a:pt x="1771416" y="949285"/>
                  <a:pt x="1761496" y="913445"/>
                  <a:pt x="1747576" y="878405"/>
                </a:cubicBezTo>
                <a:cubicBezTo>
                  <a:pt x="1740536" y="860645"/>
                  <a:pt x="1731257" y="844005"/>
                  <a:pt x="1723736" y="826565"/>
                </a:cubicBezTo>
                <a:cubicBezTo>
                  <a:pt x="1715897" y="808805"/>
                  <a:pt x="1709496" y="790245"/>
                  <a:pt x="1700376" y="772965"/>
                </a:cubicBezTo>
                <a:cubicBezTo>
                  <a:pt x="1683257" y="740965"/>
                  <a:pt x="1669656" y="709125"/>
                  <a:pt x="1648217" y="679525"/>
                </a:cubicBezTo>
                <a:cubicBezTo>
                  <a:pt x="1637656" y="664965"/>
                  <a:pt x="1625816" y="650565"/>
                  <a:pt x="1611897" y="639525"/>
                </a:cubicBezTo>
                <a:cubicBezTo>
                  <a:pt x="1650456" y="648965"/>
                  <a:pt x="1688856" y="659045"/>
                  <a:pt x="1727257" y="668325"/>
                </a:cubicBezTo>
                <a:cubicBezTo>
                  <a:pt x="1728536" y="668645"/>
                  <a:pt x="1729656" y="668965"/>
                  <a:pt x="1730937" y="669285"/>
                </a:cubicBezTo>
                <a:cubicBezTo>
                  <a:pt x="1738776" y="675205"/>
                  <a:pt x="1747416" y="680325"/>
                  <a:pt x="1753656" y="684645"/>
                </a:cubicBezTo>
                <a:cubicBezTo>
                  <a:pt x="1781496" y="704325"/>
                  <a:pt x="1806937" y="730725"/>
                  <a:pt x="1829977" y="755845"/>
                </a:cubicBezTo>
                <a:cubicBezTo>
                  <a:pt x="1875416" y="805605"/>
                  <a:pt x="1899576" y="871525"/>
                  <a:pt x="1920217" y="934565"/>
                </a:cubicBezTo>
                <a:cubicBezTo>
                  <a:pt x="1930937" y="967205"/>
                  <a:pt x="1932856" y="1001125"/>
                  <a:pt x="1935736" y="1035045"/>
                </a:cubicBezTo>
                <a:cubicBezTo>
                  <a:pt x="1937017" y="1051365"/>
                  <a:pt x="1939416" y="1067685"/>
                  <a:pt x="1940536" y="1084005"/>
                </a:cubicBezTo>
                <a:cubicBezTo>
                  <a:pt x="1941656" y="1102085"/>
                  <a:pt x="1939097" y="1120645"/>
                  <a:pt x="1937177" y="1138565"/>
                </a:cubicBezTo>
                <a:cubicBezTo>
                  <a:pt x="1933656" y="1172165"/>
                  <a:pt x="1928856" y="1205605"/>
                  <a:pt x="1924536" y="1239045"/>
                </a:cubicBezTo>
                <a:cubicBezTo>
                  <a:pt x="1922776" y="1252965"/>
                  <a:pt x="1918296" y="1267845"/>
                  <a:pt x="1913816" y="1281125"/>
                </a:cubicBezTo>
                <a:cubicBezTo>
                  <a:pt x="1911257" y="1288645"/>
                  <a:pt x="1905977" y="1295365"/>
                  <a:pt x="1900217" y="1301765"/>
                </a:cubicBezTo>
                <a:cubicBezTo>
                  <a:pt x="1873977" y="1323845"/>
                  <a:pt x="1843736" y="1342085"/>
                  <a:pt x="1815576" y="1360165"/>
                </a:cubicBezTo>
                <a:cubicBezTo>
                  <a:pt x="1810776" y="1363205"/>
                  <a:pt x="1805977" y="1366245"/>
                  <a:pt x="1801177" y="1369125"/>
                </a:cubicBezTo>
                <a:cubicBezTo>
                  <a:pt x="1798137" y="1370245"/>
                  <a:pt x="1794937" y="1371525"/>
                  <a:pt x="1791897" y="1372805"/>
                </a:cubicBezTo>
                <a:cubicBezTo>
                  <a:pt x="1793177" y="1368645"/>
                  <a:pt x="1794456" y="1364485"/>
                  <a:pt x="1795097" y="1360005"/>
                </a:cubicBezTo>
                <a:cubicBezTo>
                  <a:pt x="1796057" y="1349605"/>
                  <a:pt x="1797496" y="1338725"/>
                  <a:pt x="1798776" y="1327845"/>
                </a:cubicBezTo>
                <a:close/>
                <a:moveTo>
                  <a:pt x="1474456" y="1366885"/>
                </a:moveTo>
                <a:cubicBezTo>
                  <a:pt x="1442937" y="1348965"/>
                  <a:pt x="1414456" y="1325925"/>
                  <a:pt x="1389496" y="1299685"/>
                </a:cubicBezTo>
                <a:cubicBezTo>
                  <a:pt x="1365177" y="1274085"/>
                  <a:pt x="1339097" y="1253765"/>
                  <a:pt x="1322296" y="1221925"/>
                </a:cubicBezTo>
                <a:cubicBezTo>
                  <a:pt x="1306296" y="1191205"/>
                  <a:pt x="1288217" y="1162565"/>
                  <a:pt x="1276217" y="1129925"/>
                </a:cubicBezTo>
                <a:cubicBezTo>
                  <a:pt x="1263576" y="1095365"/>
                  <a:pt x="1265656" y="1057605"/>
                  <a:pt x="1261336" y="1021445"/>
                </a:cubicBezTo>
                <a:cubicBezTo>
                  <a:pt x="1256536" y="982085"/>
                  <a:pt x="1250137" y="943365"/>
                  <a:pt x="1255257" y="903685"/>
                </a:cubicBezTo>
                <a:cubicBezTo>
                  <a:pt x="1259897" y="867525"/>
                  <a:pt x="1271897" y="832965"/>
                  <a:pt x="1282937" y="798565"/>
                </a:cubicBezTo>
                <a:cubicBezTo>
                  <a:pt x="1288217" y="781925"/>
                  <a:pt x="1294937" y="765605"/>
                  <a:pt x="1301656" y="749605"/>
                </a:cubicBezTo>
                <a:cubicBezTo>
                  <a:pt x="1303257" y="745925"/>
                  <a:pt x="1304856" y="742245"/>
                  <a:pt x="1306456" y="738725"/>
                </a:cubicBezTo>
                <a:cubicBezTo>
                  <a:pt x="1319897" y="727205"/>
                  <a:pt x="1332536" y="714565"/>
                  <a:pt x="1344696" y="701765"/>
                </a:cubicBezTo>
                <a:cubicBezTo>
                  <a:pt x="1356217" y="689765"/>
                  <a:pt x="1366776" y="676805"/>
                  <a:pt x="1377336" y="664005"/>
                </a:cubicBezTo>
                <a:cubicBezTo>
                  <a:pt x="1379736" y="664485"/>
                  <a:pt x="1382456" y="664005"/>
                  <a:pt x="1384376" y="661605"/>
                </a:cubicBezTo>
                <a:cubicBezTo>
                  <a:pt x="1393017" y="650405"/>
                  <a:pt x="1403416" y="640645"/>
                  <a:pt x="1413336" y="630565"/>
                </a:cubicBezTo>
                <a:cubicBezTo>
                  <a:pt x="1409017" y="640965"/>
                  <a:pt x="1404376" y="651365"/>
                  <a:pt x="1401656" y="662405"/>
                </a:cubicBezTo>
                <a:cubicBezTo>
                  <a:pt x="1390616" y="707045"/>
                  <a:pt x="1383736" y="751845"/>
                  <a:pt x="1378296" y="797445"/>
                </a:cubicBezTo>
                <a:cubicBezTo>
                  <a:pt x="1372696" y="844325"/>
                  <a:pt x="1374296" y="889925"/>
                  <a:pt x="1377977" y="936965"/>
                </a:cubicBezTo>
                <a:cubicBezTo>
                  <a:pt x="1381816" y="985605"/>
                  <a:pt x="1377496" y="1034085"/>
                  <a:pt x="1387897" y="1082405"/>
                </a:cubicBezTo>
                <a:cubicBezTo>
                  <a:pt x="1396856" y="1123845"/>
                  <a:pt x="1415897" y="1162565"/>
                  <a:pt x="1435257" y="1199845"/>
                </a:cubicBezTo>
                <a:cubicBezTo>
                  <a:pt x="1444376" y="1217445"/>
                  <a:pt x="1454296" y="1235045"/>
                  <a:pt x="1464696" y="1252005"/>
                </a:cubicBezTo>
                <a:cubicBezTo>
                  <a:pt x="1476376" y="1270885"/>
                  <a:pt x="1492376" y="1286405"/>
                  <a:pt x="1504696" y="1304645"/>
                </a:cubicBezTo>
                <a:cubicBezTo>
                  <a:pt x="1516376" y="1321925"/>
                  <a:pt x="1537816" y="1335365"/>
                  <a:pt x="1553656" y="1348325"/>
                </a:cubicBezTo>
                <a:cubicBezTo>
                  <a:pt x="1568856" y="1360805"/>
                  <a:pt x="1583416" y="1375845"/>
                  <a:pt x="1602137" y="1383205"/>
                </a:cubicBezTo>
                <a:cubicBezTo>
                  <a:pt x="1620696" y="1390405"/>
                  <a:pt x="1635736" y="1400485"/>
                  <a:pt x="1655897" y="1403525"/>
                </a:cubicBezTo>
                <a:cubicBezTo>
                  <a:pt x="1663897" y="1404805"/>
                  <a:pt x="1671736" y="1407045"/>
                  <a:pt x="1679576" y="1409765"/>
                </a:cubicBezTo>
                <a:cubicBezTo>
                  <a:pt x="1665977" y="1411525"/>
                  <a:pt x="1652217" y="1412325"/>
                  <a:pt x="1639416" y="1410725"/>
                </a:cubicBezTo>
                <a:cubicBezTo>
                  <a:pt x="1597177" y="1405285"/>
                  <a:pt x="1555416" y="1396485"/>
                  <a:pt x="1513496" y="1388805"/>
                </a:cubicBezTo>
                <a:cubicBezTo>
                  <a:pt x="1500217" y="1382405"/>
                  <a:pt x="1487416" y="1374245"/>
                  <a:pt x="1474456" y="1366885"/>
                </a:cubicBezTo>
                <a:close/>
                <a:moveTo>
                  <a:pt x="1665816" y="1389285"/>
                </a:moveTo>
                <a:cubicBezTo>
                  <a:pt x="1657656" y="1386085"/>
                  <a:pt x="1648376" y="1386885"/>
                  <a:pt x="1640057" y="1383525"/>
                </a:cubicBezTo>
                <a:cubicBezTo>
                  <a:pt x="1630776" y="1379845"/>
                  <a:pt x="1622296" y="1375685"/>
                  <a:pt x="1613496" y="1371045"/>
                </a:cubicBezTo>
                <a:cubicBezTo>
                  <a:pt x="1594776" y="1361285"/>
                  <a:pt x="1579576" y="1349765"/>
                  <a:pt x="1563576" y="1336005"/>
                </a:cubicBezTo>
                <a:cubicBezTo>
                  <a:pt x="1546616" y="1321445"/>
                  <a:pt x="1526456" y="1308805"/>
                  <a:pt x="1513816" y="1290085"/>
                </a:cubicBezTo>
                <a:cubicBezTo>
                  <a:pt x="1503736" y="1275205"/>
                  <a:pt x="1491097" y="1261925"/>
                  <a:pt x="1480536" y="1247525"/>
                </a:cubicBezTo>
                <a:cubicBezTo>
                  <a:pt x="1468536" y="1231365"/>
                  <a:pt x="1458937" y="1211685"/>
                  <a:pt x="1449656" y="1193765"/>
                </a:cubicBezTo>
                <a:cubicBezTo>
                  <a:pt x="1429496" y="1155525"/>
                  <a:pt x="1410776" y="1116325"/>
                  <a:pt x="1401496" y="1073925"/>
                </a:cubicBezTo>
                <a:cubicBezTo>
                  <a:pt x="1392376" y="1032645"/>
                  <a:pt x="1394776" y="989925"/>
                  <a:pt x="1393177" y="948005"/>
                </a:cubicBezTo>
                <a:cubicBezTo>
                  <a:pt x="1391416" y="902085"/>
                  <a:pt x="1386296" y="857925"/>
                  <a:pt x="1390296" y="811845"/>
                </a:cubicBezTo>
                <a:cubicBezTo>
                  <a:pt x="1393977" y="768965"/>
                  <a:pt x="1397336" y="723045"/>
                  <a:pt x="1408536" y="681445"/>
                </a:cubicBezTo>
                <a:cubicBezTo>
                  <a:pt x="1413177" y="664325"/>
                  <a:pt x="1416376" y="647365"/>
                  <a:pt x="1422776" y="630565"/>
                </a:cubicBezTo>
                <a:cubicBezTo>
                  <a:pt x="1424696" y="625605"/>
                  <a:pt x="1425977" y="620485"/>
                  <a:pt x="1427257" y="615365"/>
                </a:cubicBezTo>
                <a:cubicBezTo>
                  <a:pt x="1429017" y="613285"/>
                  <a:pt x="1430776" y="611045"/>
                  <a:pt x="1432536" y="608805"/>
                </a:cubicBezTo>
                <a:cubicBezTo>
                  <a:pt x="1434937" y="605605"/>
                  <a:pt x="1437177" y="602085"/>
                  <a:pt x="1439257" y="598405"/>
                </a:cubicBezTo>
                <a:cubicBezTo>
                  <a:pt x="1441017" y="596965"/>
                  <a:pt x="1442937" y="595685"/>
                  <a:pt x="1444856" y="594245"/>
                </a:cubicBezTo>
                <a:cubicBezTo>
                  <a:pt x="1451736" y="589445"/>
                  <a:pt x="1454137" y="581765"/>
                  <a:pt x="1455097" y="573925"/>
                </a:cubicBezTo>
                <a:cubicBezTo>
                  <a:pt x="1460217" y="578885"/>
                  <a:pt x="1464376" y="585765"/>
                  <a:pt x="1469496" y="590245"/>
                </a:cubicBezTo>
                <a:cubicBezTo>
                  <a:pt x="1472696" y="593125"/>
                  <a:pt x="1476696" y="595365"/>
                  <a:pt x="1480856" y="597605"/>
                </a:cubicBezTo>
                <a:cubicBezTo>
                  <a:pt x="1491416" y="613605"/>
                  <a:pt x="1500856" y="630245"/>
                  <a:pt x="1509816" y="647365"/>
                </a:cubicBezTo>
                <a:cubicBezTo>
                  <a:pt x="1527736" y="681605"/>
                  <a:pt x="1546616" y="715685"/>
                  <a:pt x="1561336" y="751365"/>
                </a:cubicBezTo>
                <a:cubicBezTo>
                  <a:pt x="1576376" y="787525"/>
                  <a:pt x="1591416" y="823685"/>
                  <a:pt x="1605656" y="860325"/>
                </a:cubicBezTo>
                <a:cubicBezTo>
                  <a:pt x="1620057" y="897125"/>
                  <a:pt x="1642137" y="932325"/>
                  <a:pt x="1651257" y="971205"/>
                </a:cubicBezTo>
                <a:cubicBezTo>
                  <a:pt x="1659897" y="1008325"/>
                  <a:pt x="1660057" y="1046885"/>
                  <a:pt x="1666456" y="1084325"/>
                </a:cubicBezTo>
                <a:cubicBezTo>
                  <a:pt x="1672376" y="1119365"/>
                  <a:pt x="1682456" y="1153445"/>
                  <a:pt x="1690296" y="1188005"/>
                </a:cubicBezTo>
                <a:cubicBezTo>
                  <a:pt x="1698776" y="1224965"/>
                  <a:pt x="1702137" y="1262245"/>
                  <a:pt x="1708376" y="1299365"/>
                </a:cubicBezTo>
                <a:cubicBezTo>
                  <a:pt x="1711416" y="1317765"/>
                  <a:pt x="1713177" y="1336805"/>
                  <a:pt x="1713977" y="1355525"/>
                </a:cubicBezTo>
                <a:cubicBezTo>
                  <a:pt x="1714456" y="1366565"/>
                  <a:pt x="1717977" y="1376485"/>
                  <a:pt x="1717656" y="1387685"/>
                </a:cubicBezTo>
                <a:cubicBezTo>
                  <a:pt x="1717656" y="1389125"/>
                  <a:pt x="1717816" y="1396645"/>
                  <a:pt x="1717017" y="1400965"/>
                </a:cubicBezTo>
                <a:cubicBezTo>
                  <a:pt x="1717017" y="1400965"/>
                  <a:pt x="1716856" y="1400965"/>
                  <a:pt x="1716856" y="1401125"/>
                </a:cubicBezTo>
                <a:cubicBezTo>
                  <a:pt x="1714137" y="1400325"/>
                  <a:pt x="1711097" y="1401125"/>
                  <a:pt x="1709336" y="1402885"/>
                </a:cubicBezTo>
                <a:cubicBezTo>
                  <a:pt x="1694296" y="1399845"/>
                  <a:pt x="1680057" y="1394885"/>
                  <a:pt x="1665816" y="1389285"/>
                </a:cubicBezTo>
                <a:close/>
                <a:moveTo>
                  <a:pt x="1722616" y="1279045"/>
                </a:moveTo>
                <a:cubicBezTo>
                  <a:pt x="1719416" y="1258085"/>
                  <a:pt x="1717816" y="1237285"/>
                  <a:pt x="1713496" y="1216485"/>
                </a:cubicBezTo>
                <a:cubicBezTo>
                  <a:pt x="1705656" y="1179845"/>
                  <a:pt x="1697656" y="1143045"/>
                  <a:pt x="1689177" y="1106725"/>
                </a:cubicBezTo>
                <a:cubicBezTo>
                  <a:pt x="1679416" y="1065285"/>
                  <a:pt x="1677336" y="1023205"/>
                  <a:pt x="1669977" y="981445"/>
                </a:cubicBezTo>
                <a:cubicBezTo>
                  <a:pt x="1663416" y="943525"/>
                  <a:pt x="1644536" y="906245"/>
                  <a:pt x="1627897" y="871845"/>
                </a:cubicBezTo>
                <a:cubicBezTo>
                  <a:pt x="1609017" y="833125"/>
                  <a:pt x="1594456" y="791525"/>
                  <a:pt x="1577336" y="751845"/>
                </a:cubicBezTo>
                <a:cubicBezTo>
                  <a:pt x="1560376" y="712325"/>
                  <a:pt x="1539576" y="674245"/>
                  <a:pt x="1518616" y="636645"/>
                </a:cubicBezTo>
                <a:cubicBezTo>
                  <a:pt x="1513336" y="627205"/>
                  <a:pt x="1508057" y="617925"/>
                  <a:pt x="1502296" y="608965"/>
                </a:cubicBezTo>
                <a:cubicBezTo>
                  <a:pt x="1524057" y="621285"/>
                  <a:pt x="1549496" y="624965"/>
                  <a:pt x="1573816" y="630565"/>
                </a:cubicBezTo>
                <a:cubicBezTo>
                  <a:pt x="1575257" y="630885"/>
                  <a:pt x="1576696" y="631205"/>
                  <a:pt x="1578137" y="631525"/>
                </a:cubicBezTo>
                <a:cubicBezTo>
                  <a:pt x="1609496" y="644165"/>
                  <a:pt x="1630456" y="677605"/>
                  <a:pt x="1648376" y="704485"/>
                </a:cubicBezTo>
                <a:cubicBezTo>
                  <a:pt x="1667097" y="732805"/>
                  <a:pt x="1680856" y="764965"/>
                  <a:pt x="1693977" y="796005"/>
                </a:cubicBezTo>
                <a:cubicBezTo>
                  <a:pt x="1707416" y="827525"/>
                  <a:pt x="1722137" y="858725"/>
                  <a:pt x="1734776" y="890725"/>
                </a:cubicBezTo>
                <a:cubicBezTo>
                  <a:pt x="1747897" y="924325"/>
                  <a:pt x="1756376" y="959525"/>
                  <a:pt x="1763097" y="994885"/>
                </a:cubicBezTo>
                <a:cubicBezTo>
                  <a:pt x="1775897" y="1062405"/>
                  <a:pt x="1776217" y="1132165"/>
                  <a:pt x="1781336" y="1200645"/>
                </a:cubicBezTo>
                <a:cubicBezTo>
                  <a:pt x="1782616" y="1218405"/>
                  <a:pt x="1783097" y="1236165"/>
                  <a:pt x="1783576" y="1253765"/>
                </a:cubicBezTo>
                <a:cubicBezTo>
                  <a:pt x="1784057" y="1270405"/>
                  <a:pt x="1781496" y="1286725"/>
                  <a:pt x="1781656" y="1303205"/>
                </a:cubicBezTo>
                <a:cubicBezTo>
                  <a:pt x="1781977" y="1321605"/>
                  <a:pt x="1778937" y="1339845"/>
                  <a:pt x="1776696" y="1358085"/>
                </a:cubicBezTo>
                <a:cubicBezTo>
                  <a:pt x="1775736" y="1365445"/>
                  <a:pt x="1773496" y="1372005"/>
                  <a:pt x="1771576" y="1379205"/>
                </a:cubicBezTo>
                <a:cubicBezTo>
                  <a:pt x="1771416" y="1379525"/>
                  <a:pt x="1771416" y="1379845"/>
                  <a:pt x="1771257" y="1380325"/>
                </a:cubicBezTo>
                <a:cubicBezTo>
                  <a:pt x="1770137" y="1381125"/>
                  <a:pt x="1769017" y="1382085"/>
                  <a:pt x="1768217" y="1383045"/>
                </a:cubicBezTo>
                <a:cubicBezTo>
                  <a:pt x="1768057" y="1383045"/>
                  <a:pt x="1767736" y="1383205"/>
                  <a:pt x="1767576" y="1383365"/>
                </a:cubicBezTo>
                <a:cubicBezTo>
                  <a:pt x="1761656" y="1384965"/>
                  <a:pt x="1756057" y="1387525"/>
                  <a:pt x="1750456" y="1390085"/>
                </a:cubicBezTo>
                <a:cubicBezTo>
                  <a:pt x="1745656" y="1387845"/>
                  <a:pt x="1740057" y="1389445"/>
                  <a:pt x="1736057" y="1393285"/>
                </a:cubicBezTo>
                <a:cubicBezTo>
                  <a:pt x="1736057" y="1390405"/>
                  <a:pt x="1735416" y="1387525"/>
                  <a:pt x="1734296" y="1385125"/>
                </a:cubicBezTo>
                <a:cubicBezTo>
                  <a:pt x="1733816" y="1370245"/>
                  <a:pt x="1731416" y="1356005"/>
                  <a:pt x="1730456" y="1340965"/>
                </a:cubicBezTo>
                <a:cubicBezTo>
                  <a:pt x="1729336" y="1320165"/>
                  <a:pt x="1725656" y="1299685"/>
                  <a:pt x="1722616" y="1279045"/>
                </a:cubicBezTo>
                <a:close/>
                <a:moveTo>
                  <a:pt x="1949816" y="1187205"/>
                </a:moveTo>
                <a:cubicBezTo>
                  <a:pt x="1954296" y="1152325"/>
                  <a:pt x="1960057" y="1116805"/>
                  <a:pt x="1958616" y="1081605"/>
                </a:cubicBezTo>
                <a:cubicBezTo>
                  <a:pt x="1957177" y="1045925"/>
                  <a:pt x="1953177" y="1008165"/>
                  <a:pt x="1947576" y="972965"/>
                </a:cubicBezTo>
                <a:cubicBezTo>
                  <a:pt x="1942137" y="938725"/>
                  <a:pt x="1928696" y="906405"/>
                  <a:pt x="1916856" y="874085"/>
                </a:cubicBezTo>
                <a:cubicBezTo>
                  <a:pt x="1904856" y="841445"/>
                  <a:pt x="1889177" y="809285"/>
                  <a:pt x="1869656" y="780485"/>
                </a:cubicBezTo>
                <a:cubicBezTo>
                  <a:pt x="1850616" y="752325"/>
                  <a:pt x="1825177" y="728645"/>
                  <a:pt x="1800057" y="705925"/>
                </a:cubicBezTo>
                <a:cubicBezTo>
                  <a:pt x="1790616" y="697445"/>
                  <a:pt x="1781177" y="689285"/>
                  <a:pt x="1771257" y="681765"/>
                </a:cubicBezTo>
                <a:cubicBezTo>
                  <a:pt x="1804057" y="693605"/>
                  <a:pt x="1834937" y="710085"/>
                  <a:pt x="1861977" y="732965"/>
                </a:cubicBezTo>
                <a:cubicBezTo>
                  <a:pt x="1898456" y="764005"/>
                  <a:pt x="1934456" y="796645"/>
                  <a:pt x="1960376" y="837285"/>
                </a:cubicBezTo>
                <a:cubicBezTo>
                  <a:pt x="1973496" y="857765"/>
                  <a:pt x="1984376" y="881285"/>
                  <a:pt x="1993177" y="903845"/>
                </a:cubicBezTo>
                <a:cubicBezTo>
                  <a:pt x="2002937" y="928965"/>
                  <a:pt x="2005017" y="958245"/>
                  <a:pt x="2007097" y="984965"/>
                </a:cubicBezTo>
                <a:cubicBezTo>
                  <a:pt x="2011097" y="1037445"/>
                  <a:pt x="2009336" y="1090405"/>
                  <a:pt x="1998296" y="1142085"/>
                </a:cubicBezTo>
                <a:cubicBezTo>
                  <a:pt x="1988696" y="1186565"/>
                  <a:pt x="1966937" y="1227205"/>
                  <a:pt x="1938776" y="1262725"/>
                </a:cubicBezTo>
                <a:cubicBezTo>
                  <a:pt x="1944376" y="1237925"/>
                  <a:pt x="1946616" y="1212645"/>
                  <a:pt x="1949816" y="1187205"/>
                </a:cubicBezTo>
                <a:close/>
                <a:moveTo>
                  <a:pt x="2968857" y="994885"/>
                </a:moveTo>
                <a:cubicBezTo>
                  <a:pt x="2967257" y="996805"/>
                  <a:pt x="2965496" y="998725"/>
                  <a:pt x="2963736" y="1000645"/>
                </a:cubicBezTo>
                <a:cubicBezTo>
                  <a:pt x="2963416" y="1000165"/>
                  <a:pt x="2963097" y="999685"/>
                  <a:pt x="2962616" y="999205"/>
                </a:cubicBezTo>
                <a:cubicBezTo>
                  <a:pt x="2964857" y="997765"/>
                  <a:pt x="2966937" y="996325"/>
                  <a:pt x="2968857" y="994885"/>
                </a:cubicBezTo>
                <a:close/>
                <a:moveTo>
                  <a:pt x="2943416" y="1024165"/>
                </a:moveTo>
                <a:cubicBezTo>
                  <a:pt x="2935097" y="1033765"/>
                  <a:pt x="2926616" y="1043365"/>
                  <a:pt x="2918296" y="1053125"/>
                </a:cubicBezTo>
                <a:cubicBezTo>
                  <a:pt x="2902937" y="1070725"/>
                  <a:pt x="2889177" y="1089445"/>
                  <a:pt x="2873177" y="1106725"/>
                </a:cubicBezTo>
                <a:cubicBezTo>
                  <a:pt x="2854616" y="1126565"/>
                  <a:pt x="2834137" y="1144005"/>
                  <a:pt x="2815257" y="1163365"/>
                </a:cubicBezTo>
                <a:cubicBezTo>
                  <a:pt x="2798776" y="1180325"/>
                  <a:pt x="2782937" y="1197765"/>
                  <a:pt x="2764857" y="1213125"/>
                </a:cubicBezTo>
                <a:cubicBezTo>
                  <a:pt x="2743097" y="1231525"/>
                  <a:pt x="2720057" y="1248325"/>
                  <a:pt x="2697656" y="1265765"/>
                </a:cubicBezTo>
                <a:cubicBezTo>
                  <a:pt x="2676376" y="1282245"/>
                  <a:pt x="2654776" y="1298885"/>
                  <a:pt x="2631097" y="1312005"/>
                </a:cubicBezTo>
                <a:cubicBezTo>
                  <a:pt x="2605656" y="1326085"/>
                  <a:pt x="2578616" y="1336965"/>
                  <a:pt x="2552057" y="1348645"/>
                </a:cubicBezTo>
                <a:cubicBezTo>
                  <a:pt x="2499897" y="1371525"/>
                  <a:pt x="2443576" y="1377765"/>
                  <a:pt x="2387097" y="1379845"/>
                </a:cubicBezTo>
                <a:cubicBezTo>
                  <a:pt x="2329336" y="1382085"/>
                  <a:pt x="2269336" y="1384165"/>
                  <a:pt x="2211736" y="1378405"/>
                </a:cubicBezTo>
                <a:cubicBezTo>
                  <a:pt x="2155736" y="1372805"/>
                  <a:pt x="2101977" y="1360645"/>
                  <a:pt x="2045336" y="1359845"/>
                </a:cubicBezTo>
                <a:cubicBezTo>
                  <a:pt x="2022137" y="1359525"/>
                  <a:pt x="1999097" y="1360645"/>
                  <a:pt x="1975897" y="1363045"/>
                </a:cubicBezTo>
                <a:cubicBezTo>
                  <a:pt x="1953977" y="1365285"/>
                  <a:pt x="1932376" y="1363045"/>
                  <a:pt x="1910456" y="1362885"/>
                </a:cubicBezTo>
                <a:cubicBezTo>
                  <a:pt x="1898296" y="1360805"/>
                  <a:pt x="1886456" y="1363845"/>
                  <a:pt x="1874456" y="1366565"/>
                </a:cubicBezTo>
                <a:cubicBezTo>
                  <a:pt x="1869177" y="1367845"/>
                  <a:pt x="1863897" y="1368805"/>
                  <a:pt x="1858776" y="1369605"/>
                </a:cubicBezTo>
                <a:cubicBezTo>
                  <a:pt x="1857816" y="1369605"/>
                  <a:pt x="1856696" y="1369445"/>
                  <a:pt x="1855736" y="1369445"/>
                </a:cubicBezTo>
                <a:cubicBezTo>
                  <a:pt x="1859257" y="1366885"/>
                  <a:pt x="1862776" y="1364485"/>
                  <a:pt x="1866137" y="1362085"/>
                </a:cubicBezTo>
                <a:cubicBezTo>
                  <a:pt x="1883257" y="1350245"/>
                  <a:pt x="1899576" y="1338565"/>
                  <a:pt x="1915097" y="1325925"/>
                </a:cubicBezTo>
                <a:cubicBezTo>
                  <a:pt x="1915736" y="1325605"/>
                  <a:pt x="1916376" y="1325445"/>
                  <a:pt x="1917017" y="1325125"/>
                </a:cubicBezTo>
                <a:cubicBezTo>
                  <a:pt x="1918616" y="1324485"/>
                  <a:pt x="1920376" y="1323685"/>
                  <a:pt x="1922137" y="1322725"/>
                </a:cubicBezTo>
                <a:cubicBezTo>
                  <a:pt x="1937336" y="1323045"/>
                  <a:pt x="1950776" y="1309445"/>
                  <a:pt x="1964536" y="1304005"/>
                </a:cubicBezTo>
                <a:cubicBezTo>
                  <a:pt x="1976696" y="1299205"/>
                  <a:pt x="1990776" y="1299365"/>
                  <a:pt x="2003576" y="1297605"/>
                </a:cubicBezTo>
                <a:cubicBezTo>
                  <a:pt x="2017017" y="1295685"/>
                  <a:pt x="2030456" y="1294725"/>
                  <a:pt x="2044057" y="1294085"/>
                </a:cubicBezTo>
                <a:cubicBezTo>
                  <a:pt x="2095897" y="1291525"/>
                  <a:pt x="2146296" y="1300485"/>
                  <a:pt x="2197656" y="1304165"/>
                </a:cubicBezTo>
                <a:cubicBezTo>
                  <a:pt x="2221017" y="1305925"/>
                  <a:pt x="2244217" y="1307045"/>
                  <a:pt x="2267576" y="1307365"/>
                </a:cubicBezTo>
                <a:cubicBezTo>
                  <a:pt x="2292217" y="1307685"/>
                  <a:pt x="2316696" y="1311685"/>
                  <a:pt x="2341177" y="1313285"/>
                </a:cubicBezTo>
                <a:cubicBezTo>
                  <a:pt x="2391097" y="1316485"/>
                  <a:pt x="2442296" y="1320325"/>
                  <a:pt x="2492057" y="1313445"/>
                </a:cubicBezTo>
                <a:cubicBezTo>
                  <a:pt x="2537496" y="1307205"/>
                  <a:pt x="2582296" y="1291525"/>
                  <a:pt x="2623576" y="1272005"/>
                </a:cubicBezTo>
                <a:cubicBezTo>
                  <a:pt x="2644217" y="1262245"/>
                  <a:pt x="2665816" y="1251845"/>
                  <a:pt x="2684857" y="1239045"/>
                </a:cubicBezTo>
                <a:cubicBezTo>
                  <a:pt x="2706137" y="1224805"/>
                  <a:pt x="2723576" y="1208165"/>
                  <a:pt x="2742296" y="1190885"/>
                </a:cubicBezTo>
                <a:cubicBezTo>
                  <a:pt x="2777977" y="1158085"/>
                  <a:pt x="2813336" y="1125765"/>
                  <a:pt x="2850937" y="1095205"/>
                </a:cubicBezTo>
                <a:cubicBezTo>
                  <a:pt x="2881656" y="1070565"/>
                  <a:pt x="2914137" y="1049765"/>
                  <a:pt x="2943416" y="1024165"/>
                </a:cubicBezTo>
                <a:close/>
                <a:moveTo>
                  <a:pt x="2777977" y="1113925"/>
                </a:moveTo>
                <a:cubicBezTo>
                  <a:pt x="2785977" y="1110245"/>
                  <a:pt x="2794137" y="1105445"/>
                  <a:pt x="2802296" y="1100485"/>
                </a:cubicBezTo>
                <a:cubicBezTo>
                  <a:pt x="2812057" y="1096325"/>
                  <a:pt x="2821816" y="1091365"/>
                  <a:pt x="2831576" y="1085605"/>
                </a:cubicBezTo>
                <a:cubicBezTo>
                  <a:pt x="2853017" y="1072805"/>
                  <a:pt x="2872217" y="1056485"/>
                  <a:pt x="2893496" y="1043205"/>
                </a:cubicBezTo>
                <a:cubicBezTo>
                  <a:pt x="2896857" y="1040965"/>
                  <a:pt x="2900376" y="1038885"/>
                  <a:pt x="2903897" y="1036805"/>
                </a:cubicBezTo>
                <a:cubicBezTo>
                  <a:pt x="2902937" y="1037445"/>
                  <a:pt x="2902137" y="1038245"/>
                  <a:pt x="2901177" y="1038885"/>
                </a:cubicBezTo>
                <a:cubicBezTo>
                  <a:pt x="2882776" y="1052325"/>
                  <a:pt x="2863576" y="1063525"/>
                  <a:pt x="2846137" y="1078405"/>
                </a:cubicBezTo>
                <a:cubicBezTo>
                  <a:pt x="2828057" y="1093765"/>
                  <a:pt x="2808857" y="1107525"/>
                  <a:pt x="2791257" y="1123365"/>
                </a:cubicBezTo>
                <a:cubicBezTo>
                  <a:pt x="2773017" y="1139845"/>
                  <a:pt x="2755736" y="1157285"/>
                  <a:pt x="2737496" y="1173605"/>
                </a:cubicBezTo>
                <a:cubicBezTo>
                  <a:pt x="2720376" y="1188965"/>
                  <a:pt x="2704857" y="1205125"/>
                  <a:pt x="2686137" y="1218725"/>
                </a:cubicBezTo>
                <a:cubicBezTo>
                  <a:pt x="2666776" y="1232805"/>
                  <a:pt x="2644696" y="1243525"/>
                  <a:pt x="2623257" y="1254245"/>
                </a:cubicBezTo>
                <a:cubicBezTo>
                  <a:pt x="2579576" y="1276005"/>
                  <a:pt x="2532376" y="1291525"/>
                  <a:pt x="2484057" y="1298565"/>
                </a:cubicBezTo>
                <a:cubicBezTo>
                  <a:pt x="2436217" y="1305605"/>
                  <a:pt x="2385656" y="1300965"/>
                  <a:pt x="2337496" y="1298245"/>
                </a:cubicBezTo>
                <a:cubicBezTo>
                  <a:pt x="2314937" y="1296965"/>
                  <a:pt x="2292536" y="1293605"/>
                  <a:pt x="2269977" y="1293285"/>
                </a:cubicBezTo>
                <a:cubicBezTo>
                  <a:pt x="2244536" y="1292965"/>
                  <a:pt x="2219257" y="1291845"/>
                  <a:pt x="2193816" y="1290245"/>
                </a:cubicBezTo>
                <a:cubicBezTo>
                  <a:pt x="2145496" y="1287205"/>
                  <a:pt x="2098296" y="1280165"/>
                  <a:pt x="2049656" y="1281605"/>
                </a:cubicBezTo>
                <a:cubicBezTo>
                  <a:pt x="2025496" y="1282245"/>
                  <a:pt x="2001816" y="1286085"/>
                  <a:pt x="1977977" y="1288965"/>
                </a:cubicBezTo>
                <a:cubicBezTo>
                  <a:pt x="1968376" y="1290245"/>
                  <a:pt x="1958937" y="1294085"/>
                  <a:pt x="1950296" y="1298245"/>
                </a:cubicBezTo>
                <a:cubicBezTo>
                  <a:pt x="1946296" y="1300165"/>
                  <a:pt x="1942616" y="1302885"/>
                  <a:pt x="1938937" y="1305445"/>
                </a:cubicBezTo>
                <a:cubicBezTo>
                  <a:pt x="1949336" y="1295365"/>
                  <a:pt x="1959257" y="1284645"/>
                  <a:pt x="1968376" y="1272485"/>
                </a:cubicBezTo>
                <a:cubicBezTo>
                  <a:pt x="1971897" y="1267845"/>
                  <a:pt x="1975097" y="1263205"/>
                  <a:pt x="1978296" y="1258565"/>
                </a:cubicBezTo>
                <a:cubicBezTo>
                  <a:pt x="1989177" y="1253925"/>
                  <a:pt x="2003416" y="1250565"/>
                  <a:pt x="2009177" y="1249125"/>
                </a:cubicBezTo>
                <a:cubicBezTo>
                  <a:pt x="2026937" y="1244485"/>
                  <a:pt x="2045177" y="1239845"/>
                  <a:pt x="2063416" y="1237605"/>
                </a:cubicBezTo>
                <a:cubicBezTo>
                  <a:pt x="2082776" y="1235365"/>
                  <a:pt x="2103576" y="1236325"/>
                  <a:pt x="2123097" y="1237125"/>
                </a:cubicBezTo>
                <a:cubicBezTo>
                  <a:pt x="2140057" y="1237765"/>
                  <a:pt x="2157017" y="1236005"/>
                  <a:pt x="2173977" y="1235205"/>
                </a:cubicBezTo>
                <a:cubicBezTo>
                  <a:pt x="2214296" y="1233445"/>
                  <a:pt x="2255097" y="1237765"/>
                  <a:pt x="2295416" y="1238565"/>
                </a:cubicBezTo>
                <a:cubicBezTo>
                  <a:pt x="2313656" y="1238885"/>
                  <a:pt x="2331897" y="1237765"/>
                  <a:pt x="2349977" y="1236805"/>
                </a:cubicBezTo>
                <a:cubicBezTo>
                  <a:pt x="2370776" y="1235685"/>
                  <a:pt x="2391736" y="1237925"/>
                  <a:pt x="2412536" y="1237605"/>
                </a:cubicBezTo>
                <a:cubicBezTo>
                  <a:pt x="2492217" y="1235845"/>
                  <a:pt x="2566296" y="1207205"/>
                  <a:pt x="2640057" y="1180805"/>
                </a:cubicBezTo>
                <a:cubicBezTo>
                  <a:pt x="2655897" y="1175205"/>
                  <a:pt x="2668857" y="1167845"/>
                  <a:pt x="2683097" y="1158885"/>
                </a:cubicBezTo>
                <a:cubicBezTo>
                  <a:pt x="2700696" y="1147685"/>
                  <a:pt x="2720057" y="1140645"/>
                  <a:pt x="2738137" y="1130725"/>
                </a:cubicBezTo>
                <a:cubicBezTo>
                  <a:pt x="2750296" y="1124005"/>
                  <a:pt x="2765017" y="1119845"/>
                  <a:pt x="2777977" y="1113925"/>
                </a:cubicBezTo>
                <a:close/>
                <a:moveTo>
                  <a:pt x="2695416" y="1125125"/>
                </a:moveTo>
                <a:cubicBezTo>
                  <a:pt x="2701977" y="1124485"/>
                  <a:pt x="2708536" y="1123685"/>
                  <a:pt x="2714937" y="1122885"/>
                </a:cubicBezTo>
                <a:cubicBezTo>
                  <a:pt x="2685336" y="1136005"/>
                  <a:pt x="2659416" y="1157605"/>
                  <a:pt x="2628696" y="1168645"/>
                </a:cubicBezTo>
                <a:cubicBezTo>
                  <a:pt x="2547736" y="1197605"/>
                  <a:pt x="2468217" y="1225605"/>
                  <a:pt x="2380857" y="1223205"/>
                </a:cubicBezTo>
                <a:cubicBezTo>
                  <a:pt x="2363257" y="1222725"/>
                  <a:pt x="2345816" y="1223205"/>
                  <a:pt x="2328217" y="1224005"/>
                </a:cubicBezTo>
                <a:cubicBezTo>
                  <a:pt x="2306137" y="1225125"/>
                  <a:pt x="2283897" y="1222085"/>
                  <a:pt x="2262137" y="1223045"/>
                </a:cubicBezTo>
                <a:cubicBezTo>
                  <a:pt x="2222776" y="1224645"/>
                  <a:pt x="2183736" y="1221445"/>
                  <a:pt x="2144217" y="1224325"/>
                </a:cubicBezTo>
                <a:cubicBezTo>
                  <a:pt x="2112696" y="1226565"/>
                  <a:pt x="2081496" y="1222885"/>
                  <a:pt x="2050456" y="1227845"/>
                </a:cubicBezTo>
                <a:cubicBezTo>
                  <a:pt x="2058296" y="1224165"/>
                  <a:pt x="2065496" y="1220165"/>
                  <a:pt x="2071736" y="1217285"/>
                </a:cubicBezTo>
                <a:cubicBezTo>
                  <a:pt x="2074937" y="1215685"/>
                  <a:pt x="2078137" y="1214085"/>
                  <a:pt x="2081336" y="1212645"/>
                </a:cubicBezTo>
                <a:cubicBezTo>
                  <a:pt x="2086456" y="1211365"/>
                  <a:pt x="2091576" y="1210085"/>
                  <a:pt x="2096536" y="1208325"/>
                </a:cubicBezTo>
                <a:cubicBezTo>
                  <a:pt x="2120057" y="1200645"/>
                  <a:pt x="2145977" y="1199205"/>
                  <a:pt x="2170296" y="1196165"/>
                </a:cubicBezTo>
                <a:cubicBezTo>
                  <a:pt x="2194616" y="1193125"/>
                  <a:pt x="2218456" y="1187845"/>
                  <a:pt x="2242776" y="1184485"/>
                </a:cubicBezTo>
                <a:cubicBezTo>
                  <a:pt x="2293336" y="1177445"/>
                  <a:pt x="2344217" y="1176485"/>
                  <a:pt x="2394937" y="1168485"/>
                </a:cubicBezTo>
                <a:cubicBezTo>
                  <a:pt x="2418776" y="1164645"/>
                  <a:pt x="2442937" y="1164165"/>
                  <a:pt x="2466616" y="1159845"/>
                </a:cubicBezTo>
                <a:cubicBezTo>
                  <a:pt x="2491576" y="1155365"/>
                  <a:pt x="2514937" y="1147045"/>
                  <a:pt x="2540376" y="1144805"/>
                </a:cubicBezTo>
                <a:cubicBezTo>
                  <a:pt x="2547097" y="1144165"/>
                  <a:pt x="2553816" y="1143685"/>
                  <a:pt x="2560696" y="1143045"/>
                </a:cubicBezTo>
                <a:cubicBezTo>
                  <a:pt x="2566616" y="1141285"/>
                  <a:pt x="2572536" y="1139845"/>
                  <a:pt x="2578456" y="1138565"/>
                </a:cubicBezTo>
                <a:cubicBezTo>
                  <a:pt x="2600696" y="1133765"/>
                  <a:pt x="2623576" y="1130245"/>
                  <a:pt x="2646456" y="1130085"/>
                </a:cubicBezTo>
                <a:cubicBezTo>
                  <a:pt x="2649816" y="1130085"/>
                  <a:pt x="2654616" y="1129925"/>
                  <a:pt x="2660217" y="1130245"/>
                </a:cubicBezTo>
                <a:cubicBezTo>
                  <a:pt x="2671897" y="1128165"/>
                  <a:pt x="2683576" y="1126245"/>
                  <a:pt x="2695416" y="1125125"/>
                </a:cubicBezTo>
                <a:close/>
                <a:moveTo>
                  <a:pt x="2908057" y="752165"/>
                </a:moveTo>
                <a:cubicBezTo>
                  <a:pt x="2886456" y="797765"/>
                  <a:pt x="2867257" y="843845"/>
                  <a:pt x="2841816" y="887685"/>
                </a:cubicBezTo>
                <a:cubicBezTo>
                  <a:pt x="2816536" y="931205"/>
                  <a:pt x="2779416" y="969925"/>
                  <a:pt x="2744696" y="1006245"/>
                </a:cubicBezTo>
                <a:cubicBezTo>
                  <a:pt x="2708857" y="1044005"/>
                  <a:pt x="2669017" y="1077285"/>
                  <a:pt x="2626456" y="1107045"/>
                </a:cubicBezTo>
                <a:cubicBezTo>
                  <a:pt x="2610776" y="1110085"/>
                  <a:pt x="2594776" y="1112005"/>
                  <a:pt x="2578776" y="1113445"/>
                </a:cubicBezTo>
                <a:cubicBezTo>
                  <a:pt x="2589816" y="1107685"/>
                  <a:pt x="2600536" y="1101925"/>
                  <a:pt x="2611257" y="1094885"/>
                </a:cubicBezTo>
                <a:cubicBezTo>
                  <a:pt x="2627257" y="1084485"/>
                  <a:pt x="2644057" y="1072645"/>
                  <a:pt x="2656376" y="1057765"/>
                </a:cubicBezTo>
                <a:cubicBezTo>
                  <a:pt x="2669336" y="1041925"/>
                  <a:pt x="2688057" y="1030725"/>
                  <a:pt x="2702776" y="1016165"/>
                </a:cubicBezTo>
                <a:cubicBezTo>
                  <a:pt x="2735736" y="983845"/>
                  <a:pt x="2764696" y="951205"/>
                  <a:pt x="2791576" y="913605"/>
                </a:cubicBezTo>
                <a:cubicBezTo>
                  <a:pt x="2820217" y="873445"/>
                  <a:pt x="2848857" y="833925"/>
                  <a:pt x="2874776" y="792165"/>
                </a:cubicBezTo>
                <a:cubicBezTo>
                  <a:pt x="2887897" y="771205"/>
                  <a:pt x="2897017" y="748325"/>
                  <a:pt x="2910137" y="727525"/>
                </a:cubicBezTo>
                <a:cubicBezTo>
                  <a:pt x="2922296" y="707845"/>
                  <a:pt x="2933816" y="686885"/>
                  <a:pt x="2945017" y="666565"/>
                </a:cubicBezTo>
                <a:cubicBezTo>
                  <a:pt x="2945017" y="666405"/>
                  <a:pt x="2945017" y="666405"/>
                  <a:pt x="2945177" y="666405"/>
                </a:cubicBezTo>
                <a:cubicBezTo>
                  <a:pt x="2933977" y="695525"/>
                  <a:pt x="2921496" y="724005"/>
                  <a:pt x="2908057" y="752165"/>
                </a:cubicBezTo>
                <a:close/>
                <a:moveTo>
                  <a:pt x="3033177" y="264645"/>
                </a:moveTo>
                <a:cubicBezTo>
                  <a:pt x="3027416" y="324325"/>
                  <a:pt x="3017656" y="383845"/>
                  <a:pt x="3005336" y="442885"/>
                </a:cubicBezTo>
                <a:cubicBezTo>
                  <a:pt x="2996057" y="469925"/>
                  <a:pt x="2986137" y="496805"/>
                  <a:pt x="2979416" y="524645"/>
                </a:cubicBezTo>
                <a:cubicBezTo>
                  <a:pt x="2974296" y="545605"/>
                  <a:pt x="2971576" y="567205"/>
                  <a:pt x="2963576" y="587365"/>
                </a:cubicBezTo>
                <a:cubicBezTo>
                  <a:pt x="2959897" y="596485"/>
                  <a:pt x="2955097" y="605125"/>
                  <a:pt x="2950296" y="613765"/>
                </a:cubicBezTo>
                <a:cubicBezTo>
                  <a:pt x="2945177" y="622725"/>
                  <a:pt x="2942776" y="634405"/>
                  <a:pt x="2939257" y="644165"/>
                </a:cubicBezTo>
                <a:cubicBezTo>
                  <a:pt x="2931576" y="664965"/>
                  <a:pt x="2918137" y="683045"/>
                  <a:pt x="2907416" y="702405"/>
                </a:cubicBezTo>
                <a:cubicBezTo>
                  <a:pt x="2894616" y="725605"/>
                  <a:pt x="2884057" y="750725"/>
                  <a:pt x="2869977" y="773125"/>
                </a:cubicBezTo>
                <a:cubicBezTo>
                  <a:pt x="2823097" y="847845"/>
                  <a:pt x="2773496" y="924805"/>
                  <a:pt x="2711097" y="987525"/>
                </a:cubicBezTo>
                <a:cubicBezTo>
                  <a:pt x="2696536" y="1002245"/>
                  <a:pt x="2682137" y="1018565"/>
                  <a:pt x="2665017" y="1030405"/>
                </a:cubicBezTo>
                <a:cubicBezTo>
                  <a:pt x="2648696" y="1041605"/>
                  <a:pt x="2636696" y="1057925"/>
                  <a:pt x="2621496" y="1070885"/>
                </a:cubicBezTo>
                <a:cubicBezTo>
                  <a:pt x="2606456" y="1083525"/>
                  <a:pt x="2587576" y="1095525"/>
                  <a:pt x="2569816" y="1104005"/>
                </a:cubicBezTo>
                <a:cubicBezTo>
                  <a:pt x="2559416" y="1108965"/>
                  <a:pt x="2549177" y="1113925"/>
                  <a:pt x="2538137" y="1116965"/>
                </a:cubicBezTo>
                <a:cubicBezTo>
                  <a:pt x="2528696" y="1117765"/>
                  <a:pt x="2519257" y="1118725"/>
                  <a:pt x="2509816" y="1119685"/>
                </a:cubicBezTo>
                <a:cubicBezTo>
                  <a:pt x="2496217" y="1121125"/>
                  <a:pt x="2482137" y="1128005"/>
                  <a:pt x="2468536" y="1131045"/>
                </a:cubicBezTo>
                <a:cubicBezTo>
                  <a:pt x="2447416" y="1135525"/>
                  <a:pt x="2425816" y="1137925"/>
                  <a:pt x="2404217" y="1138885"/>
                </a:cubicBezTo>
                <a:cubicBezTo>
                  <a:pt x="2394776" y="1139365"/>
                  <a:pt x="2385177" y="1140645"/>
                  <a:pt x="2375736" y="1142085"/>
                </a:cubicBezTo>
                <a:cubicBezTo>
                  <a:pt x="2377017" y="1141605"/>
                  <a:pt x="2378137" y="1141125"/>
                  <a:pt x="2379416" y="1140645"/>
                </a:cubicBezTo>
                <a:cubicBezTo>
                  <a:pt x="2391576" y="1136165"/>
                  <a:pt x="2401656" y="1125605"/>
                  <a:pt x="2413656" y="1120165"/>
                </a:cubicBezTo>
                <a:cubicBezTo>
                  <a:pt x="2432217" y="1111685"/>
                  <a:pt x="2450137" y="1099525"/>
                  <a:pt x="2467257" y="1088485"/>
                </a:cubicBezTo>
                <a:cubicBezTo>
                  <a:pt x="2487736" y="1075205"/>
                  <a:pt x="2508857" y="1059685"/>
                  <a:pt x="2526296" y="1042405"/>
                </a:cubicBezTo>
                <a:cubicBezTo>
                  <a:pt x="2544217" y="1024645"/>
                  <a:pt x="2564217" y="1009285"/>
                  <a:pt x="2581977" y="991205"/>
                </a:cubicBezTo>
                <a:cubicBezTo>
                  <a:pt x="2602296" y="970565"/>
                  <a:pt x="2619576" y="946085"/>
                  <a:pt x="2636696" y="922725"/>
                </a:cubicBezTo>
                <a:cubicBezTo>
                  <a:pt x="2668536" y="878885"/>
                  <a:pt x="2696057" y="831205"/>
                  <a:pt x="2723097" y="784325"/>
                </a:cubicBezTo>
                <a:cubicBezTo>
                  <a:pt x="2751736" y="734405"/>
                  <a:pt x="2777336" y="682885"/>
                  <a:pt x="2805816" y="632965"/>
                </a:cubicBezTo>
                <a:cubicBezTo>
                  <a:pt x="2819097" y="609605"/>
                  <a:pt x="2829977" y="585285"/>
                  <a:pt x="2844696" y="562885"/>
                </a:cubicBezTo>
                <a:cubicBezTo>
                  <a:pt x="2859097" y="540645"/>
                  <a:pt x="2869336" y="517285"/>
                  <a:pt x="2880217" y="493125"/>
                </a:cubicBezTo>
                <a:cubicBezTo>
                  <a:pt x="2903097" y="442245"/>
                  <a:pt x="2929336" y="392805"/>
                  <a:pt x="2951897" y="341765"/>
                </a:cubicBezTo>
                <a:cubicBezTo>
                  <a:pt x="2974296" y="290885"/>
                  <a:pt x="2993336" y="238405"/>
                  <a:pt x="3012057" y="186085"/>
                </a:cubicBezTo>
                <a:cubicBezTo>
                  <a:pt x="3019576" y="164805"/>
                  <a:pt x="3027257" y="143045"/>
                  <a:pt x="3033496" y="120805"/>
                </a:cubicBezTo>
                <a:cubicBezTo>
                  <a:pt x="3035416" y="168325"/>
                  <a:pt x="3037816" y="216965"/>
                  <a:pt x="3033177" y="264645"/>
                </a:cubicBezTo>
                <a:close/>
                <a:moveTo>
                  <a:pt x="3039097" y="49925"/>
                </a:moveTo>
                <a:cubicBezTo>
                  <a:pt x="3012536" y="154405"/>
                  <a:pt x="2975416" y="256165"/>
                  <a:pt x="2930616" y="354245"/>
                </a:cubicBezTo>
                <a:cubicBezTo>
                  <a:pt x="2907257" y="405125"/>
                  <a:pt x="2881177" y="454565"/>
                  <a:pt x="2858296" y="505605"/>
                </a:cubicBezTo>
                <a:cubicBezTo>
                  <a:pt x="2847416" y="529925"/>
                  <a:pt x="2833656" y="551045"/>
                  <a:pt x="2820217" y="573925"/>
                </a:cubicBezTo>
                <a:cubicBezTo>
                  <a:pt x="2805977" y="598085"/>
                  <a:pt x="2794296" y="623845"/>
                  <a:pt x="2779736" y="647845"/>
                </a:cubicBezTo>
                <a:cubicBezTo>
                  <a:pt x="2749977" y="697125"/>
                  <a:pt x="2725977" y="749765"/>
                  <a:pt x="2696536" y="799365"/>
                </a:cubicBezTo>
                <a:cubicBezTo>
                  <a:pt x="2667897" y="847525"/>
                  <a:pt x="2638937" y="895525"/>
                  <a:pt x="2604536" y="939845"/>
                </a:cubicBezTo>
                <a:cubicBezTo>
                  <a:pt x="2570456" y="983525"/>
                  <a:pt x="2530296" y="1023845"/>
                  <a:pt x="2485496" y="1056485"/>
                </a:cubicBezTo>
                <a:cubicBezTo>
                  <a:pt x="2467736" y="1069445"/>
                  <a:pt x="2447897" y="1079685"/>
                  <a:pt x="2430456" y="1092805"/>
                </a:cubicBezTo>
                <a:cubicBezTo>
                  <a:pt x="2421336" y="1099685"/>
                  <a:pt x="2410937" y="1103365"/>
                  <a:pt x="2401177" y="1109125"/>
                </a:cubicBezTo>
                <a:cubicBezTo>
                  <a:pt x="2388696" y="1116485"/>
                  <a:pt x="2377017" y="1124325"/>
                  <a:pt x="2363897" y="1130405"/>
                </a:cubicBezTo>
                <a:cubicBezTo>
                  <a:pt x="2350616" y="1136485"/>
                  <a:pt x="2336696" y="1140325"/>
                  <a:pt x="2323257" y="1146245"/>
                </a:cubicBezTo>
                <a:cubicBezTo>
                  <a:pt x="2320217" y="1147525"/>
                  <a:pt x="2317017" y="1149285"/>
                  <a:pt x="2313656" y="1150885"/>
                </a:cubicBezTo>
                <a:cubicBezTo>
                  <a:pt x="2295097" y="1152165"/>
                  <a:pt x="2276536" y="1152485"/>
                  <a:pt x="2258137" y="1154565"/>
                </a:cubicBezTo>
                <a:cubicBezTo>
                  <a:pt x="2233177" y="1157285"/>
                  <a:pt x="2208696" y="1162085"/>
                  <a:pt x="2184057" y="1166885"/>
                </a:cubicBezTo>
                <a:cubicBezTo>
                  <a:pt x="2173336" y="1168965"/>
                  <a:pt x="2162616" y="1170405"/>
                  <a:pt x="2151736" y="1171845"/>
                </a:cubicBezTo>
                <a:cubicBezTo>
                  <a:pt x="2165656" y="1161285"/>
                  <a:pt x="2178616" y="1149605"/>
                  <a:pt x="2192536" y="1138885"/>
                </a:cubicBezTo>
                <a:cubicBezTo>
                  <a:pt x="2211736" y="1123845"/>
                  <a:pt x="2230296" y="1107845"/>
                  <a:pt x="2246937" y="1089765"/>
                </a:cubicBezTo>
                <a:cubicBezTo>
                  <a:pt x="2261977" y="1073605"/>
                  <a:pt x="2278776" y="1059205"/>
                  <a:pt x="2294456" y="1043845"/>
                </a:cubicBezTo>
                <a:cubicBezTo>
                  <a:pt x="2314456" y="1027685"/>
                  <a:pt x="2334776" y="1012165"/>
                  <a:pt x="2354296" y="995525"/>
                </a:cubicBezTo>
                <a:cubicBezTo>
                  <a:pt x="2374616" y="978245"/>
                  <a:pt x="2397816" y="964165"/>
                  <a:pt x="2416857" y="945445"/>
                </a:cubicBezTo>
                <a:cubicBezTo>
                  <a:pt x="2452857" y="910085"/>
                  <a:pt x="2483416" y="867525"/>
                  <a:pt x="2513496" y="827045"/>
                </a:cubicBezTo>
                <a:cubicBezTo>
                  <a:pt x="2527257" y="808645"/>
                  <a:pt x="2543097" y="791045"/>
                  <a:pt x="2558137" y="773605"/>
                </a:cubicBezTo>
                <a:cubicBezTo>
                  <a:pt x="2576857" y="751685"/>
                  <a:pt x="2593177" y="727525"/>
                  <a:pt x="2611097" y="704805"/>
                </a:cubicBezTo>
                <a:cubicBezTo>
                  <a:pt x="2626776" y="684805"/>
                  <a:pt x="2643097" y="665285"/>
                  <a:pt x="2658137" y="644645"/>
                </a:cubicBezTo>
                <a:cubicBezTo>
                  <a:pt x="2674616" y="622085"/>
                  <a:pt x="2687416" y="597445"/>
                  <a:pt x="2702296" y="573765"/>
                </a:cubicBezTo>
                <a:cubicBezTo>
                  <a:pt x="2731097" y="528165"/>
                  <a:pt x="2758937" y="482245"/>
                  <a:pt x="2789496" y="437765"/>
                </a:cubicBezTo>
                <a:cubicBezTo>
                  <a:pt x="2820376" y="392645"/>
                  <a:pt x="2856376" y="351365"/>
                  <a:pt x="2884217" y="304165"/>
                </a:cubicBezTo>
                <a:cubicBezTo>
                  <a:pt x="2896376" y="283365"/>
                  <a:pt x="2910137" y="263045"/>
                  <a:pt x="2921336" y="241765"/>
                </a:cubicBezTo>
                <a:cubicBezTo>
                  <a:pt x="2933816" y="218245"/>
                  <a:pt x="2946137" y="193125"/>
                  <a:pt x="2960857" y="170725"/>
                </a:cubicBezTo>
                <a:cubicBezTo>
                  <a:pt x="2969017" y="158405"/>
                  <a:pt x="2978937" y="147365"/>
                  <a:pt x="2987097" y="134885"/>
                </a:cubicBezTo>
                <a:cubicBezTo>
                  <a:pt x="2997017" y="119845"/>
                  <a:pt x="3005656" y="104165"/>
                  <a:pt x="3016217" y="89605"/>
                </a:cubicBezTo>
                <a:cubicBezTo>
                  <a:pt x="3024057" y="78565"/>
                  <a:pt x="3032857" y="64325"/>
                  <a:pt x="3039097" y="49925"/>
                </a:cubicBezTo>
                <a:close/>
                <a:moveTo>
                  <a:pt x="2490456" y="538885"/>
                </a:moveTo>
                <a:cubicBezTo>
                  <a:pt x="2494616" y="517925"/>
                  <a:pt x="2501017" y="498885"/>
                  <a:pt x="2509656" y="479365"/>
                </a:cubicBezTo>
                <a:cubicBezTo>
                  <a:pt x="2525177" y="444325"/>
                  <a:pt x="2543736" y="411525"/>
                  <a:pt x="2566456" y="380805"/>
                </a:cubicBezTo>
                <a:cubicBezTo>
                  <a:pt x="2588696" y="350565"/>
                  <a:pt x="2615576" y="322565"/>
                  <a:pt x="2642296" y="296165"/>
                </a:cubicBezTo>
                <a:cubicBezTo>
                  <a:pt x="2668376" y="270245"/>
                  <a:pt x="2693656" y="243845"/>
                  <a:pt x="2721336" y="219845"/>
                </a:cubicBezTo>
                <a:cubicBezTo>
                  <a:pt x="2733177" y="209445"/>
                  <a:pt x="2747416" y="200485"/>
                  <a:pt x="2758296" y="189125"/>
                </a:cubicBezTo>
                <a:cubicBezTo>
                  <a:pt x="2770776" y="176325"/>
                  <a:pt x="2789496" y="172485"/>
                  <a:pt x="2804857" y="164005"/>
                </a:cubicBezTo>
                <a:cubicBezTo>
                  <a:pt x="2834296" y="147845"/>
                  <a:pt x="2867576" y="142245"/>
                  <a:pt x="2897656" y="127845"/>
                </a:cubicBezTo>
                <a:cubicBezTo>
                  <a:pt x="2905177" y="124325"/>
                  <a:pt x="2912696" y="120485"/>
                  <a:pt x="2919897" y="116485"/>
                </a:cubicBezTo>
                <a:cubicBezTo>
                  <a:pt x="2913336" y="120805"/>
                  <a:pt x="2906776" y="125285"/>
                  <a:pt x="2900376" y="129765"/>
                </a:cubicBezTo>
                <a:cubicBezTo>
                  <a:pt x="2883097" y="142085"/>
                  <a:pt x="2866616" y="156805"/>
                  <a:pt x="2850137" y="170245"/>
                </a:cubicBezTo>
                <a:cubicBezTo>
                  <a:pt x="2817977" y="196645"/>
                  <a:pt x="2793336" y="230565"/>
                  <a:pt x="2762776" y="258885"/>
                </a:cubicBezTo>
                <a:cubicBezTo>
                  <a:pt x="2734616" y="284965"/>
                  <a:pt x="2709336" y="314085"/>
                  <a:pt x="2683897" y="342885"/>
                </a:cubicBezTo>
                <a:cubicBezTo>
                  <a:pt x="2657177" y="373125"/>
                  <a:pt x="2631736" y="406565"/>
                  <a:pt x="2608857" y="439845"/>
                </a:cubicBezTo>
                <a:cubicBezTo>
                  <a:pt x="2586776" y="472165"/>
                  <a:pt x="2567897" y="505925"/>
                  <a:pt x="2546296" y="538565"/>
                </a:cubicBezTo>
                <a:cubicBezTo>
                  <a:pt x="2537977" y="551205"/>
                  <a:pt x="2531736" y="564965"/>
                  <a:pt x="2525816" y="578885"/>
                </a:cubicBezTo>
                <a:cubicBezTo>
                  <a:pt x="2518776" y="595365"/>
                  <a:pt x="2508857" y="610885"/>
                  <a:pt x="2501017" y="627205"/>
                </a:cubicBezTo>
                <a:cubicBezTo>
                  <a:pt x="2492696" y="644645"/>
                  <a:pt x="2484857" y="662405"/>
                  <a:pt x="2474616" y="678885"/>
                </a:cubicBezTo>
                <a:cubicBezTo>
                  <a:pt x="2476696" y="656485"/>
                  <a:pt x="2478296" y="634085"/>
                  <a:pt x="2479257" y="611525"/>
                </a:cubicBezTo>
                <a:cubicBezTo>
                  <a:pt x="2479897" y="597445"/>
                  <a:pt x="2480217" y="583525"/>
                  <a:pt x="2480217" y="569445"/>
                </a:cubicBezTo>
                <a:cubicBezTo>
                  <a:pt x="2483576" y="559365"/>
                  <a:pt x="2488376" y="549605"/>
                  <a:pt x="2490456" y="538885"/>
                </a:cubicBezTo>
                <a:close/>
                <a:moveTo>
                  <a:pt x="2462616" y="777125"/>
                </a:moveTo>
                <a:cubicBezTo>
                  <a:pt x="2467897" y="755045"/>
                  <a:pt x="2469656" y="731845"/>
                  <a:pt x="2471897" y="709125"/>
                </a:cubicBezTo>
                <a:cubicBezTo>
                  <a:pt x="2485017" y="690245"/>
                  <a:pt x="2496217" y="669605"/>
                  <a:pt x="2505816" y="649285"/>
                </a:cubicBezTo>
                <a:cubicBezTo>
                  <a:pt x="2513977" y="632325"/>
                  <a:pt x="2521336" y="614885"/>
                  <a:pt x="2531257" y="598885"/>
                </a:cubicBezTo>
                <a:cubicBezTo>
                  <a:pt x="2540376" y="584165"/>
                  <a:pt x="2545177" y="566885"/>
                  <a:pt x="2554137" y="551845"/>
                </a:cubicBezTo>
                <a:cubicBezTo>
                  <a:pt x="2562616" y="537445"/>
                  <a:pt x="2573336" y="524485"/>
                  <a:pt x="2581496" y="509765"/>
                </a:cubicBezTo>
                <a:cubicBezTo>
                  <a:pt x="2591576" y="491525"/>
                  <a:pt x="2602937" y="474725"/>
                  <a:pt x="2614137" y="457285"/>
                </a:cubicBezTo>
                <a:cubicBezTo>
                  <a:pt x="2635736" y="424005"/>
                  <a:pt x="2661177" y="392005"/>
                  <a:pt x="2686296" y="361285"/>
                </a:cubicBezTo>
                <a:cubicBezTo>
                  <a:pt x="2698616" y="346085"/>
                  <a:pt x="2712857" y="332805"/>
                  <a:pt x="2725496" y="317765"/>
                </a:cubicBezTo>
                <a:cubicBezTo>
                  <a:pt x="2738456" y="302245"/>
                  <a:pt x="2751576" y="287525"/>
                  <a:pt x="2766456" y="273765"/>
                </a:cubicBezTo>
                <a:cubicBezTo>
                  <a:pt x="2797017" y="245765"/>
                  <a:pt x="2821977" y="212165"/>
                  <a:pt x="2853177" y="184965"/>
                </a:cubicBezTo>
                <a:cubicBezTo>
                  <a:pt x="2884057" y="157925"/>
                  <a:pt x="2917656" y="135045"/>
                  <a:pt x="2950456" y="110405"/>
                </a:cubicBezTo>
                <a:cubicBezTo>
                  <a:pt x="2973336" y="93125"/>
                  <a:pt x="2995097" y="74725"/>
                  <a:pt x="3017816" y="57285"/>
                </a:cubicBezTo>
                <a:cubicBezTo>
                  <a:pt x="3013177" y="65125"/>
                  <a:pt x="3009816" y="73605"/>
                  <a:pt x="3004376" y="80805"/>
                </a:cubicBezTo>
                <a:cubicBezTo>
                  <a:pt x="2987257" y="103845"/>
                  <a:pt x="2973496" y="128965"/>
                  <a:pt x="2956057" y="151845"/>
                </a:cubicBezTo>
                <a:cubicBezTo>
                  <a:pt x="2941336" y="171205"/>
                  <a:pt x="2932217" y="193445"/>
                  <a:pt x="2918937" y="213605"/>
                </a:cubicBezTo>
                <a:cubicBezTo>
                  <a:pt x="2912217" y="223525"/>
                  <a:pt x="2908376" y="235205"/>
                  <a:pt x="2901816" y="245285"/>
                </a:cubicBezTo>
                <a:cubicBezTo>
                  <a:pt x="2893816" y="257765"/>
                  <a:pt x="2886776" y="270725"/>
                  <a:pt x="2879257" y="283525"/>
                </a:cubicBezTo>
                <a:cubicBezTo>
                  <a:pt x="2865816" y="306405"/>
                  <a:pt x="2852857" y="329125"/>
                  <a:pt x="2836057" y="349765"/>
                </a:cubicBezTo>
                <a:cubicBezTo>
                  <a:pt x="2818296" y="371845"/>
                  <a:pt x="2801656" y="394405"/>
                  <a:pt x="2785336" y="417765"/>
                </a:cubicBezTo>
                <a:cubicBezTo>
                  <a:pt x="2754456" y="461925"/>
                  <a:pt x="2724696" y="507205"/>
                  <a:pt x="2697496" y="553765"/>
                </a:cubicBezTo>
                <a:cubicBezTo>
                  <a:pt x="2644057" y="645285"/>
                  <a:pt x="2577177" y="727525"/>
                  <a:pt x="2509496" y="808805"/>
                </a:cubicBezTo>
                <a:cubicBezTo>
                  <a:pt x="2476057" y="849125"/>
                  <a:pt x="2447416" y="893285"/>
                  <a:pt x="2411576" y="931525"/>
                </a:cubicBezTo>
                <a:cubicBezTo>
                  <a:pt x="2393496" y="950725"/>
                  <a:pt x="2370456" y="963525"/>
                  <a:pt x="2350937" y="980965"/>
                </a:cubicBezTo>
                <a:cubicBezTo>
                  <a:pt x="2348057" y="983525"/>
                  <a:pt x="2345177" y="985925"/>
                  <a:pt x="2342296" y="988485"/>
                </a:cubicBezTo>
                <a:cubicBezTo>
                  <a:pt x="2360696" y="964165"/>
                  <a:pt x="2377977" y="938725"/>
                  <a:pt x="2395416" y="914405"/>
                </a:cubicBezTo>
                <a:cubicBezTo>
                  <a:pt x="2425496" y="872485"/>
                  <a:pt x="2450616" y="827365"/>
                  <a:pt x="2462616" y="777125"/>
                </a:cubicBezTo>
                <a:close/>
                <a:moveTo>
                  <a:pt x="2446937" y="668005"/>
                </a:moveTo>
                <a:cubicBezTo>
                  <a:pt x="2442137" y="723685"/>
                  <a:pt x="2437656" y="778565"/>
                  <a:pt x="2413336" y="829765"/>
                </a:cubicBezTo>
                <a:cubicBezTo>
                  <a:pt x="2390616" y="877605"/>
                  <a:pt x="2355897" y="918885"/>
                  <a:pt x="2324857" y="961285"/>
                </a:cubicBezTo>
                <a:cubicBezTo>
                  <a:pt x="2310137" y="981445"/>
                  <a:pt x="2295416" y="1001925"/>
                  <a:pt x="2277656" y="1019685"/>
                </a:cubicBezTo>
                <a:cubicBezTo>
                  <a:pt x="2259897" y="1037445"/>
                  <a:pt x="2240217" y="1053125"/>
                  <a:pt x="2223736" y="1072005"/>
                </a:cubicBezTo>
                <a:cubicBezTo>
                  <a:pt x="2206776" y="1091525"/>
                  <a:pt x="2185336" y="1107365"/>
                  <a:pt x="2165017" y="1123205"/>
                </a:cubicBezTo>
                <a:cubicBezTo>
                  <a:pt x="2144217" y="1139365"/>
                  <a:pt x="2125496" y="1156165"/>
                  <a:pt x="2102456" y="1169445"/>
                </a:cubicBezTo>
                <a:cubicBezTo>
                  <a:pt x="2088057" y="1177605"/>
                  <a:pt x="2073017" y="1185285"/>
                  <a:pt x="2057656" y="1191845"/>
                </a:cubicBezTo>
                <a:cubicBezTo>
                  <a:pt x="2055097" y="1192485"/>
                  <a:pt x="2052696" y="1193125"/>
                  <a:pt x="2050137" y="1193765"/>
                </a:cubicBezTo>
                <a:cubicBezTo>
                  <a:pt x="2034776" y="1197605"/>
                  <a:pt x="2019897" y="1202725"/>
                  <a:pt x="2005177" y="1208485"/>
                </a:cubicBezTo>
                <a:cubicBezTo>
                  <a:pt x="2013656" y="1188965"/>
                  <a:pt x="2020217" y="1168965"/>
                  <a:pt x="2025017" y="1148485"/>
                </a:cubicBezTo>
                <a:cubicBezTo>
                  <a:pt x="2039416" y="1138885"/>
                  <a:pt x="2055257" y="1132485"/>
                  <a:pt x="2069496" y="1122725"/>
                </a:cubicBezTo>
                <a:cubicBezTo>
                  <a:pt x="2085496" y="1111685"/>
                  <a:pt x="2102937" y="1103045"/>
                  <a:pt x="2119097" y="1092005"/>
                </a:cubicBezTo>
                <a:cubicBezTo>
                  <a:pt x="2136217" y="1080325"/>
                  <a:pt x="2152057" y="1066885"/>
                  <a:pt x="2167097" y="1052805"/>
                </a:cubicBezTo>
                <a:cubicBezTo>
                  <a:pt x="2184057" y="1037125"/>
                  <a:pt x="2202137" y="1023365"/>
                  <a:pt x="2219416" y="1008005"/>
                </a:cubicBezTo>
                <a:cubicBezTo>
                  <a:pt x="2251897" y="979205"/>
                  <a:pt x="2269977" y="935045"/>
                  <a:pt x="2292536" y="898885"/>
                </a:cubicBezTo>
                <a:cubicBezTo>
                  <a:pt x="2314937" y="863045"/>
                  <a:pt x="2329977" y="821925"/>
                  <a:pt x="2346776" y="783045"/>
                </a:cubicBezTo>
                <a:cubicBezTo>
                  <a:pt x="2363736" y="743685"/>
                  <a:pt x="2374616" y="702405"/>
                  <a:pt x="2385656" y="660965"/>
                </a:cubicBezTo>
                <a:cubicBezTo>
                  <a:pt x="2397336" y="616965"/>
                  <a:pt x="2412696" y="574885"/>
                  <a:pt x="2421336" y="530245"/>
                </a:cubicBezTo>
                <a:cubicBezTo>
                  <a:pt x="2429816" y="486725"/>
                  <a:pt x="2429177" y="444485"/>
                  <a:pt x="2426296" y="400485"/>
                </a:cubicBezTo>
                <a:cubicBezTo>
                  <a:pt x="2425496" y="386565"/>
                  <a:pt x="2425177" y="372645"/>
                  <a:pt x="2424857" y="358725"/>
                </a:cubicBezTo>
                <a:cubicBezTo>
                  <a:pt x="2449656" y="460805"/>
                  <a:pt x="2455897" y="563525"/>
                  <a:pt x="2446937" y="668005"/>
                </a:cubicBezTo>
                <a:close/>
                <a:moveTo>
                  <a:pt x="2399736" y="261445"/>
                </a:moveTo>
                <a:cubicBezTo>
                  <a:pt x="2403736" y="272005"/>
                  <a:pt x="2405336" y="283525"/>
                  <a:pt x="2407257" y="294725"/>
                </a:cubicBezTo>
                <a:cubicBezTo>
                  <a:pt x="2408217" y="299845"/>
                  <a:pt x="2409336" y="304645"/>
                  <a:pt x="2410776" y="309605"/>
                </a:cubicBezTo>
                <a:cubicBezTo>
                  <a:pt x="2411416" y="316005"/>
                  <a:pt x="2412217" y="322405"/>
                  <a:pt x="2412696" y="328645"/>
                </a:cubicBezTo>
                <a:cubicBezTo>
                  <a:pt x="2414616" y="350405"/>
                  <a:pt x="2412857" y="373125"/>
                  <a:pt x="2413017" y="395045"/>
                </a:cubicBezTo>
                <a:cubicBezTo>
                  <a:pt x="2413177" y="416005"/>
                  <a:pt x="2415416" y="436965"/>
                  <a:pt x="2414776" y="458085"/>
                </a:cubicBezTo>
                <a:cubicBezTo>
                  <a:pt x="2414137" y="479685"/>
                  <a:pt x="2411097" y="501445"/>
                  <a:pt x="2407416" y="522885"/>
                </a:cubicBezTo>
                <a:cubicBezTo>
                  <a:pt x="2399736" y="567045"/>
                  <a:pt x="2383416" y="608325"/>
                  <a:pt x="2371736" y="651525"/>
                </a:cubicBezTo>
                <a:cubicBezTo>
                  <a:pt x="2360857" y="691845"/>
                  <a:pt x="2350937" y="733125"/>
                  <a:pt x="2334137" y="771525"/>
                </a:cubicBezTo>
                <a:cubicBezTo>
                  <a:pt x="2325496" y="791205"/>
                  <a:pt x="2317177" y="811045"/>
                  <a:pt x="2308376" y="830725"/>
                </a:cubicBezTo>
                <a:cubicBezTo>
                  <a:pt x="2303576" y="841445"/>
                  <a:pt x="2299097" y="851365"/>
                  <a:pt x="2293017" y="861445"/>
                </a:cubicBezTo>
                <a:cubicBezTo>
                  <a:pt x="2287576" y="870245"/>
                  <a:pt x="2285017" y="880645"/>
                  <a:pt x="2279257" y="889285"/>
                </a:cubicBezTo>
                <a:cubicBezTo>
                  <a:pt x="2255097" y="925925"/>
                  <a:pt x="2237977" y="969765"/>
                  <a:pt x="2204536" y="999365"/>
                </a:cubicBezTo>
                <a:cubicBezTo>
                  <a:pt x="2188857" y="1013445"/>
                  <a:pt x="2172217" y="1025445"/>
                  <a:pt x="2156857" y="1040005"/>
                </a:cubicBezTo>
                <a:cubicBezTo>
                  <a:pt x="2141816" y="1054245"/>
                  <a:pt x="2125656" y="1067205"/>
                  <a:pt x="2108857" y="1079205"/>
                </a:cubicBezTo>
                <a:cubicBezTo>
                  <a:pt x="2083736" y="1096965"/>
                  <a:pt x="2055736" y="1109925"/>
                  <a:pt x="2029656" y="1125925"/>
                </a:cubicBezTo>
                <a:cubicBezTo>
                  <a:pt x="2034616" y="1097925"/>
                  <a:pt x="2036856" y="1069285"/>
                  <a:pt x="2037017" y="1040165"/>
                </a:cubicBezTo>
                <a:cubicBezTo>
                  <a:pt x="2046296" y="1031685"/>
                  <a:pt x="2049496" y="1017765"/>
                  <a:pt x="2059257" y="1008965"/>
                </a:cubicBezTo>
                <a:cubicBezTo>
                  <a:pt x="2073816" y="995845"/>
                  <a:pt x="2086456" y="980485"/>
                  <a:pt x="2099257" y="965765"/>
                </a:cubicBezTo>
                <a:cubicBezTo>
                  <a:pt x="2125177" y="935845"/>
                  <a:pt x="2152217" y="904965"/>
                  <a:pt x="2172057" y="870565"/>
                </a:cubicBezTo>
                <a:cubicBezTo>
                  <a:pt x="2193816" y="832805"/>
                  <a:pt x="2214296" y="794245"/>
                  <a:pt x="2238456" y="758085"/>
                </a:cubicBezTo>
                <a:cubicBezTo>
                  <a:pt x="2262296" y="722405"/>
                  <a:pt x="2283576" y="682725"/>
                  <a:pt x="2301496" y="643845"/>
                </a:cubicBezTo>
                <a:cubicBezTo>
                  <a:pt x="2336857" y="566245"/>
                  <a:pt x="2363736" y="483685"/>
                  <a:pt x="2374456" y="399205"/>
                </a:cubicBezTo>
                <a:cubicBezTo>
                  <a:pt x="2379897" y="356805"/>
                  <a:pt x="2386296" y="315045"/>
                  <a:pt x="2383097" y="272165"/>
                </a:cubicBezTo>
                <a:cubicBezTo>
                  <a:pt x="2381656" y="252965"/>
                  <a:pt x="2378937" y="233605"/>
                  <a:pt x="2375416" y="214725"/>
                </a:cubicBezTo>
                <a:cubicBezTo>
                  <a:pt x="2384217" y="229925"/>
                  <a:pt x="2393496" y="244805"/>
                  <a:pt x="2399736" y="261445"/>
                </a:cubicBezTo>
                <a:close/>
                <a:moveTo>
                  <a:pt x="2269977" y="277925"/>
                </a:moveTo>
                <a:cubicBezTo>
                  <a:pt x="2274776" y="263045"/>
                  <a:pt x="2278456" y="247685"/>
                  <a:pt x="2282137" y="232485"/>
                </a:cubicBezTo>
                <a:cubicBezTo>
                  <a:pt x="2286616" y="213925"/>
                  <a:pt x="2285977" y="193285"/>
                  <a:pt x="2292057" y="175205"/>
                </a:cubicBezTo>
                <a:cubicBezTo>
                  <a:pt x="2297177" y="159685"/>
                  <a:pt x="2297336" y="142245"/>
                  <a:pt x="2300217" y="126245"/>
                </a:cubicBezTo>
                <a:cubicBezTo>
                  <a:pt x="2301977" y="116325"/>
                  <a:pt x="2304057" y="106565"/>
                  <a:pt x="2305816" y="96645"/>
                </a:cubicBezTo>
                <a:cubicBezTo>
                  <a:pt x="2307576" y="93765"/>
                  <a:pt x="2309177" y="91045"/>
                  <a:pt x="2310776" y="88005"/>
                </a:cubicBezTo>
                <a:cubicBezTo>
                  <a:pt x="2320696" y="103525"/>
                  <a:pt x="2329656" y="119525"/>
                  <a:pt x="2338937" y="135525"/>
                </a:cubicBezTo>
                <a:cubicBezTo>
                  <a:pt x="2346456" y="148325"/>
                  <a:pt x="2352217" y="162085"/>
                  <a:pt x="2357977" y="175845"/>
                </a:cubicBezTo>
                <a:cubicBezTo>
                  <a:pt x="2360536" y="192805"/>
                  <a:pt x="2362137" y="210085"/>
                  <a:pt x="2364376" y="227045"/>
                </a:cubicBezTo>
                <a:cubicBezTo>
                  <a:pt x="2367416" y="249285"/>
                  <a:pt x="2369656" y="271685"/>
                  <a:pt x="2370296" y="294245"/>
                </a:cubicBezTo>
                <a:cubicBezTo>
                  <a:pt x="2370937" y="317925"/>
                  <a:pt x="2366776" y="341285"/>
                  <a:pt x="2363736" y="364805"/>
                </a:cubicBezTo>
                <a:cubicBezTo>
                  <a:pt x="2358616" y="403685"/>
                  <a:pt x="2353017" y="441605"/>
                  <a:pt x="2344376" y="479845"/>
                </a:cubicBezTo>
                <a:cubicBezTo>
                  <a:pt x="2334137" y="525125"/>
                  <a:pt x="2314456" y="569285"/>
                  <a:pt x="2297656" y="612325"/>
                </a:cubicBezTo>
                <a:cubicBezTo>
                  <a:pt x="2281336" y="653925"/>
                  <a:pt x="2259097" y="692165"/>
                  <a:pt x="2236536" y="730565"/>
                </a:cubicBezTo>
                <a:cubicBezTo>
                  <a:pt x="2215097" y="766885"/>
                  <a:pt x="2193177" y="802885"/>
                  <a:pt x="2171736" y="839365"/>
                </a:cubicBezTo>
                <a:cubicBezTo>
                  <a:pt x="2150616" y="875205"/>
                  <a:pt x="2127416" y="909605"/>
                  <a:pt x="2099897" y="940805"/>
                </a:cubicBezTo>
                <a:cubicBezTo>
                  <a:pt x="2085656" y="956965"/>
                  <a:pt x="2071897" y="973445"/>
                  <a:pt x="2057017" y="989125"/>
                </a:cubicBezTo>
                <a:cubicBezTo>
                  <a:pt x="2050776" y="995685"/>
                  <a:pt x="2043736" y="1001285"/>
                  <a:pt x="2037656" y="1008165"/>
                </a:cubicBezTo>
                <a:cubicBezTo>
                  <a:pt x="2037496" y="1008325"/>
                  <a:pt x="2037336" y="1008645"/>
                  <a:pt x="2037177" y="1008805"/>
                </a:cubicBezTo>
                <a:cubicBezTo>
                  <a:pt x="2037017" y="1003845"/>
                  <a:pt x="2036856" y="998725"/>
                  <a:pt x="2036536" y="993765"/>
                </a:cubicBezTo>
                <a:cubicBezTo>
                  <a:pt x="2035257" y="968965"/>
                  <a:pt x="2032217" y="944005"/>
                  <a:pt x="2027416" y="919845"/>
                </a:cubicBezTo>
                <a:cubicBezTo>
                  <a:pt x="2024536" y="905445"/>
                  <a:pt x="2019257" y="892325"/>
                  <a:pt x="2013177" y="879525"/>
                </a:cubicBezTo>
                <a:cubicBezTo>
                  <a:pt x="2017336" y="866245"/>
                  <a:pt x="2024536" y="853125"/>
                  <a:pt x="2029017" y="840165"/>
                </a:cubicBezTo>
                <a:cubicBezTo>
                  <a:pt x="2034776" y="823045"/>
                  <a:pt x="2041977" y="806565"/>
                  <a:pt x="2047576" y="789445"/>
                </a:cubicBezTo>
                <a:cubicBezTo>
                  <a:pt x="2052057" y="775365"/>
                  <a:pt x="2062776" y="760645"/>
                  <a:pt x="2069656" y="747525"/>
                </a:cubicBezTo>
                <a:cubicBezTo>
                  <a:pt x="2078776" y="729925"/>
                  <a:pt x="2088696" y="712805"/>
                  <a:pt x="2097336" y="694885"/>
                </a:cubicBezTo>
                <a:cubicBezTo>
                  <a:pt x="2113017" y="662085"/>
                  <a:pt x="2122456" y="627045"/>
                  <a:pt x="2138776" y="594565"/>
                </a:cubicBezTo>
                <a:cubicBezTo>
                  <a:pt x="2155897" y="560005"/>
                  <a:pt x="2171576" y="524645"/>
                  <a:pt x="2189336" y="490405"/>
                </a:cubicBezTo>
                <a:cubicBezTo>
                  <a:pt x="2206296" y="457925"/>
                  <a:pt x="2216857" y="421925"/>
                  <a:pt x="2230137" y="387845"/>
                </a:cubicBezTo>
                <a:cubicBezTo>
                  <a:pt x="2244057" y="351365"/>
                  <a:pt x="2257977" y="314885"/>
                  <a:pt x="2269977" y="277925"/>
                </a:cubicBezTo>
                <a:close/>
                <a:moveTo>
                  <a:pt x="2212057" y="224325"/>
                </a:moveTo>
                <a:cubicBezTo>
                  <a:pt x="2233977" y="199205"/>
                  <a:pt x="2251897" y="171365"/>
                  <a:pt x="2270937" y="144165"/>
                </a:cubicBezTo>
                <a:cubicBezTo>
                  <a:pt x="2276857" y="135845"/>
                  <a:pt x="2283416" y="127525"/>
                  <a:pt x="2289816" y="119205"/>
                </a:cubicBezTo>
                <a:cubicBezTo>
                  <a:pt x="2285496" y="137925"/>
                  <a:pt x="2284376" y="157605"/>
                  <a:pt x="2278137" y="175685"/>
                </a:cubicBezTo>
                <a:cubicBezTo>
                  <a:pt x="2273496" y="189125"/>
                  <a:pt x="2274937" y="204965"/>
                  <a:pt x="2271416" y="218725"/>
                </a:cubicBezTo>
                <a:cubicBezTo>
                  <a:pt x="2266456" y="238885"/>
                  <a:pt x="2261177" y="258885"/>
                  <a:pt x="2254616" y="278725"/>
                </a:cubicBezTo>
                <a:cubicBezTo>
                  <a:pt x="2242296" y="315845"/>
                  <a:pt x="2227736" y="352005"/>
                  <a:pt x="2213336" y="388325"/>
                </a:cubicBezTo>
                <a:cubicBezTo>
                  <a:pt x="2199897" y="422405"/>
                  <a:pt x="2188857" y="457605"/>
                  <a:pt x="2171736" y="490085"/>
                </a:cubicBezTo>
                <a:cubicBezTo>
                  <a:pt x="2153816" y="524325"/>
                  <a:pt x="2138137" y="560005"/>
                  <a:pt x="2120857" y="594565"/>
                </a:cubicBezTo>
                <a:cubicBezTo>
                  <a:pt x="2104696" y="627045"/>
                  <a:pt x="2095257" y="662085"/>
                  <a:pt x="2079416" y="694725"/>
                </a:cubicBezTo>
                <a:cubicBezTo>
                  <a:pt x="2071736" y="710565"/>
                  <a:pt x="2062937" y="725765"/>
                  <a:pt x="2054616" y="741285"/>
                </a:cubicBezTo>
                <a:cubicBezTo>
                  <a:pt x="2046456" y="756485"/>
                  <a:pt x="2035897" y="772805"/>
                  <a:pt x="2030616" y="789125"/>
                </a:cubicBezTo>
                <a:cubicBezTo>
                  <a:pt x="2025017" y="806085"/>
                  <a:pt x="2017656" y="822565"/>
                  <a:pt x="2012057" y="839685"/>
                </a:cubicBezTo>
                <a:cubicBezTo>
                  <a:pt x="2009656" y="846725"/>
                  <a:pt x="2006616" y="853445"/>
                  <a:pt x="2003736" y="860325"/>
                </a:cubicBezTo>
                <a:cubicBezTo>
                  <a:pt x="2001977" y="856645"/>
                  <a:pt x="2000057" y="852805"/>
                  <a:pt x="1998296" y="848965"/>
                </a:cubicBezTo>
                <a:cubicBezTo>
                  <a:pt x="1988057" y="826565"/>
                  <a:pt x="1974137" y="806405"/>
                  <a:pt x="1958296" y="787845"/>
                </a:cubicBezTo>
                <a:cubicBezTo>
                  <a:pt x="1958296" y="777605"/>
                  <a:pt x="1958137" y="767205"/>
                  <a:pt x="1959416" y="756805"/>
                </a:cubicBezTo>
                <a:cubicBezTo>
                  <a:pt x="1961816" y="737605"/>
                  <a:pt x="1964536" y="719205"/>
                  <a:pt x="1970296" y="700645"/>
                </a:cubicBezTo>
                <a:cubicBezTo>
                  <a:pt x="1980696" y="667045"/>
                  <a:pt x="1996856" y="635365"/>
                  <a:pt x="2008217" y="602085"/>
                </a:cubicBezTo>
                <a:cubicBezTo>
                  <a:pt x="2019897" y="567845"/>
                  <a:pt x="2032057" y="535365"/>
                  <a:pt x="2049656" y="503525"/>
                </a:cubicBezTo>
                <a:cubicBezTo>
                  <a:pt x="2068217" y="469765"/>
                  <a:pt x="2088536" y="436805"/>
                  <a:pt x="2108217" y="403525"/>
                </a:cubicBezTo>
                <a:cubicBezTo>
                  <a:pt x="2141496" y="347045"/>
                  <a:pt x="2172857" y="289605"/>
                  <a:pt x="2206776" y="233445"/>
                </a:cubicBezTo>
                <a:cubicBezTo>
                  <a:pt x="2208376" y="230405"/>
                  <a:pt x="2210296" y="227365"/>
                  <a:pt x="2212057" y="224325"/>
                </a:cubicBezTo>
                <a:close/>
                <a:moveTo>
                  <a:pt x="2064217" y="339045"/>
                </a:moveTo>
                <a:cubicBezTo>
                  <a:pt x="2067416" y="335045"/>
                  <a:pt x="2071576" y="330725"/>
                  <a:pt x="2075897" y="326085"/>
                </a:cubicBezTo>
                <a:cubicBezTo>
                  <a:pt x="2080376" y="323525"/>
                  <a:pt x="2084856" y="321285"/>
                  <a:pt x="2089977" y="319365"/>
                </a:cubicBezTo>
                <a:cubicBezTo>
                  <a:pt x="2104536" y="313925"/>
                  <a:pt x="2118137" y="306405"/>
                  <a:pt x="2131097" y="297925"/>
                </a:cubicBezTo>
                <a:cubicBezTo>
                  <a:pt x="2145336" y="288645"/>
                  <a:pt x="2158776" y="277605"/>
                  <a:pt x="2171576" y="265765"/>
                </a:cubicBezTo>
                <a:cubicBezTo>
                  <a:pt x="2141017" y="316325"/>
                  <a:pt x="2112217" y="368005"/>
                  <a:pt x="2082456" y="419205"/>
                </a:cubicBezTo>
                <a:cubicBezTo>
                  <a:pt x="2065017" y="449285"/>
                  <a:pt x="2046616" y="478885"/>
                  <a:pt x="2029977" y="509445"/>
                </a:cubicBezTo>
                <a:cubicBezTo>
                  <a:pt x="2012856" y="541285"/>
                  <a:pt x="2002137" y="575205"/>
                  <a:pt x="1990296" y="609125"/>
                </a:cubicBezTo>
                <a:cubicBezTo>
                  <a:pt x="1978776" y="642245"/>
                  <a:pt x="1962616" y="673285"/>
                  <a:pt x="1953017" y="707045"/>
                </a:cubicBezTo>
                <a:cubicBezTo>
                  <a:pt x="1946937" y="728325"/>
                  <a:pt x="1944376" y="749765"/>
                  <a:pt x="1943576" y="771365"/>
                </a:cubicBezTo>
                <a:cubicBezTo>
                  <a:pt x="1933656" y="760805"/>
                  <a:pt x="1923257" y="750885"/>
                  <a:pt x="1912536" y="741125"/>
                </a:cubicBezTo>
                <a:cubicBezTo>
                  <a:pt x="1908057" y="736965"/>
                  <a:pt x="1903416" y="732965"/>
                  <a:pt x="1898937" y="728965"/>
                </a:cubicBezTo>
                <a:cubicBezTo>
                  <a:pt x="1899257" y="724005"/>
                  <a:pt x="1900217" y="718565"/>
                  <a:pt x="1899736" y="714245"/>
                </a:cubicBezTo>
                <a:cubicBezTo>
                  <a:pt x="1898616" y="702565"/>
                  <a:pt x="1898296" y="693605"/>
                  <a:pt x="1900696" y="682085"/>
                </a:cubicBezTo>
                <a:cubicBezTo>
                  <a:pt x="1904856" y="662085"/>
                  <a:pt x="1910616" y="641925"/>
                  <a:pt x="1913177" y="621765"/>
                </a:cubicBezTo>
                <a:cubicBezTo>
                  <a:pt x="1918456" y="580325"/>
                  <a:pt x="1936057" y="541925"/>
                  <a:pt x="1954456" y="504645"/>
                </a:cubicBezTo>
                <a:cubicBezTo>
                  <a:pt x="1975097" y="462725"/>
                  <a:pt x="2000696" y="422725"/>
                  <a:pt x="2025977" y="383365"/>
                </a:cubicBezTo>
                <a:cubicBezTo>
                  <a:pt x="2036696" y="366885"/>
                  <a:pt x="2051897" y="354245"/>
                  <a:pt x="2064217" y="339045"/>
                </a:cubicBezTo>
                <a:close/>
                <a:moveTo>
                  <a:pt x="1976696" y="398725"/>
                </a:moveTo>
                <a:cubicBezTo>
                  <a:pt x="1995416" y="381765"/>
                  <a:pt x="2015897" y="367365"/>
                  <a:pt x="2036536" y="352965"/>
                </a:cubicBezTo>
                <a:cubicBezTo>
                  <a:pt x="2026776" y="363685"/>
                  <a:pt x="2017496" y="375045"/>
                  <a:pt x="2009656" y="387365"/>
                </a:cubicBezTo>
                <a:cubicBezTo>
                  <a:pt x="1984057" y="427525"/>
                  <a:pt x="1958137" y="467685"/>
                  <a:pt x="1937656" y="510725"/>
                </a:cubicBezTo>
                <a:cubicBezTo>
                  <a:pt x="1928536" y="529925"/>
                  <a:pt x="1918456" y="550245"/>
                  <a:pt x="1911736" y="570245"/>
                </a:cubicBezTo>
                <a:cubicBezTo>
                  <a:pt x="1904856" y="590565"/>
                  <a:pt x="1902456" y="609445"/>
                  <a:pt x="1898616" y="630405"/>
                </a:cubicBezTo>
                <a:cubicBezTo>
                  <a:pt x="1894776" y="651045"/>
                  <a:pt x="1888856" y="671365"/>
                  <a:pt x="1885336" y="692165"/>
                </a:cubicBezTo>
                <a:cubicBezTo>
                  <a:pt x="1883736" y="701445"/>
                  <a:pt x="1886137" y="709605"/>
                  <a:pt x="1886616" y="718405"/>
                </a:cubicBezTo>
                <a:cubicBezTo>
                  <a:pt x="1858937" y="695365"/>
                  <a:pt x="1829816" y="675685"/>
                  <a:pt x="1795416" y="662085"/>
                </a:cubicBezTo>
                <a:cubicBezTo>
                  <a:pt x="1793816" y="661445"/>
                  <a:pt x="1792057" y="660805"/>
                  <a:pt x="1790456" y="660165"/>
                </a:cubicBezTo>
                <a:cubicBezTo>
                  <a:pt x="1804376" y="587365"/>
                  <a:pt x="1839897" y="527525"/>
                  <a:pt x="1893336" y="476165"/>
                </a:cubicBezTo>
                <a:cubicBezTo>
                  <a:pt x="1920696" y="449765"/>
                  <a:pt x="1948536" y="424165"/>
                  <a:pt x="1976696" y="398725"/>
                </a:cubicBezTo>
                <a:close/>
                <a:moveTo>
                  <a:pt x="1740057" y="188645"/>
                </a:moveTo>
                <a:cubicBezTo>
                  <a:pt x="1783416" y="215845"/>
                  <a:pt x="1825816" y="246405"/>
                  <a:pt x="1858456" y="286405"/>
                </a:cubicBezTo>
                <a:cubicBezTo>
                  <a:pt x="1888536" y="323205"/>
                  <a:pt x="1907576" y="367045"/>
                  <a:pt x="1921977" y="411845"/>
                </a:cubicBezTo>
                <a:cubicBezTo>
                  <a:pt x="1922296" y="412965"/>
                  <a:pt x="1922776" y="413765"/>
                  <a:pt x="1923257" y="414565"/>
                </a:cubicBezTo>
                <a:cubicBezTo>
                  <a:pt x="1898616" y="436165"/>
                  <a:pt x="1873656" y="459845"/>
                  <a:pt x="1852217" y="484005"/>
                </a:cubicBezTo>
                <a:cubicBezTo>
                  <a:pt x="1850296" y="486085"/>
                  <a:pt x="1848536" y="488165"/>
                  <a:pt x="1846776" y="490405"/>
                </a:cubicBezTo>
                <a:cubicBezTo>
                  <a:pt x="1845336" y="464965"/>
                  <a:pt x="1836696" y="438885"/>
                  <a:pt x="1829656" y="416005"/>
                </a:cubicBezTo>
                <a:cubicBezTo>
                  <a:pt x="1818616" y="380005"/>
                  <a:pt x="1800536" y="346725"/>
                  <a:pt x="1783416" y="313445"/>
                </a:cubicBezTo>
                <a:cubicBezTo>
                  <a:pt x="1775897" y="298885"/>
                  <a:pt x="1768057" y="284805"/>
                  <a:pt x="1758137" y="271845"/>
                </a:cubicBezTo>
                <a:cubicBezTo>
                  <a:pt x="1745336" y="255045"/>
                  <a:pt x="1737017" y="235045"/>
                  <a:pt x="1724696" y="217765"/>
                </a:cubicBezTo>
                <a:cubicBezTo>
                  <a:pt x="1712376" y="200645"/>
                  <a:pt x="1700536" y="183365"/>
                  <a:pt x="1687097" y="167205"/>
                </a:cubicBezTo>
                <a:cubicBezTo>
                  <a:pt x="1681336" y="160325"/>
                  <a:pt x="1674937" y="153765"/>
                  <a:pt x="1668536" y="147525"/>
                </a:cubicBezTo>
                <a:cubicBezTo>
                  <a:pt x="1666776" y="145925"/>
                  <a:pt x="1663416" y="143045"/>
                  <a:pt x="1659736" y="139845"/>
                </a:cubicBezTo>
                <a:cubicBezTo>
                  <a:pt x="1688057" y="153445"/>
                  <a:pt x="1713656" y="172165"/>
                  <a:pt x="1740057" y="188645"/>
                </a:cubicBezTo>
                <a:close/>
                <a:moveTo>
                  <a:pt x="1581816" y="104325"/>
                </a:moveTo>
                <a:cubicBezTo>
                  <a:pt x="1601816" y="114405"/>
                  <a:pt x="1622776" y="122885"/>
                  <a:pt x="1643257" y="132165"/>
                </a:cubicBezTo>
                <a:cubicBezTo>
                  <a:pt x="1646137" y="138725"/>
                  <a:pt x="1653177" y="144165"/>
                  <a:pt x="1657336" y="149605"/>
                </a:cubicBezTo>
                <a:cubicBezTo>
                  <a:pt x="1669816" y="166725"/>
                  <a:pt x="1684696" y="181605"/>
                  <a:pt x="1696536" y="199365"/>
                </a:cubicBezTo>
                <a:cubicBezTo>
                  <a:pt x="1708057" y="216645"/>
                  <a:pt x="1720536" y="233445"/>
                  <a:pt x="1730296" y="251845"/>
                </a:cubicBezTo>
                <a:cubicBezTo>
                  <a:pt x="1739897" y="270085"/>
                  <a:pt x="1752217" y="285765"/>
                  <a:pt x="1762137" y="303685"/>
                </a:cubicBezTo>
                <a:cubicBezTo>
                  <a:pt x="1780536" y="336645"/>
                  <a:pt x="1796696" y="370565"/>
                  <a:pt x="1809336" y="406085"/>
                </a:cubicBezTo>
                <a:cubicBezTo>
                  <a:pt x="1815416" y="423045"/>
                  <a:pt x="1821977" y="440165"/>
                  <a:pt x="1825496" y="458085"/>
                </a:cubicBezTo>
                <a:cubicBezTo>
                  <a:pt x="1829017" y="476005"/>
                  <a:pt x="1829977" y="493125"/>
                  <a:pt x="1830616" y="511045"/>
                </a:cubicBezTo>
                <a:cubicBezTo>
                  <a:pt x="1799897" y="553125"/>
                  <a:pt x="1778296" y="601605"/>
                  <a:pt x="1770937" y="653285"/>
                </a:cubicBezTo>
                <a:cubicBezTo>
                  <a:pt x="1752217" y="647205"/>
                  <a:pt x="1733017" y="642085"/>
                  <a:pt x="1713656" y="637605"/>
                </a:cubicBezTo>
                <a:cubicBezTo>
                  <a:pt x="1713017" y="635205"/>
                  <a:pt x="1712057" y="632805"/>
                  <a:pt x="1711416" y="631365"/>
                </a:cubicBezTo>
                <a:cubicBezTo>
                  <a:pt x="1707097" y="620325"/>
                  <a:pt x="1708536" y="607365"/>
                  <a:pt x="1706937" y="595685"/>
                </a:cubicBezTo>
                <a:cubicBezTo>
                  <a:pt x="1702937" y="566405"/>
                  <a:pt x="1705017" y="536005"/>
                  <a:pt x="1703257" y="506405"/>
                </a:cubicBezTo>
                <a:cubicBezTo>
                  <a:pt x="1701496" y="478405"/>
                  <a:pt x="1699097" y="449445"/>
                  <a:pt x="1691897" y="422245"/>
                </a:cubicBezTo>
                <a:cubicBezTo>
                  <a:pt x="1684696" y="394565"/>
                  <a:pt x="1676536" y="367045"/>
                  <a:pt x="1669816" y="339205"/>
                </a:cubicBezTo>
                <a:cubicBezTo>
                  <a:pt x="1663897" y="315205"/>
                  <a:pt x="1658296" y="291205"/>
                  <a:pt x="1650776" y="267685"/>
                </a:cubicBezTo>
                <a:cubicBezTo>
                  <a:pt x="1641977" y="240325"/>
                  <a:pt x="1628217" y="216165"/>
                  <a:pt x="1614456" y="191205"/>
                </a:cubicBezTo>
                <a:cubicBezTo>
                  <a:pt x="1593816" y="153765"/>
                  <a:pt x="1568856" y="117285"/>
                  <a:pt x="1538776" y="86245"/>
                </a:cubicBezTo>
                <a:cubicBezTo>
                  <a:pt x="1553496" y="92005"/>
                  <a:pt x="1568217" y="97445"/>
                  <a:pt x="1581816" y="104325"/>
                </a:cubicBezTo>
                <a:close/>
                <a:moveTo>
                  <a:pt x="1517496" y="77445"/>
                </a:moveTo>
                <a:cubicBezTo>
                  <a:pt x="1529977" y="94725"/>
                  <a:pt x="1544057" y="111045"/>
                  <a:pt x="1557177" y="128005"/>
                </a:cubicBezTo>
                <a:cubicBezTo>
                  <a:pt x="1575097" y="151205"/>
                  <a:pt x="1589977" y="176965"/>
                  <a:pt x="1603736" y="202885"/>
                </a:cubicBezTo>
                <a:cubicBezTo>
                  <a:pt x="1616217" y="226245"/>
                  <a:pt x="1627576" y="248965"/>
                  <a:pt x="1635897" y="274245"/>
                </a:cubicBezTo>
                <a:cubicBezTo>
                  <a:pt x="1644376" y="300165"/>
                  <a:pt x="1649816" y="326885"/>
                  <a:pt x="1656217" y="353285"/>
                </a:cubicBezTo>
                <a:cubicBezTo>
                  <a:pt x="1662456" y="379365"/>
                  <a:pt x="1669977" y="404965"/>
                  <a:pt x="1676536" y="430885"/>
                </a:cubicBezTo>
                <a:cubicBezTo>
                  <a:pt x="1682937" y="456005"/>
                  <a:pt x="1684376" y="483045"/>
                  <a:pt x="1686137" y="508965"/>
                </a:cubicBezTo>
                <a:cubicBezTo>
                  <a:pt x="1687897" y="536645"/>
                  <a:pt x="1687097" y="564485"/>
                  <a:pt x="1689177" y="592325"/>
                </a:cubicBezTo>
                <a:cubicBezTo>
                  <a:pt x="1689977" y="604325"/>
                  <a:pt x="1690776" y="616645"/>
                  <a:pt x="1692217" y="628485"/>
                </a:cubicBezTo>
                <a:cubicBezTo>
                  <a:pt x="1692376" y="630085"/>
                  <a:pt x="1692856" y="631685"/>
                  <a:pt x="1693336" y="633285"/>
                </a:cubicBezTo>
                <a:cubicBezTo>
                  <a:pt x="1679736" y="630405"/>
                  <a:pt x="1666137" y="627685"/>
                  <a:pt x="1652696" y="624805"/>
                </a:cubicBezTo>
                <a:cubicBezTo>
                  <a:pt x="1626456" y="619365"/>
                  <a:pt x="1600536" y="612965"/>
                  <a:pt x="1574456" y="606565"/>
                </a:cubicBezTo>
                <a:cubicBezTo>
                  <a:pt x="1574137" y="604485"/>
                  <a:pt x="1573496" y="602405"/>
                  <a:pt x="1572856" y="600485"/>
                </a:cubicBezTo>
                <a:cubicBezTo>
                  <a:pt x="1568217" y="580965"/>
                  <a:pt x="1556536" y="560965"/>
                  <a:pt x="1547897" y="544645"/>
                </a:cubicBezTo>
                <a:cubicBezTo>
                  <a:pt x="1546616" y="542245"/>
                  <a:pt x="1545336" y="539845"/>
                  <a:pt x="1543897" y="537605"/>
                </a:cubicBezTo>
                <a:cubicBezTo>
                  <a:pt x="1544536" y="534885"/>
                  <a:pt x="1543897" y="532005"/>
                  <a:pt x="1541177" y="530245"/>
                </a:cubicBezTo>
                <a:cubicBezTo>
                  <a:pt x="1537977" y="528165"/>
                  <a:pt x="1534776" y="515685"/>
                  <a:pt x="1533496" y="512645"/>
                </a:cubicBezTo>
                <a:cubicBezTo>
                  <a:pt x="1529977" y="504165"/>
                  <a:pt x="1525816" y="496005"/>
                  <a:pt x="1523097" y="487205"/>
                </a:cubicBezTo>
                <a:cubicBezTo>
                  <a:pt x="1516696" y="467045"/>
                  <a:pt x="1508057" y="448645"/>
                  <a:pt x="1503897" y="427685"/>
                </a:cubicBezTo>
                <a:cubicBezTo>
                  <a:pt x="1499897" y="407365"/>
                  <a:pt x="1496696" y="386885"/>
                  <a:pt x="1491736" y="366725"/>
                </a:cubicBezTo>
                <a:cubicBezTo>
                  <a:pt x="1486776" y="346725"/>
                  <a:pt x="1488217" y="324645"/>
                  <a:pt x="1485017" y="304165"/>
                </a:cubicBezTo>
                <a:cubicBezTo>
                  <a:pt x="1478137" y="260485"/>
                  <a:pt x="1482776" y="215525"/>
                  <a:pt x="1481336" y="171525"/>
                </a:cubicBezTo>
                <a:cubicBezTo>
                  <a:pt x="1480057" y="129925"/>
                  <a:pt x="1476856" y="87685"/>
                  <a:pt x="1473177" y="46245"/>
                </a:cubicBezTo>
                <a:cubicBezTo>
                  <a:pt x="1485177" y="60165"/>
                  <a:pt x="1500696" y="69605"/>
                  <a:pt x="1517496" y="77445"/>
                </a:cubicBezTo>
                <a:close/>
                <a:moveTo>
                  <a:pt x="1445816" y="91205"/>
                </a:moveTo>
                <a:cubicBezTo>
                  <a:pt x="1452057" y="82725"/>
                  <a:pt x="1458296" y="72805"/>
                  <a:pt x="1463097" y="62245"/>
                </a:cubicBezTo>
                <a:cubicBezTo>
                  <a:pt x="1462616" y="73285"/>
                  <a:pt x="1463416" y="84325"/>
                  <a:pt x="1463736" y="95365"/>
                </a:cubicBezTo>
                <a:cubicBezTo>
                  <a:pt x="1464536" y="119045"/>
                  <a:pt x="1466137" y="142885"/>
                  <a:pt x="1467097" y="166565"/>
                </a:cubicBezTo>
                <a:cubicBezTo>
                  <a:pt x="1469336" y="217605"/>
                  <a:pt x="1466137" y="267525"/>
                  <a:pt x="1471097" y="318565"/>
                </a:cubicBezTo>
                <a:cubicBezTo>
                  <a:pt x="1473017" y="337285"/>
                  <a:pt x="1472057" y="357605"/>
                  <a:pt x="1477816" y="375845"/>
                </a:cubicBezTo>
                <a:cubicBezTo>
                  <a:pt x="1485017" y="398725"/>
                  <a:pt x="1486937" y="424485"/>
                  <a:pt x="1491576" y="448165"/>
                </a:cubicBezTo>
                <a:cubicBezTo>
                  <a:pt x="1492057" y="451045"/>
                  <a:pt x="1493017" y="453765"/>
                  <a:pt x="1493977" y="456645"/>
                </a:cubicBezTo>
                <a:cubicBezTo>
                  <a:pt x="1487257" y="449765"/>
                  <a:pt x="1480057" y="443365"/>
                  <a:pt x="1472696" y="437285"/>
                </a:cubicBezTo>
                <a:cubicBezTo>
                  <a:pt x="1448376" y="417125"/>
                  <a:pt x="1424696" y="396005"/>
                  <a:pt x="1401177" y="375045"/>
                </a:cubicBezTo>
                <a:cubicBezTo>
                  <a:pt x="1400856" y="374725"/>
                  <a:pt x="1400696" y="374565"/>
                  <a:pt x="1400376" y="374405"/>
                </a:cubicBezTo>
                <a:cubicBezTo>
                  <a:pt x="1399576" y="373765"/>
                  <a:pt x="1398776" y="372965"/>
                  <a:pt x="1397977" y="372325"/>
                </a:cubicBezTo>
                <a:cubicBezTo>
                  <a:pt x="1397177" y="369605"/>
                  <a:pt x="1396217" y="367045"/>
                  <a:pt x="1395416" y="364165"/>
                </a:cubicBezTo>
                <a:cubicBezTo>
                  <a:pt x="1391736" y="351045"/>
                  <a:pt x="1392217" y="334725"/>
                  <a:pt x="1391097" y="320965"/>
                </a:cubicBezTo>
                <a:cubicBezTo>
                  <a:pt x="1389816" y="305285"/>
                  <a:pt x="1393816" y="290085"/>
                  <a:pt x="1396057" y="274725"/>
                </a:cubicBezTo>
                <a:cubicBezTo>
                  <a:pt x="1398137" y="260165"/>
                  <a:pt x="1399576" y="245605"/>
                  <a:pt x="1401336" y="231045"/>
                </a:cubicBezTo>
                <a:cubicBezTo>
                  <a:pt x="1404536" y="204325"/>
                  <a:pt x="1410616" y="177925"/>
                  <a:pt x="1419897" y="152645"/>
                </a:cubicBezTo>
                <a:cubicBezTo>
                  <a:pt x="1427897" y="131685"/>
                  <a:pt x="1437496" y="111685"/>
                  <a:pt x="1445816" y="91205"/>
                </a:cubicBezTo>
                <a:close/>
                <a:moveTo>
                  <a:pt x="1281177" y="261125"/>
                </a:moveTo>
                <a:cubicBezTo>
                  <a:pt x="1290296" y="247845"/>
                  <a:pt x="1312856" y="235205"/>
                  <a:pt x="1321336" y="227045"/>
                </a:cubicBezTo>
                <a:cubicBezTo>
                  <a:pt x="1343897" y="205445"/>
                  <a:pt x="1365977" y="183205"/>
                  <a:pt x="1386937" y="160165"/>
                </a:cubicBezTo>
                <a:cubicBezTo>
                  <a:pt x="1397336" y="148965"/>
                  <a:pt x="1407736" y="137445"/>
                  <a:pt x="1417977" y="125765"/>
                </a:cubicBezTo>
                <a:cubicBezTo>
                  <a:pt x="1414456" y="132805"/>
                  <a:pt x="1411257" y="140005"/>
                  <a:pt x="1408376" y="147685"/>
                </a:cubicBezTo>
                <a:cubicBezTo>
                  <a:pt x="1398937" y="172325"/>
                  <a:pt x="1392696" y="196805"/>
                  <a:pt x="1388376" y="223045"/>
                </a:cubicBezTo>
                <a:cubicBezTo>
                  <a:pt x="1385977" y="237445"/>
                  <a:pt x="1384536" y="252165"/>
                  <a:pt x="1382616" y="266565"/>
                </a:cubicBezTo>
                <a:cubicBezTo>
                  <a:pt x="1380376" y="282885"/>
                  <a:pt x="1376217" y="298885"/>
                  <a:pt x="1376057" y="315525"/>
                </a:cubicBezTo>
                <a:cubicBezTo>
                  <a:pt x="1375897" y="327845"/>
                  <a:pt x="1377816" y="340325"/>
                  <a:pt x="1378937" y="352645"/>
                </a:cubicBezTo>
                <a:cubicBezTo>
                  <a:pt x="1379097" y="353605"/>
                  <a:pt x="1379097" y="354565"/>
                  <a:pt x="1379257" y="355525"/>
                </a:cubicBezTo>
                <a:cubicBezTo>
                  <a:pt x="1354776" y="333765"/>
                  <a:pt x="1329977" y="312325"/>
                  <a:pt x="1304217" y="292005"/>
                </a:cubicBezTo>
                <a:cubicBezTo>
                  <a:pt x="1295416" y="285125"/>
                  <a:pt x="1286616" y="278245"/>
                  <a:pt x="1277656" y="271525"/>
                </a:cubicBezTo>
                <a:cubicBezTo>
                  <a:pt x="1278137" y="267685"/>
                  <a:pt x="1279257" y="264325"/>
                  <a:pt x="1281177" y="261125"/>
                </a:cubicBezTo>
                <a:close/>
                <a:moveTo>
                  <a:pt x="1296536" y="320965"/>
                </a:moveTo>
                <a:cubicBezTo>
                  <a:pt x="1352057" y="366885"/>
                  <a:pt x="1404376" y="416805"/>
                  <a:pt x="1459576" y="463045"/>
                </a:cubicBezTo>
                <a:cubicBezTo>
                  <a:pt x="1485496" y="484645"/>
                  <a:pt x="1501336" y="512165"/>
                  <a:pt x="1514937" y="542405"/>
                </a:cubicBezTo>
                <a:cubicBezTo>
                  <a:pt x="1521177" y="556325"/>
                  <a:pt x="1522296" y="577285"/>
                  <a:pt x="1530616" y="592005"/>
                </a:cubicBezTo>
                <a:cubicBezTo>
                  <a:pt x="1530616" y="593445"/>
                  <a:pt x="1530937" y="594885"/>
                  <a:pt x="1531257" y="596325"/>
                </a:cubicBezTo>
                <a:cubicBezTo>
                  <a:pt x="1515897" y="591845"/>
                  <a:pt x="1502137" y="584005"/>
                  <a:pt x="1487576" y="577445"/>
                </a:cubicBezTo>
                <a:cubicBezTo>
                  <a:pt x="1479257" y="570885"/>
                  <a:pt x="1471097" y="564325"/>
                  <a:pt x="1462937" y="557445"/>
                </a:cubicBezTo>
                <a:cubicBezTo>
                  <a:pt x="1462296" y="554725"/>
                  <a:pt x="1460217" y="552165"/>
                  <a:pt x="1457336" y="551685"/>
                </a:cubicBezTo>
                <a:cubicBezTo>
                  <a:pt x="1440217" y="548645"/>
                  <a:pt x="1430776" y="571685"/>
                  <a:pt x="1424376" y="583685"/>
                </a:cubicBezTo>
                <a:cubicBezTo>
                  <a:pt x="1423257" y="585765"/>
                  <a:pt x="1422137" y="587685"/>
                  <a:pt x="1420856" y="589605"/>
                </a:cubicBezTo>
                <a:cubicBezTo>
                  <a:pt x="1414456" y="594725"/>
                  <a:pt x="1407576" y="603365"/>
                  <a:pt x="1402937" y="607525"/>
                </a:cubicBezTo>
                <a:cubicBezTo>
                  <a:pt x="1394616" y="614725"/>
                  <a:pt x="1386776" y="622405"/>
                  <a:pt x="1379097" y="630405"/>
                </a:cubicBezTo>
                <a:cubicBezTo>
                  <a:pt x="1376217" y="598885"/>
                  <a:pt x="1366776" y="568165"/>
                  <a:pt x="1359736" y="537285"/>
                </a:cubicBezTo>
                <a:cubicBezTo>
                  <a:pt x="1349816" y="493445"/>
                  <a:pt x="1335097" y="453285"/>
                  <a:pt x="1317496" y="411845"/>
                </a:cubicBezTo>
                <a:cubicBezTo>
                  <a:pt x="1301336" y="373765"/>
                  <a:pt x="1277977" y="336485"/>
                  <a:pt x="1253496" y="303205"/>
                </a:cubicBezTo>
                <a:cubicBezTo>
                  <a:pt x="1244376" y="290885"/>
                  <a:pt x="1235416" y="278245"/>
                  <a:pt x="1225977" y="266085"/>
                </a:cubicBezTo>
                <a:cubicBezTo>
                  <a:pt x="1249816" y="283845"/>
                  <a:pt x="1273656" y="301925"/>
                  <a:pt x="1296536" y="320965"/>
                </a:cubicBezTo>
                <a:close/>
                <a:moveTo>
                  <a:pt x="1086616" y="182245"/>
                </a:moveTo>
                <a:cubicBezTo>
                  <a:pt x="1105497" y="185605"/>
                  <a:pt x="1123897" y="194565"/>
                  <a:pt x="1140216" y="204165"/>
                </a:cubicBezTo>
                <a:cubicBezTo>
                  <a:pt x="1153816" y="212165"/>
                  <a:pt x="1166937" y="221445"/>
                  <a:pt x="1179736" y="231205"/>
                </a:cubicBezTo>
                <a:cubicBezTo>
                  <a:pt x="1179897" y="231845"/>
                  <a:pt x="1180376" y="232485"/>
                  <a:pt x="1181176" y="232805"/>
                </a:cubicBezTo>
                <a:cubicBezTo>
                  <a:pt x="1182136" y="233285"/>
                  <a:pt x="1183256" y="233925"/>
                  <a:pt x="1184216" y="234565"/>
                </a:cubicBezTo>
                <a:cubicBezTo>
                  <a:pt x="1186296" y="236165"/>
                  <a:pt x="1188216" y="237605"/>
                  <a:pt x="1190296" y="239205"/>
                </a:cubicBezTo>
                <a:cubicBezTo>
                  <a:pt x="1200536" y="248325"/>
                  <a:pt x="1208856" y="262405"/>
                  <a:pt x="1215417" y="272485"/>
                </a:cubicBezTo>
                <a:cubicBezTo>
                  <a:pt x="1225176" y="287365"/>
                  <a:pt x="1235736" y="301445"/>
                  <a:pt x="1245816" y="316165"/>
                </a:cubicBezTo>
                <a:cubicBezTo>
                  <a:pt x="1269177" y="349605"/>
                  <a:pt x="1290137" y="386565"/>
                  <a:pt x="1305656" y="424325"/>
                </a:cubicBezTo>
                <a:cubicBezTo>
                  <a:pt x="1321336" y="462405"/>
                  <a:pt x="1334456" y="499525"/>
                  <a:pt x="1343416" y="539845"/>
                </a:cubicBezTo>
                <a:cubicBezTo>
                  <a:pt x="1351416" y="575045"/>
                  <a:pt x="1363097" y="611045"/>
                  <a:pt x="1363257" y="647525"/>
                </a:cubicBezTo>
                <a:cubicBezTo>
                  <a:pt x="1358937" y="652325"/>
                  <a:pt x="1354456" y="657125"/>
                  <a:pt x="1349977" y="662085"/>
                </a:cubicBezTo>
                <a:cubicBezTo>
                  <a:pt x="1333656" y="679845"/>
                  <a:pt x="1316856" y="697285"/>
                  <a:pt x="1298937" y="713285"/>
                </a:cubicBezTo>
                <a:cubicBezTo>
                  <a:pt x="1292536" y="718885"/>
                  <a:pt x="1285816" y="724005"/>
                  <a:pt x="1279097" y="729125"/>
                </a:cubicBezTo>
                <a:cubicBezTo>
                  <a:pt x="1274776" y="721125"/>
                  <a:pt x="1271897" y="708645"/>
                  <a:pt x="1270776" y="702405"/>
                </a:cubicBezTo>
                <a:cubicBezTo>
                  <a:pt x="1268217" y="688965"/>
                  <a:pt x="1266137" y="675205"/>
                  <a:pt x="1264696" y="661445"/>
                </a:cubicBezTo>
                <a:cubicBezTo>
                  <a:pt x="1261496" y="633605"/>
                  <a:pt x="1260057" y="605445"/>
                  <a:pt x="1257336" y="577605"/>
                </a:cubicBezTo>
                <a:cubicBezTo>
                  <a:pt x="1254296" y="547685"/>
                  <a:pt x="1245336" y="517765"/>
                  <a:pt x="1239097" y="488325"/>
                </a:cubicBezTo>
                <a:cubicBezTo>
                  <a:pt x="1233017" y="459365"/>
                  <a:pt x="1225656" y="432005"/>
                  <a:pt x="1213977" y="404645"/>
                </a:cubicBezTo>
                <a:cubicBezTo>
                  <a:pt x="1191417" y="351845"/>
                  <a:pt x="1164536" y="304005"/>
                  <a:pt x="1132536" y="256325"/>
                </a:cubicBezTo>
                <a:cubicBezTo>
                  <a:pt x="1116376" y="232165"/>
                  <a:pt x="1094776" y="210725"/>
                  <a:pt x="1074937" y="189765"/>
                </a:cubicBezTo>
                <a:cubicBezTo>
                  <a:pt x="1070776" y="185285"/>
                  <a:pt x="1064856" y="178085"/>
                  <a:pt x="1058136" y="171045"/>
                </a:cubicBezTo>
                <a:cubicBezTo>
                  <a:pt x="1067576" y="175365"/>
                  <a:pt x="1077176" y="180485"/>
                  <a:pt x="1086616" y="182245"/>
                </a:cubicBezTo>
                <a:close/>
                <a:moveTo>
                  <a:pt x="963576" y="140965"/>
                </a:moveTo>
                <a:cubicBezTo>
                  <a:pt x="962296" y="139365"/>
                  <a:pt x="961176" y="137605"/>
                  <a:pt x="960216" y="135845"/>
                </a:cubicBezTo>
                <a:cubicBezTo>
                  <a:pt x="972536" y="139685"/>
                  <a:pt x="984376" y="145125"/>
                  <a:pt x="995896" y="150725"/>
                </a:cubicBezTo>
                <a:cubicBezTo>
                  <a:pt x="1005656" y="155365"/>
                  <a:pt x="1016056" y="158565"/>
                  <a:pt x="1026616" y="161285"/>
                </a:cubicBezTo>
                <a:cubicBezTo>
                  <a:pt x="1045977" y="176485"/>
                  <a:pt x="1061336" y="194565"/>
                  <a:pt x="1077816" y="213445"/>
                </a:cubicBezTo>
                <a:cubicBezTo>
                  <a:pt x="1096376" y="234725"/>
                  <a:pt x="1114457" y="255685"/>
                  <a:pt x="1129497" y="279525"/>
                </a:cubicBezTo>
                <a:cubicBezTo>
                  <a:pt x="1160536" y="328965"/>
                  <a:pt x="1187417" y="379685"/>
                  <a:pt x="1207736" y="434565"/>
                </a:cubicBezTo>
                <a:cubicBezTo>
                  <a:pt x="1218296" y="463045"/>
                  <a:pt x="1222616" y="493765"/>
                  <a:pt x="1228696" y="523525"/>
                </a:cubicBezTo>
                <a:cubicBezTo>
                  <a:pt x="1234456" y="552005"/>
                  <a:pt x="1241017" y="580165"/>
                  <a:pt x="1242937" y="609285"/>
                </a:cubicBezTo>
                <a:cubicBezTo>
                  <a:pt x="1244696" y="637285"/>
                  <a:pt x="1245656" y="666085"/>
                  <a:pt x="1251576" y="693605"/>
                </a:cubicBezTo>
                <a:cubicBezTo>
                  <a:pt x="1254616" y="707845"/>
                  <a:pt x="1256217" y="726565"/>
                  <a:pt x="1264856" y="739685"/>
                </a:cubicBezTo>
                <a:cubicBezTo>
                  <a:pt x="1256856" y="745925"/>
                  <a:pt x="1249336" y="752645"/>
                  <a:pt x="1242776" y="760485"/>
                </a:cubicBezTo>
                <a:cubicBezTo>
                  <a:pt x="1233336" y="772005"/>
                  <a:pt x="1223736" y="783525"/>
                  <a:pt x="1214296" y="794885"/>
                </a:cubicBezTo>
                <a:cubicBezTo>
                  <a:pt x="1207576" y="772645"/>
                  <a:pt x="1188056" y="752645"/>
                  <a:pt x="1175417" y="734565"/>
                </a:cubicBezTo>
                <a:cubicBezTo>
                  <a:pt x="1169176" y="725605"/>
                  <a:pt x="1162136" y="717445"/>
                  <a:pt x="1154776" y="709605"/>
                </a:cubicBezTo>
                <a:cubicBezTo>
                  <a:pt x="1149656" y="700005"/>
                  <a:pt x="1143417" y="690565"/>
                  <a:pt x="1137977" y="681125"/>
                </a:cubicBezTo>
                <a:cubicBezTo>
                  <a:pt x="1124536" y="657445"/>
                  <a:pt x="1117656" y="630565"/>
                  <a:pt x="1111576" y="604325"/>
                </a:cubicBezTo>
                <a:cubicBezTo>
                  <a:pt x="1108856" y="592325"/>
                  <a:pt x="1108216" y="580005"/>
                  <a:pt x="1105977" y="567845"/>
                </a:cubicBezTo>
                <a:cubicBezTo>
                  <a:pt x="1103417" y="553445"/>
                  <a:pt x="1097656" y="539685"/>
                  <a:pt x="1094457" y="525445"/>
                </a:cubicBezTo>
                <a:cubicBezTo>
                  <a:pt x="1088696" y="500165"/>
                  <a:pt x="1080696" y="476005"/>
                  <a:pt x="1071897" y="451525"/>
                </a:cubicBezTo>
                <a:cubicBezTo>
                  <a:pt x="1052696" y="398245"/>
                  <a:pt x="1034296" y="345285"/>
                  <a:pt x="1008216" y="295045"/>
                </a:cubicBezTo>
                <a:cubicBezTo>
                  <a:pt x="996536" y="272485"/>
                  <a:pt x="987256" y="249445"/>
                  <a:pt x="980056" y="225765"/>
                </a:cubicBezTo>
                <a:cubicBezTo>
                  <a:pt x="978776" y="204805"/>
                  <a:pt x="975416" y="184645"/>
                  <a:pt x="970457" y="164165"/>
                </a:cubicBezTo>
                <a:cubicBezTo>
                  <a:pt x="968376" y="157445"/>
                  <a:pt x="968056" y="146725"/>
                  <a:pt x="963576" y="140965"/>
                </a:cubicBezTo>
                <a:close/>
                <a:moveTo>
                  <a:pt x="1190937" y="822405"/>
                </a:moveTo>
                <a:cubicBezTo>
                  <a:pt x="1190457" y="822885"/>
                  <a:pt x="1190136" y="823525"/>
                  <a:pt x="1189656" y="824165"/>
                </a:cubicBezTo>
                <a:cubicBezTo>
                  <a:pt x="1189656" y="821765"/>
                  <a:pt x="1189497" y="819365"/>
                  <a:pt x="1189176" y="816965"/>
                </a:cubicBezTo>
                <a:cubicBezTo>
                  <a:pt x="1189336" y="817125"/>
                  <a:pt x="1189656" y="817445"/>
                  <a:pt x="1189816" y="817605"/>
                </a:cubicBezTo>
                <a:cubicBezTo>
                  <a:pt x="1190296" y="819205"/>
                  <a:pt x="1190616" y="820805"/>
                  <a:pt x="1190937" y="822405"/>
                </a:cubicBezTo>
                <a:close/>
                <a:moveTo>
                  <a:pt x="979736" y="266885"/>
                </a:moveTo>
                <a:cubicBezTo>
                  <a:pt x="981977" y="272645"/>
                  <a:pt x="984536" y="278405"/>
                  <a:pt x="987096" y="284005"/>
                </a:cubicBezTo>
                <a:cubicBezTo>
                  <a:pt x="999576" y="310405"/>
                  <a:pt x="1013816" y="335685"/>
                  <a:pt x="1023736" y="363365"/>
                </a:cubicBezTo>
                <a:cubicBezTo>
                  <a:pt x="1034296" y="392965"/>
                  <a:pt x="1045176" y="422405"/>
                  <a:pt x="1055417" y="452005"/>
                </a:cubicBezTo>
                <a:cubicBezTo>
                  <a:pt x="1065656" y="481285"/>
                  <a:pt x="1073497" y="510405"/>
                  <a:pt x="1081497" y="540325"/>
                </a:cubicBezTo>
                <a:cubicBezTo>
                  <a:pt x="1088856" y="568165"/>
                  <a:pt x="1092376" y="596165"/>
                  <a:pt x="1099256" y="624165"/>
                </a:cubicBezTo>
                <a:cubicBezTo>
                  <a:pt x="1103417" y="641125"/>
                  <a:pt x="1108856" y="657285"/>
                  <a:pt x="1115897" y="672965"/>
                </a:cubicBezTo>
                <a:cubicBezTo>
                  <a:pt x="1109497" y="667205"/>
                  <a:pt x="1103256" y="661285"/>
                  <a:pt x="1097336" y="655045"/>
                </a:cubicBezTo>
                <a:cubicBezTo>
                  <a:pt x="1071736" y="629125"/>
                  <a:pt x="1043736" y="613445"/>
                  <a:pt x="1009977" y="601445"/>
                </a:cubicBezTo>
                <a:cubicBezTo>
                  <a:pt x="1001336" y="588325"/>
                  <a:pt x="989977" y="576645"/>
                  <a:pt x="983736" y="562405"/>
                </a:cubicBezTo>
                <a:cubicBezTo>
                  <a:pt x="972056" y="535845"/>
                  <a:pt x="964696" y="509285"/>
                  <a:pt x="959896" y="480805"/>
                </a:cubicBezTo>
                <a:cubicBezTo>
                  <a:pt x="954616" y="449925"/>
                  <a:pt x="954616" y="418405"/>
                  <a:pt x="956056" y="387205"/>
                </a:cubicBezTo>
                <a:cubicBezTo>
                  <a:pt x="956536" y="377445"/>
                  <a:pt x="957497" y="367845"/>
                  <a:pt x="958296" y="358085"/>
                </a:cubicBezTo>
                <a:cubicBezTo>
                  <a:pt x="958776" y="356965"/>
                  <a:pt x="959256" y="356005"/>
                  <a:pt x="959736" y="354885"/>
                </a:cubicBezTo>
                <a:cubicBezTo>
                  <a:pt x="972056" y="326565"/>
                  <a:pt x="977977" y="296965"/>
                  <a:pt x="979736" y="266885"/>
                </a:cubicBezTo>
                <a:close/>
                <a:moveTo>
                  <a:pt x="944536" y="388965"/>
                </a:moveTo>
                <a:cubicBezTo>
                  <a:pt x="941816" y="422245"/>
                  <a:pt x="941977" y="455845"/>
                  <a:pt x="947096" y="489605"/>
                </a:cubicBezTo>
                <a:cubicBezTo>
                  <a:pt x="951416" y="517125"/>
                  <a:pt x="959416" y="542405"/>
                  <a:pt x="970136" y="568005"/>
                </a:cubicBezTo>
                <a:cubicBezTo>
                  <a:pt x="974136" y="577285"/>
                  <a:pt x="980856" y="585125"/>
                  <a:pt x="986296" y="593765"/>
                </a:cubicBezTo>
                <a:cubicBezTo>
                  <a:pt x="950296" y="582885"/>
                  <a:pt x="913656" y="575525"/>
                  <a:pt x="876056" y="572645"/>
                </a:cubicBezTo>
                <a:cubicBezTo>
                  <a:pt x="875096" y="572485"/>
                  <a:pt x="874136" y="572485"/>
                  <a:pt x="873176" y="572485"/>
                </a:cubicBezTo>
                <a:cubicBezTo>
                  <a:pt x="893497" y="510085"/>
                  <a:pt x="918296" y="449125"/>
                  <a:pt x="944536" y="388965"/>
                </a:cubicBezTo>
                <a:close/>
                <a:moveTo>
                  <a:pt x="920696" y="606565"/>
                </a:moveTo>
                <a:cubicBezTo>
                  <a:pt x="962776" y="613765"/>
                  <a:pt x="1006937" y="627845"/>
                  <a:pt x="1044536" y="648005"/>
                </a:cubicBezTo>
                <a:cubicBezTo>
                  <a:pt x="1061336" y="656965"/>
                  <a:pt x="1074457" y="673445"/>
                  <a:pt x="1087897" y="686725"/>
                </a:cubicBezTo>
                <a:cubicBezTo>
                  <a:pt x="1102136" y="700965"/>
                  <a:pt x="1118296" y="712645"/>
                  <a:pt x="1131096" y="728325"/>
                </a:cubicBezTo>
                <a:cubicBezTo>
                  <a:pt x="1142296" y="742085"/>
                  <a:pt x="1153176" y="755045"/>
                  <a:pt x="1163256" y="769765"/>
                </a:cubicBezTo>
                <a:cubicBezTo>
                  <a:pt x="1166136" y="773925"/>
                  <a:pt x="1169977" y="778405"/>
                  <a:pt x="1173656" y="782885"/>
                </a:cubicBezTo>
                <a:cubicBezTo>
                  <a:pt x="1174616" y="790085"/>
                  <a:pt x="1177176" y="796965"/>
                  <a:pt x="1178776" y="804325"/>
                </a:cubicBezTo>
                <a:cubicBezTo>
                  <a:pt x="1181017" y="815205"/>
                  <a:pt x="1179417" y="825925"/>
                  <a:pt x="1180376" y="836805"/>
                </a:cubicBezTo>
                <a:cubicBezTo>
                  <a:pt x="1176856" y="841925"/>
                  <a:pt x="1173497" y="847365"/>
                  <a:pt x="1170296" y="852805"/>
                </a:cubicBezTo>
                <a:cubicBezTo>
                  <a:pt x="1162616" y="839365"/>
                  <a:pt x="1153176" y="826565"/>
                  <a:pt x="1144696" y="814245"/>
                </a:cubicBezTo>
                <a:cubicBezTo>
                  <a:pt x="1129497" y="792485"/>
                  <a:pt x="1114776" y="770725"/>
                  <a:pt x="1096216" y="751685"/>
                </a:cubicBezTo>
                <a:cubicBezTo>
                  <a:pt x="1079096" y="734245"/>
                  <a:pt x="1060056" y="718885"/>
                  <a:pt x="1041336" y="703205"/>
                </a:cubicBezTo>
                <a:cubicBezTo>
                  <a:pt x="1019416" y="684645"/>
                  <a:pt x="995896" y="664005"/>
                  <a:pt x="969336" y="652325"/>
                </a:cubicBezTo>
                <a:cubicBezTo>
                  <a:pt x="933977" y="636965"/>
                  <a:pt x="900696" y="617125"/>
                  <a:pt x="865816" y="600325"/>
                </a:cubicBezTo>
                <a:cubicBezTo>
                  <a:pt x="884376" y="601925"/>
                  <a:pt x="902616" y="603365"/>
                  <a:pt x="920696" y="606565"/>
                </a:cubicBezTo>
                <a:close/>
                <a:moveTo>
                  <a:pt x="656376" y="562245"/>
                </a:moveTo>
                <a:cubicBezTo>
                  <a:pt x="699576" y="568005"/>
                  <a:pt x="741336" y="578085"/>
                  <a:pt x="783576" y="589125"/>
                </a:cubicBezTo>
                <a:cubicBezTo>
                  <a:pt x="797497" y="592805"/>
                  <a:pt x="811576" y="595045"/>
                  <a:pt x="825816" y="596805"/>
                </a:cubicBezTo>
                <a:cubicBezTo>
                  <a:pt x="830457" y="599045"/>
                  <a:pt x="835096" y="601285"/>
                  <a:pt x="839576" y="603365"/>
                </a:cubicBezTo>
                <a:cubicBezTo>
                  <a:pt x="861497" y="613445"/>
                  <a:pt x="883416" y="623045"/>
                  <a:pt x="904696" y="634405"/>
                </a:cubicBezTo>
                <a:cubicBezTo>
                  <a:pt x="929176" y="647525"/>
                  <a:pt x="955896" y="659525"/>
                  <a:pt x="979096" y="674725"/>
                </a:cubicBezTo>
                <a:cubicBezTo>
                  <a:pt x="1017977" y="700005"/>
                  <a:pt x="1055417" y="732805"/>
                  <a:pt x="1087576" y="766085"/>
                </a:cubicBezTo>
                <a:cubicBezTo>
                  <a:pt x="1103256" y="782245"/>
                  <a:pt x="1115417" y="801125"/>
                  <a:pt x="1128216" y="819525"/>
                </a:cubicBezTo>
                <a:cubicBezTo>
                  <a:pt x="1136056" y="830725"/>
                  <a:pt x="1144536" y="841765"/>
                  <a:pt x="1150616" y="854245"/>
                </a:cubicBezTo>
                <a:cubicBezTo>
                  <a:pt x="1153336" y="859685"/>
                  <a:pt x="1157017" y="865125"/>
                  <a:pt x="1160216" y="870565"/>
                </a:cubicBezTo>
                <a:cubicBezTo>
                  <a:pt x="1156856" y="876485"/>
                  <a:pt x="1153497" y="882405"/>
                  <a:pt x="1150296" y="888005"/>
                </a:cubicBezTo>
                <a:cubicBezTo>
                  <a:pt x="1135417" y="913925"/>
                  <a:pt x="1126136" y="941285"/>
                  <a:pt x="1121656" y="969765"/>
                </a:cubicBezTo>
                <a:cubicBezTo>
                  <a:pt x="1097977" y="926725"/>
                  <a:pt x="1074776" y="882885"/>
                  <a:pt x="1042776" y="845605"/>
                </a:cubicBezTo>
                <a:cubicBezTo>
                  <a:pt x="1000856" y="796965"/>
                  <a:pt x="958937" y="751205"/>
                  <a:pt x="906136" y="713765"/>
                </a:cubicBezTo>
                <a:cubicBezTo>
                  <a:pt x="881017" y="695845"/>
                  <a:pt x="852696" y="682725"/>
                  <a:pt x="827256" y="665445"/>
                </a:cubicBezTo>
                <a:cubicBezTo>
                  <a:pt x="799736" y="646885"/>
                  <a:pt x="774457" y="625605"/>
                  <a:pt x="746457" y="607845"/>
                </a:cubicBezTo>
                <a:cubicBezTo>
                  <a:pt x="720216" y="591205"/>
                  <a:pt x="692376" y="577285"/>
                  <a:pt x="663096" y="566405"/>
                </a:cubicBezTo>
                <a:cubicBezTo>
                  <a:pt x="658457" y="564645"/>
                  <a:pt x="647256" y="562885"/>
                  <a:pt x="637656" y="559845"/>
                </a:cubicBezTo>
                <a:cubicBezTo>
                  <a:pt x="643896" y="560645"/>
                  <a:pt x="650136" y="561285"/>
                  <a:pt x="656376" y="562245"/>
                </a:cubicBezTo>
                <a:close/>
                <a:moveTo>
                  <a:pt x="528856" y="544805"/>
                </a:moveTo>
                <a:cubicBezTo>
                  <a:pt x="558616" y="550565"/>
                  <a:pt x="588856" y="554085"/>
                  <a:pt x="619096" y="557605"/>
                </a:cubicBezTo>
                <a:cubicBezTo>
                  <a:pt x="624216" y="563045"/>
                  <a:pt x="633017" y="566725"/>
                  <a:pt x="638776" y="569125"/>
                </a:cubicBezTo>
                <a:cubicBezTo>
                  <a:pt x="659416" y="578245"/>
                  <a:pt x="680376" y="584965"/>
                  <a:pt x="700536" y="595525"/>
                </a:cubicBezTo>
                <a:cubicBezTo>
                  <a:pt x="759256" y="626405"/>
                  <a:pt x="807096" y="673285"/>
                  <a:pt x="864856" y="705925"/>
                </a:cubicBezTo>
                <a:cubicBezTo>
                  <a:pt x="924376" y="739685"/>
                  <a:pt x="976056" y="788165"/>
                  <a:pt x="1017977" y="841765"/>
                </a:cubicBezTo>
                <a:cubicBezTo>
                  <a:pt x="1038136" y="867525"/>
                  <a:pt x="1057336" y="890245"/>
                  <a:pt x="1073017" y="919205"/>
                </a:cubicBezTo>
                <a:cubicBezTo>
                  <a:pt x="1087417" y="946085"/>
                  <a:pt x="1102616" y="972965"/>
                  <a:pt x="1118616" y="999045"/>
                </a:cubicBezTo>
                <a:cubicBezTo>
                  <a:pt x="1118136" y="1007045"/>
                  <a:pt x="1118136" y="1015205"/>
                  <a:pt x="1118296" y="1023525"/>
                </a:cubicBezTo>
                <a:cubicBezTo>
                  <a:pt x="1118937" y="1050245"/>
                  <a:pt x="1123096" y="1077285"/>
                  <a:pt x="1130136" y="1103685"/>
                </a:cubicBezTo>
                <a:cubicBezTo>
                  <a:pt x="1126296" y="1101765"/>
                  <a:pt x="1122457" y="1100325"/>
                  <a:pt x="1119256" y="1099045"/>
                </a:cubicBezTo>
                <a:cubicBezTo>
                  <a:pt x="1099897" y="1091845"/>
                  <a:pt x="1083897" y="1078725"/>
                  <a:pt x="1066136" y="1068165"/>
                </a:cubicBezTo>
                <a:cubicBezTo>
                  <a:pt x="1049336" y="1058085"/>
                  <a:pt x="1032216" y="1048805"/>
                  <a:pt x="1015576" y="1038565"/>
                </a:cubicBezTo>
                <a:cubicBezTo>
                  <a:pt x="997977" y="1027845"/>
                  <a:pt x="981816" y="1013925"/>
                  <a:pt x="965336" y="1001765"/>
                </a:cubicBezTo>
                <a:cubicBezTo>
                  <a:pt x="902937" y="955525"/>
                  <a:pt x="847576" y="902245"/>
                  <a:pt x="792376" y="847685"/>
                </a:cubicBezTo>
                <a:cubicBezTo>
                  <a:pt x="764856" y="820485"/>
                  <a:pt x="738937" y="792165"/>
                  <a:pt x="713977" y="762565"/>
                </a:cubicBezTo>
                <a:cubicBezTo>
                  <a:pt x="701977" y="748325"/>
                  <a:pt x="687896" y="736165"/>
                  <a:pt x="676376" y="721605"/>
                </a:cubicBezTo>
                <a:cubicBezTo>
                  <a:pt x="664216" y="706245"/>
                  <a:pt x="653017" y="690085"/>
                  <a:pt x="640696" y="674725"/>
                </a:cubicBezTo>
                <a:cubicBezTo>
                  <a:pt x="616216" y="644005"/>
                  <a:pt x="589497" y="614245"/>
                  <a:pt x="563256" y="584965"/>
                </a:cubicBezTo>
                <a:cubicBezTo>
                  <a:pt x="550296" y="570565"/>
                  <a:pt x="537176" y="556805"/>
                  <a:pt x="523736" y="543525"/>
                </a:cubicBezTo>
                <a:cubicBezTo>
                  <a:pt x="525656" y="544005"/>
                  <a:pt x="527256" y="544485"/>
                  <a:pt x="528856" y="544805"/>
                </a:cubicBezTo>
                <a:close/>
                <a:moveTo>
                  <a:pt x="429816" y="504165"/>
                </a:moveTo>
                <a:cubicBezTo>
                  <a:pt x="454616" y="517605"/>
                  <a:pt x="479416" y="530565"/>
                  <a:pt x="505977" y="538885"/>
                </a:cubicBezTo>
                <a:cubicBezTo>
                  <a:pt x="511256" y="544005"/>
                  <a:pt x="516696" y="549285"/>
                  <a:pt x="521497" y="554885"/>
                </a:cubicBezTo>
                <a:cubicBezTo>
                  <a:pt x="533816" y="569285"/>
                  <a:pt x="546136" y="583525"/>
                  <a:pt x="558457" y="597925"/>
                </a:cubicBezTo>
                <a:cubicBezTo>
                  <a:pt x="583896" y="627685"/>
                  <a:pt x="609656" y="657925"/>
                  <a:pt x="633816" y="688805"/>
                </a:cubicBezTo>
                <a:cubicBezTo>
                  <a:pt x="645977" y="704165"/>
                  <a:pt x="657017" y="720325"/>
                  <a:pt x="669017" y="735845"/>
                </a:cubicBezTo>
                <a:cubicBezTo>
                  <a:pt x="680376" y="750565"/>
                  <a:pt x="694296" y="762405"/>
                  <a:pt x="706136" y="776645"/>
                </a:cubicBezTo>
                <a:cubicBezTo>
                  <a:pt x="730457" y="805765"/>
                  <a:pt x="756056" y="833445"/>
                  <a:pt x="782937" y="860325"/>
                </a:cubicBezTo>
                <a:cubicBezTo>
                  <a:pt x="837816" y="915205"/>
                  <a:pt x="892696" y="969125"/>
                  <a:pt x="955256" y="1015365"/>
                </a:cubicBezTo>
                <a:cubicBezTo>
                  <a:pt x="987896" y="1039685"/>
                  <a:pt x="1020856" y="1061285"/>
                  <a:pt x="1055897" y="1081925"/>
                </a:cubicBezTo>
                <a:cubicBezTo>
                  <a:pt x="1071256" y="1091045"/>
                  <a:pt x="1085336" y="1102245"/>
                  <a:pt x="1101336" y="1110565"/>
                </a:cubicBezTo>
                <a:cubicBezTo>
                  <a:pt x="1110937" y="1115525"/>
                  <a:pt x="1121176" y="1119205"/>
                  <a:pt x="1130937" y="1124005"/>
                </a:cubicBezTo>
                <a:cubicBezTo>
                  <a:pt x="1132856" y="1125125"/>
                  <a:pt x="1134616" y="1126245"/>
                  <a:pt x="1137336" y="1127365"/>
                </a:cubicBezTo>
                <a:cubicBezTo>
                  <a:pt x="1146136" y="1153765"/>
                  <a:pt x="1157656" y="1179525"/>
                  <a:pt x="1171256" y="1203845"/>
                </a:cubicBezTo>
                <a:cubicBezTo>
                  <a:pt x="1132536" y="1194405"/>
                  <a:pt x="1094296" y="1183685"/>
                  <a:pt x="1057176" y="1168005"/>
                </a:cubicBezTo>
                <a:cubicBezTo>
                  <a:pt x="1011576" y="1148645"/>
                  <a:pt x="965497" y="1130565"/>
                  <a:pt x="920056" y="1110885"/>
                </a:cubicBezTo>
                <a:cubicBezTo>
                  <a:pt x="873816" y="1090885"/>
                  <a:pt x="829017" y="1068965"/>
                  <a:pt x="786136" y="1042405"/>
                </a:cubicBezTo>
                <a:cubicBezTo>
                  <a:pt x="745977" y="1017765"/>
                  <a:pt x="710937" y="985925"/>
                  <a:pt x="673336" y="957605"/>
                </a:cubicBezTo>
                <a:cubicBezTo>
                  <a:pt x="633977" y="927845"/>
                  <a:pt x="599736" y="892165"/>
                  <a:pt x="567096" y="855365"/>
                </a:cubicBezTo>
                <a:cubicBezTo>
                  <a:pt x="535096" y="819205"/>
                  <a:pt x="503576" y="781285"/>
                  <a:pt x="479256" y="739525"/>
                </a:cubicBezTo>
                <a:cubicBezTo>
                  <a:pt x="454776" y="697285"/>
                  <a:pt x="436376" y="651525"/>
                  <a:pt x="423896" y="604325"/>
                </a:cubicBezTo>
                <a:cubicBezTo>
                  <a:pt x="417656" y="580965"/>
                  <a:pt x="413816" y="557605"/>
                  <a:pt x="411576" y="533605"/>
                </a:cubicBezTo>
                <a:cubicBezTo>
                  <a:pt x="410457" y="521285"/>
                  <a:pt x="409656" y="508965"/>
                  <a:pt x="408536" y="496805"/>
                </a:cubicBezTo>
                <a:cubicBezTo>
                  <a:pt x="408376" y="495365"/>
                  <a:pt x="408216" y="492485"/>
                  <a:pt x="407896" y="489285"/>
                </a:cubicBezTo>
                <a:cubicBezTo>
                  <a:pt x="414457" y="495365"/>
                  <a:pt x="423096" y="500485"/>
                  <a:pt x="429816" y="504165"/>
                </a:cubicBezTo>
                <a:close/>
                <a:moveTo>
                  <a:pt x="387416" y="600965"/>
                </a:moveTo>
                <a:cubicBezTo>
                  <a:pt x="390937" y="575525"/>
                  <a:pt x="396376" y="549925"/>
                  <a:pt x="400696" y="524165"/>
                </a:cubicBezTo>
                <a:cubicBezTo>
                  <a:pt x="401656" y="547205"/>
                  <a:pt x="403896" y="570085"/>
                  <a:pt x="408696" y="592645"/>
                </a:cubicBezTo>
                <a:cubicBezTo>
                  <a:pt x="419256" y="641605"/>
                  <a:pt x="437176" y="688485"/>
                  <a:pt x="460056" y="732965"/>
                </a:cubicBezTo>
                <a:cubicBezTo>
                  <a:pt x="481977" y="775525"/>
                  <a:pt x="512216" y="812805"/>
                  <a:pt x="542776" y="849445"/>
                </a:cubicBezTo>
                <a:cubicBezTo>
                  <a:pt x="574937" y="887845"/>
                  <a:pt x="609497" y="925285"/>
                  <a:pt x="648216" y="957285"/>
                </a:cubicBezTo>
                <a:cubicBezTo>
                  <a:pt x="666616" y="972485"/>
                  <a:pt x="686776" y="985605"/>
                  <a:pt x="705017" y="1000965"/>
                </a:cubicBezTo>
                <a:cubicBezTo>
                  <a:pt x="724376" y="1017285"/>
                  <a:pt x="743576" y="1033605"/>
                  <a:pt x="765017" y="1047365"/>
                </a:cubicBezTo>
                <a:cubicBezTo>
                  <a:pt x="808696" y="1075205"/>
                  <a:pt x="854296" y="1099365"/>
                  <a:pt x="901656" y="1120005"/>
                </a:cubicBezTo>
                <a:cubicBezTo>
                  <a:pt x="951096" y="1141605"/>
                  <a:pt x="1001497" y="1160645"/>
                  <a:pt x="1050776" y="1182405"/>
                </a:cubicBezTo>
                <a:cubicBezTo>
                  <a:pt x="1075096" y="1193125"/>
                  <a:pt x="1100216" y="1200965"/>
                  <a:pt x="1125497" y="1208805"/>
                </a:cubicBezTo>
                <a:cubicBezTo>
                  <a:pt x="1143096" y="1214245"/>
                  <a:pt x="1163256" y="1220645"/>
                  <a:pt x="1182136" y="1222405"/>
                </a:cubicBezTo>
                <a:cubicBezTo>
                  <a:pt x="1196536" y="1245605"/>
                  <a:pt x="1212696" y="1267365"/>
                  <a:pt x="1230296" y="1287205"/>
                </a:cubicBezTo>
                <a:cubicBezTo>
                  <a:pt x="1237336" y="1295045"/>
                  <a:pt x="1244696" y="1302565"/>
                  <a:pt x="1252536" y="1309605"/>
                </a:cubicBezTo>
                <a:cubicBezTo>
                  <a:pt x="1163096" y="1298885"/>
                  <a:pt x="1072376" y="1292005"/>
                  <a:pt x="987096" y="1260325"/>
                </a:cubicBezTo>
                <a:cubicBezTo>
                  <a:pt x="935736" y="1241125"/>
                  <a:pt x="885497" y="1216485"/>
                  <a:pt x="838296" y="1188485"/>
                </a:cubicBezTo>
                <a:cubicBezTo>
                  <a:pt x="791576" y="1160805"/>
                  <a:pt x="745656" y="1132165"/>
                  <a:pt x="703576" y="1097925"/>
                </a:cubicBezTo>
                <a:cubicBezTo>
                  <a:pt x="624536" y="1033925"/>
                  <a:pt x="545497" y="963845"/>
                  <a:pt x="490296" y="877445"/>
                </a:cubicBezTo>
                <a:cubicBezTo>
                  <a:pt x="461656" y="832645"/>
                  <a:pt x="439576" y="782885"/>
                  <a:pt x="419256" y="734085"/>
                </a:cubicBezTo>
                <a:cubicBezTo>
                  <a:pt x="404216" y="697925"/>
                  <a:pt x="393497" y="660165"/>
                  <a:pt x="385176" y="621925"/>
                </a:cubicBezTo>
                <a:cubicBezTo>
                  <a:pt x="385497" y="614885"/>
                  <a:pt x="386457" y="607845"/>
                  <a:pt x="387416" y="600965"/>
                </a:cubicBezTo>
                <a:close/>
                <a:moveTo>
                  <a:pt x="1202776" y="1348325"/>
                </a:moveTo>
                <a:cubicBezTo>
                  <a:pt x="1181017" y="1350885"/>
                  <a:pt x="1160536" y="1348485"/>
                  <a:pt x="1138937" y="1352165"/>
                </a:cubicBezTo>
                <a:cubicBezTo>
                  <a:pt x="1127736" y="1354085"/>
                  <a:pt x="1116536" y="1352325"/>
                  <a:pt x="1105497" y="1351045"/>
                </a:cubicBezTo>
                <a:cubicBezTo>
                  <a:pt x="1089977" y="1349125"/>
                  <a:pt x="1074457" y="1348965"/>
                  <a:pt x="1058937" y="1348645"/>
                </a:cubicBezTo>
                <a:cubicBezTo>
                  <a:pt x="1001497" y="1347845"/>
                  <a:pt x="946616" y="1331365"/>
                  <a:pt x="893497" y="1310085"/>
                </a:cubicBezTo>
                <a:cubicBezTo>
                  <a:pt x="842136" y="1289445"/>
                  <a:pt x="792856" y="1267205"/>
                  <a:pt x="745977" y="1237445"/>
                </a:cubicBezTo>
                <a:cubicBezTo>
                  <a:pt x="700056" y="1208165"/>
                  <a:pt x="660216" y="1171045"/>
                  <a:pt x="622136" y="1132165"/>
                </a:cubicBezTo>
                <a:cubicBezTo>
                  <a:pt x="586136" y="1095365"/>
                  <a:pt x="554937" y="1057605"/>
                  <a:pt x="526616" y="1014565"/>
                </a:cubicBezTo>
                <a:cubicBezTo>
                  <a:pt x="512856" y="993605"/>
                  <a:pt x="494937" y="975365"/>
                  <a:pt x="480536" y="954565"/>
                </a:cubicBezTo>
                <a:cubicBezTo>
                  <a:pt x="464376" y="931525"/>
                  <a:pt x="451736" y="906565"/>
                  <a:pt x="438136" y="882085"/>
                </a:cubicBezTo>
                <a:cubicBezTo>
                  <a:pt x="425816" y="859845"/>
                  <a:pt x="413497" y="837605"/>
                  <a:pt x="404696" y="813765"/>
                </a:cubicBezTo>
                <a:cubicBezTo>
                  <a:pt x="395256" y="788005"/>
                  <a:pt x="389336" y="758725"/>
                  <a:pt x="385336" y="731525"/>
                </a:cubicBezTo>
                <a:cubicBezTo>
                  <a:pt x="381176" y="704165"/>
                  <a:pt x="380856" y="676485"/>
                  <a:pt x="382616" y="648965"/>
                </a:cubicBezTo>
                <a:cubicBezTo>
                  <a:pt x="389336" y="676485"/>
                  <a:pt x="398776" y="703205"/>
                  <a:pt x="406296" y="730565"/>
                </a:cubicBezTo>
                <a:cubicBezTo>
                  <a:pt x="412856" y="753925"/>
                  <a:pt x="425017" y="776645"/>
                  <a:pt x="435096" y="798725"/>
                </a:cubicBezTo>
                <a:cubicBezTo>
                  <a:pt x="446616" y="824165"/>
                  <a:pt x="458296" y="849125"/>
                  <a:pt x="472056" y="873285"/>
                </a:cubicBezTo>
                <a:cubicBezTo>
                  <a:pt x="522136" y="960805"/>
                  <a:pt x="598776" y="1028005"/>
                  <a:pt x="674136" y="1093125"/>
                </a:cubicBezTo>
                <a:cubicBezTo>
                  <a:pt x="755256" y="1163365"/>
                  <a:pt x="850776" y="1218885"/>
                  <a:pt x="948856" y="1261925"/>
                </a:cubicBezTo>
                <a:cubicBezTo>
                  <a:pt x="1041176" y="1302565"/>
                  <a:pt x="1141336" y="1313285"/>
                  <a:pt x="1240376" y="1323845"/>
                </a:cubicBezTo>
                <a:cubicBezTo>
                  <a:pt x="1249017" y="1324805"/>
                  <a:pt x="1257656" y="1326085"/>
                  <a:pt x="1266456" y="1327205"/>
                </a:cubicBezTo>
                <a:cubicBezTo>
                  <a:pt x="1266456" y="1327205"/>
                  <a:pt x="1266456" y="1327205"/>
                  <a:pt x="1266616" y="1327205"/>
                </a:cubicBezTo>
                <a:lnTo>
                  <a:pt x="1269017" y="1327525"/>
                </a:lnTo>
                <a:cubicBezTo>
                  <a:pt x="1270776" y="1327685"/>
                  <a:pt x="1272217" y="1327365"/>
                  <a:pt x="1273496" y="1326885"/>
                </a:cubicBezTo>
                <a:cubicBezTo>
                  <a:pt x="1278937" y="1331045"/>
                  <a:pt x="1284376" y="1335045"/>
                  <a:pt x="1289977" y="1338725"/>
                </a:cubicBezTo>
                <a:cubicBezTo>
                  <a:pt x="1260856" y="1340805"/>
                  <a:pt x="1232057" y="1344805"/>
                  <a:pt x="1202776" y="1348325"/>
                </a:cubicBezTo>
                <a:close/>
                <a:moveTo>
                  <a:pt x="1324217" y="1327365"/>
                </a:moveTo>
                <a:cubicBezTo>
                  <a:pt x="1281177" y="1302885"/>
                  <a:pt x="1247576" y="1269925"/>
                  <a:pt x="1219096" y="1228965"/>
                </a:cubicBezTo>
                <a:cubicBezTo>
                  <a:pt x="1162616" y="1147525"/>
                  <a:pt x="1124856" y="1040005"/>
                  <a:pt x="1154136" y="941445"/>
                </a:cubicBezTo>
                <a:cubicBezTo>
                  <a:pt x="1169336" y="890565"/>
                  <a:pt x="1206616" y="842885"/>
                  <a:pt x="1240856" y="803525"/>
                </a:cubicBezTo>
                <a:cubicBezTo>
                  <a:pt x="1248536" y="794565"/>
                  <a:pt x="1255416" y="785445"/>
                  <a:pt x="1262456" y="776005"/>
                </a:cubicBezTo>
                <a:cubicBezTo>
                  <a:pt x="1269496" y="766405"/>
                  <a:pt x="1279097" y="760005"/>
                  <a:pt x="1288536" y="753125"/>
                </a:cubicBezTo>
                <a:cubicBezTo>
                  <a:pt x="1284217" y="762725"/>
                  <a:pt x="1280217" y="772485"/>
                  <a:pt x="1276217" y="782085"/>
                </a:cubicBezTo>
                <a:cubicBezTo>
                  <a:pt x="1261977" y="816325"/>
                  <a:pt x="1250616" y="853285"/>
                  <a:pt x="1243576" y="889765"/>
                </a:cubicBezTo>
                <a:cubicBezTo>
                  <a:pt x="1235736" y="930245"/>
                  <a:pt x="1239736" y="970085"/>
                  <a:pt x="1244856" y="1010565"/>
                </a:cubicBezTo>
                <a:cubicBezTo>
                  <a:pt x="1249977" y="1050405"/>
                  <a:pt x="1248536" y="1091205"/>
                  <a:pt x="1259897" y="1130085"/>
                </a:cubicBezTo>
                <a:cubicBezTo>
                  <a:pt x="1270296" y="1165605"/>
                  <a:pt x="1290937" y="1195845"/>
                  <a:pt x="1307416" y="1228485"/>
                </a:cubicBezTo>
                <a:cubicBezTo>
                  <a:pt x="1325336" y="1264005"/>
                  <a:pt x="1353816" y="1286405"/>
                  <a:pt x="1380696" y="1314885"/>
                </a:cubicBezTo>
                <a:cubicBezTo>
                  <a:pt x="1404536" y="1340005"/>
                  <a:pt x="1432536" y="1362405"/>
                  <a:pt x="1462456" y="1379365"/>
                </a:cubicBezTo>
                <a:cubicBezTo>
                  <a:pt x="1463097" y="1379685"/>
                  <a:pt x="1463736" y="1380165"/>
                  <a:pt x="1464536" y="1380485"/>
                </a:cubicBezTo>
                <a:cubicBezTo>
                  <a:pt x="1455097" y="1378565"/>
                  <a:pt x="1445816" y="1376325"/>
                  <a:pt x="1436696" y="1373765"/>
                </a:cubicBezTo>
                <a:cubicBezTo>
                  <a:pt x="1419416" y="1371525"/>
                  <a:pt x="1401656" y="1366085"/>
                  <a:pt x="1386616" y="1360965"/>
                </a:cubicBezTo>
                <a:cubicBezTo>
                  <a:pt x="1384856" y="1359845"/>
                  <a:pt x="1382776" y="1359045"/>
                  <a:pt x="1380696" y="1358885"/>
                </a:cubicBezTo>
                <a:cubicBezTo>
                  <a:pt x="1379257" y="1358405"/>
                  <a:pt x="1377656" y="1357765"/>
                  <a:pt x="1376376" y="1357285"/>
                </a:cubicBezTo>
                <a:cubicBezTo>
                  <a:pt x="1357496" y="1350245"/>
                  <a:pt x="1337977" y="1341605"/>
                  <a:pt x="1324217" y="1327365"/>
                </a:cubicBezTo>
                <a:close/>
                <a:moveTo>
                  <a:pt x="458616" y="1474885"/>
                </a:moveTo>
                <a:cubicBezTo>
                  <a:pt x="511256" y="1460645"/>
                  <a:pt x="562776" y="1456965"/>
                  <a:pt x="616856" y="1453285"/>
                </a:cubicBezTo>
                <a:cubicBezTo>
                  <a:pt x="644216" y="1451525"/>
                  <a:pt x="671576" y="1449445"/>
                  <a:pt x="698937" y="1448325"/>
                </a:cubicBezTo>
                <a:cubicBezTo>
                  <a:pt x="727736" y="1447205"/>
                  <a:pt x="756376" y="1451205"/>
                  <a:pt x="785017" y="1449285"/>
                </a:cubicBezTo>
                <a:cubicBezTo>
                  <a:pt x="814616" y="1447365"/>
                  <a:pt x="844216" y="1445765"/>
                  <a:pt x="873816" y="1445925"/>
                </a:cubicBezTo>
                <a:cubicBezTo>
                  <a:pt x="903896" y="1446245"/>
                  <a:pt x="933497" y="1451045"/>
                  <a:pt x="963576" y="1452165"/>
                </a:cubicBezTo>
                <a:cubicBezTo>
                  <a:pt x="1016216" y="1454085"/>
                  <a:pt x="1068536" y="1456645"/>
                  <a:pt x="1121336" y="1454565"/>
                </a:cubicBezTo>
                <a:cubicBezTo>
                  <a:pt x="1146776" y="1453445"/>
                  <a:pt x="1172216" y="1452805"/>
                  <a:pt x="1197497" y="1451045"/>
                </a:cubicBezTo>
                <a:cubicBezTo>
                  <a:pt x="1224856" y="1448965"/>
                  <a:pt x="1250776" y="1442405"/>
                  <a:pt x="1277816" y="1438565"/>
                </a:cubicBezTo>
                <a:cubicBezTo>
                  <a:pt x="1296376" y="1435845"/>
                  <a:pt x="1314296" y="1427845"/>
                  <a:pt x="1331736" y="1421445"/>
                </a:cubicBezTo>
                <a:cubicBezTo>
                  <a:pt x="1346456" y="1416005"/>
                  <a:pt x="1357977" y="1406085"/>
                  <a:pt x="1370456" y="1397125"/>
                </a:cubicBezTo>
                <a:cubicBezTo>
                  <a:pt x="1369656" y="1398085"/>
                  <a:pt x="1368856" y="1398885"/>
                  <a:pt x="1368057" y="1399685"/>
                </a:cubicBezTo>
                <a:cubicBezTo>
                  <a:pt x="1352856" y="1414405"/>
                  <a:pt x="1335736" y="1428645"/>
                  <a:pt x="1317496" y="1439365"/>
                </a:cubicBezTo>
                <a:cubicBezTo>
                  <a:pt x="1274937" y="1464005"/>
                  <a:pt x="1225816" y="1474085"/>
                  <a:pt x="1178296" y="1484165"/>
                </a:cubicBezTo>
                <a:cubicBezTo>
                  <a:pt x="1128696" y="1494565"/>
                  <a:pt x="1081977" y="1508485"/>
                  <a:pt x="1030937" y="1510405"/>
                </a:cubicBezTo>
                <a:cubicBezTo>
                  <a:pt x="977977" y="1512325"/>
                  <a:pt x="925017" y="1503205"/>
                  <a:pt x="872056" y="1500965"/>
                </a:cubicBezTo>
                <a:cubicBezTo>
                  <a:pt x="849176" y="1500005"/>
                  <a:pt x="826136" y="1498725"/>
                  <a:pt x="803256" y="1498565"/>
                </a:cubicBezTo>
                <a:cubicBezTo>
                  <a:pt x="777977" y="1498245"/>
                  <a:pt x="752856" y="1500805"/>
                  <a:pt x="727576" y="1500645"/>
                </a:cubicBezTo>
                <a:cubicBezTo>
                  <a:pt x="679736" y="1500485"/>
                  <a:pt x="632696" y="1485445"/>
                  <a:pt x="585176" y="1481125"/>
                </a:cubicBezTo>
                <a:cubicBezTo>
                  <a:pt x="535896" y="1476645"/>
                  <a:pt x="487096" y="1481605"/>
                  <a:pt x="437656" y="1481285"/>
                </a:cubicBezTo>
                <a:cubicBezTo>
                  <a:pt x="436696" y="1481285"/>
                  <a:pt x="435576" y="1481285"/>
                  <a:pt x="434457" y="1481285"/>
                </a:cubicBezTo>
                <a:cubicBezTo>
                  <a:pt x="442296" y="1479205"/>
                  <a:pt x="450616" y="1477125"/>
                  <a:pt x="458616" y="1474885"/>
                </a:cubicBezTo>
                <a:close/>
                <a:moveTo>
                  <a:pt x="235896" y="1563525"/>
                </a:moveTo>
                <a:cubicBezTo>
                  <a:pt x="258457" y="1549765"/>
                  <a:pt x="283096" y="1539685"/>
                  <a:pt x="306776" y="1528165"/>
                </a:cubicBezTo>
                <a:cubicBezTo>
                  <a:pt x="325497" y="1519045"/>
                  <a:pt x="344536" y="1510245"/>
                  <a:pt x="363736" y="1502405"/>
                </a:cubicBezTo>
                <a:cubicBezTo>
                  <a:pt x="364696" y="1503525"/>
                  <a:pt x="366776" y="1504005"/>
                  <a:pt x="367896" y="1502565"/>
                </a:cubicBezTo>
                <a:cubicBezTo>
                  <a:pt x="368696" y="1501605"/>
                  <a:pt x="369497" y="1500805"/>
                  <a:pt x="370296" y="1499845"/>
                </a:cubicBezTo>
                <a:cubicBezTo>
                  <a:pt x="371736" y="1499205"/>
                  <a:pt x="373176" y="1498725"/>
                  <a:pt x="374776" y="1498085"/>
                </a:cubicBezTo>
                <a:cubicBezTo>
                  <a:pt x="382296" y="1495205"/>
                  <a:pt x="390136" y="1492805"/>
                  <a:pt x="397977" y="1490405"/>
                </a:cubicBezTo>
                <a:cubicBezTo>
                  <a:pt x="404696" y="1490245"/>
                  <a:pt x="411576" y="1490725"/>
                  <a:pt x="417977" y="1490725"/>
                </a:cubicBezTo>
                <a:cubicBezTo>
                  <a:pt x="440376" y="1490565"/>
                  <a:pt x="462937" y="1492325"/>
                  <a:pt x="485336" y="1492965"/>
                </a:cubicBezTo>
                <a:cubicBezTo>
                  <a:pt x="509816" y="1493605"/>
                  <a:pt x="533977" y="1489125"/>
                  <a:pt x="558616" y="1491045"/>
                </a:cubicBezTo>
                <a:cubicBezTo>
                  <a:pt x="581176" y="1492645"/>
                  <a:pt x="604376" y="1495525"/>
                  <a:pt x="626776" y="1499205"/>
                </a:cubicBezTo>
                <a:cubicBezTo>
                  <a:pt x="649497" y="1502885"/>
                  <a:pt x="671896" y="1509125"/>
                  <a:pt x="694776" y="1512485"/>
                </a:cubicBezTo>
                <a:cubicBezTo>
                  <a:pt x="716376" y="1515685"/>
                  <a:pt x="738136" y="1515205"/>
                  <a:pt x="759896" y="1514405"/>
                </a:cubicBezTo>
                <a:cubicBezTo>
                  <a:pt x="807736" y="1512485"/>
                  <a:pt x="856376" y="1514885"/>
                  <a:pt x="904216" y="1518405"/>
                </a:cubicBezTo>
                <a:cubicBezTo>
                  <a:pt x="951736" y="1521925"/>
                  <a:pt x="998776" y="1528165"/>
                  <a:pt x="1046457" y="1525925"/>
                </a:cubicBezTo>
                <a:cubicBezTo>
                  <a:pt x="1094776" y="1523685"/>
                  <a:pt x="1140056" y="1509125"/>
                  <a:pt x="1187096" y="1499205"/>
                </a:cubicBezTo>
                <a:cubicBezTo>
                  <a:pt x="1231097" y="1490085"/>
                  <a:pt x="1273336" y="1479205"/>
                  <a:pt x="1314137" y="1459845"/>
                </a:cubicBezTo>
                <a:cubicBezTo>
                  <a:pt x="1331897" y="1451365"/>
                  <a:pt x="1347897" y="1440005"/>
                  <a:pt x="1362296" y="1426725"/>
                </a:cubicBezTo>
                <a:cubicBezTo>
                  <a:pt x="1369177" y="1420325"/>
                  <a:pt x="1377177" y="1414885"/>
                  <a:pt x="1383416" y="1407845"/>
                </a:cubicBezTo>
                <a:cubicBezTo>
                  <a:pt x="1386137" y="1404805"/>
                  <a:pt x="1391897" y="1395045"/>
                  <a:pt x="1397017" y="1390405"/>
                </a:cubicBezTo>
                <a:cubicBezTo>
                  <a:pt x="1404696" y="1392965"/>
                  <a:pt x="1412376" y="1395365"/>
                  <a:pt x="1420217" y="1397445"/>
                </a:cubicBezTo>
                <a:cubicBezTo>
                  <a:pt x="1418616" y="1400805"/>
                  <a:pt x="1404696" y="1408005"/>
                  <a:pt x="1401977" y="1410085"/>
                </a:cubicBezTo>
                <a:cubicBezTo>
                  <a:pt x="1392376" y="1417445"/>
                  <a:pt x="1383097" y="1424965"/>
                  <a:pt x="1374137" y="1432965"/>
                </a:cubicBezTo>
                <a:cubicBezTo>
                  <a:pt x="1365656" y="1440485"/>
                  <a:pt x="1355897" y="1445605"/>
                  <a:pt x="1347097" y="1452485"/>
                </a:cubicBezTo>
                <a:cubicBezTo>
                  <a:pt x="1335416" y="1461445"/>
                  <a:pt x="1324217" y="1471045"/>
                  <a:pt x="1311257" y="1477925"/>
                </a:cubicBezTo>
                <a:cubicBezTo>
                  <a:pt x="1289336" y="1489445"/>
                  <a:pt x="1270616" y="1506085"/>
                  <a:pt x="1247897" y="1516805"/>
                </a:cubicBezTo>
                <a:cubicBezTo>
                  <a:pt x="1224056" y="1528165"/>
                  <a:pt x="1199736" y="1541445"/>
                  <a:pt x="1174136" y="1548325"/>
                </a:cubicBezTo>
                <a:cubicBezTo>
                  <a:pt x="1121336" y="1562405"/>
                  <a:pt x="1066937" y="1570085"/>
                  <a:pt x="1012856" y="1576325"/>
                </a:cubicBezTo>
                <a:cubicBezTo>
                  <a:pt x="962296" y="1582245"/>
                  <a:pt x="911416" y="1579685"/>
                  <a:pt x="860856" y="1582565"/>
                </a:cubicBezTo>
                <a:cubicBezTo>
                  <a:pt x="807256" y="1585605"/>
                  <a:pt x="752056" y="1580965"/>
                  <a:pt x="698616" y="1574245"/>
                </a:cubicBezTo>
                <a:cubicBezTo>
                  <a:pt x="673977" y="1571205"/>
                  <a:pt x="649336" y="1567205"/>
                  <a:pt x="624536" y="1565445"/>
                </a:cubicBezTo>
                <a:cubicBezTo>
                  <a:pt x="596696" y="1563365"/>
                  <a:pt x="568696" y="1558885"/>
                  <a:pt x="540856" y="1557605"/>
                </a:cubicBezTo>
                <a:cubicBezTo>
                  <a:pt x="490296" y="1555205"/>
                  <a:pt x="439736" y="1543845"/>
                  <a:pt x="389017" y="1544485"/>
                </a:cubicBezTo>
                <a:cubicBezTo>
                  <a:pt x="363416" y="1544805"/>
                  <a:pt x="336696" y="1547365"/>
                  <a:pt x="311256" y="1549605"/>
                </a:cubicBezTo>
                <a:cubicBezTo>
                  <a:pt x="285497" y="1551845"/>
                  <a:pt x="262457" y="1561285"/>
                  <a:pt x="237656" y="1567205"/>
                </a:cubicBezTo>
                <a:cubicBezTo>
                  <a:pt x="234296" y="1568005"/>
                  <a:pt x="230776" y="1568805"/>
                  <a:pt x="227256" y="1569605"/>
                </a:cubicBezTo>
                <a:cubicBezTo>
                  <a:pt x="229656" y="1567365"/>
                  <a:pt x="232856" y="1565445"/>
                  <a:pt x="235896" y="1563525"/>
                </a:cubicBezTo>
                <a:close/>
                <a:moveTo>
                  <a:pt x="139096" y="1618405"/>
                </a:moveTo>
                <a:cubicBezTo>
                  <a:pt x="151256" y="1611685"/>
                  <a:pt x="163896" y="1605925"/>
                  <a:pt x="176376" y="1599685"/>
                </a:cubicBezTo>
                <a:cubicBezTo>
                  <a:pt x="189497" y="1593285"/>
                  <a:pt x="201656" y="1585445"/>
                  <a:pt x="213656" y="1577605"/>
                </a:cubicBezTo>
                <a:cubicBezTo>
                  <a:pt x="230776" y="1578085"/>
                  <a:pt x="248216" y="1573285"/>
                  <a:pt x="264376" y="1568805"/>
                </a:cubicBezTo>
                <a:cubicBezTo>
                  <a:pt x="290776" y="1561605"/>
                  <a:pt x="316856" y="1560645"/>
                  <a:pt x="344056" y="1559845"/>
                </a:cubicBezTo>
                <a:cubicBezTo>
                  <a:pt x="357176" y="1559365"/>
                  <a:pt x="370457" y="1557765"/>
                  <a:pt x="383576" y="1556965"/>
                </a:cubicBezTo>
                <a:cubicBezTo>
                  <a:pt x="397816" y="1556165"/>
                  <a:pt x="412216" y="1558885"/>
                  <a:pt x="426457" y="1560005"/>
                </a:cubicBezTo>
                <a:cubicBezTo>
                  <a:pt x="453336" y="1562245"/>
                  <a:pt x="479896" y="1566085"/>
                  <a:pt x="506616" y="1568965"/>
                </a:cubicBezTo>
                <a:cubicBezTo>
                  <a:pt x="559096" y="1574725"/>
                  <a:pt x="611896" y="1578405"/>
                  <a:pt x="664216" y="1585285"/>
                </a:cubicBezTo>
                <a:cubicBezTo>
                  <a:pt x="716536" y="1592165"/>
                  <a:pt x="769017" y="1598085"/>
                  <a:pt x="821816" y="1599845"/>
                </a:cubicBezTo>
                <a:cubicBezTo>
                  <a:pt x="872376" y="1601605"/>
                  <a:pt x="922776" y="1595205"/>
                  <a:pt x="973017" y="1595845"/>
                </a:cubicBezTo>
                <a:cubicBezTo>
                  <a:pt x="1026296" y="1596485"/>
                  <a:pt x="1081176" y="1585125"/>
                  <a:pt x="1133176" y="1575045"/>
                </a:cubicBezTo>
                <a:cubicBezTo>
                  <a:pt x="1182136" y="1565605"/>
                  <a:pt x="1226457" y="1548005"/>
                  <a:pt x="1270296" y="1524325"/>
                </a:cubicBezTo>
                <a:cubicBezTo>
                  <a:pt x="1290616" y="1513285"/>
                  <a:pt x="1310937" y="1499845"/>
                  <a:pt x="1329977" y="1486725"/>
                </a:cubicBezTo>
                <a:cubicBezTo>
                  <a:pt x="1342456" y="1478085"/>
                  <a:pt x="1355257" y="1469285"/>
                  <a:pt x="1367416" y="1460005"/>
                </a:cubicBezTo>
                <a:cubicBezTo>
                  <a:pt x="1351416" y="1477445"/>
                  <a:pt x="1334776" y="1493925"/>
                  <a:pt x="1314296" y="1506245"/>
                </a:cubicBezTo>
                <a:cubicBezTo>
                  <a:pt x="1302137" y="1513605"/>
                  <a:pt x="1291736" y="1523365"/>
                  <a:pt x="1279257" y="1530405"/>
                </a:cubicBezTo>
                <a:cubicBezTo>
                  <a:pt x="1268536" y="1536485"/>
                  <a:pt x="1257336" y="1541765"/>
                  <a:pt x="1246137" y="1547045"/>
                </a:cubicBezTo>
                <a:cubicBezTo>
                  <a:pt x="1220536" y="1558725"/>
                  <a:pt x="1194296" y="1566085"/>
                  <a:pt x="1167417" y="1574085"/>
                </a:cubicBezTo>
                <a:cubicBezTo>
                  <a:pt x="1142296" y="1581605"/>
                  <a:pt x="1115096" y="1586405"/>
                  <a:pt x="1089336" y="1591685"/>
                </a:cubicBezTo>
                <a:cubicBezTo>
                  <a:pt x="1061497" y="1597445"/>
                  <a:pt x="1033656" y="1604485"/>
                  <a:pt x="1005816" y="1609925"/>
                </a:cubicBezTo>
                <a:cubicBezTo>
                  <a:pt x="954296" y="1619845"/>
                  <a:pt x="902937" y="1629125"/>
                  <a:pt x="851096" y="1636005"/>
                </a:cubicBezTo>
                <a:cubicBezTo>
                  <a:pt x="801497" y="1642565"/>
                  <a:pt x="752216" y="1642565"/>
                  <a:pt x="702457" y="1644645"/>
                </a:cubicBezTo>
                <a:cubicBezTo>
                  <a:pt x="679736" y="1645605"/>
                  <a:pt x="657497" y="1649125"/>
                  <a:pt x="634457" y="1649605"/>
                </a:cubicBezTo>
                <a:cubicBezTo>
                  <a:pt x="605656" y="1650085"/>
                  <a:pt x="577816" y="1641125"/>
                  <a:pt x="549017" y="1640165"/>
                </a:cubicBezTo>
                <a:cubicBezTo>
                  <a:pt x="495896" y="1638405"/>
                  <a:pt x="442776" y="1633605"/>
                  <a:pt x="389656" y="1632645"/>
                </a:cubicBezTo>
                <a:cubicBezTo>
                  <a:pt x="363256" y="1632165"/>
                  <a:pt x="338776" y="1630885"/>
                  <a:pt x="312696" y="1626725"/>
                </a:cubicBezTo>
                <a:cubicBezTo>
                  <a:pt x="289497" y="1623045"/>
                  <a:pt x="264856" y="1622405"/>
                  <a:pt x="241497" y="1622405"/>
                </a:cubicBezTo>
                <a:cubicBezTo>
                  <a:pt x="223736" y="1622405"/>
                  <a:pt x="204536" y="1618725"/>
                  <a:pt x="187096" y="1621125"/>
                </a:cubicBezTo>
                <a:cubicBezTo>
                  <a:pt x="166457" y="1624005"/>
                  <a:pt x="143096" y="1624165"/>
                  <a:pt x="123256" y="1630725"/>
                </a:cubicBezTo>
                <a:cubicBezTo>
                  <a:pt x="121656" y="1631205"/>
                  <a:pt x="120056" y="1631845"/>
                  <a:pt x="118457" y="1632485"/>
                </a:cubicBezTo>
                <a:cubicBezTo>
                  <a:pt x="125497" y="1628005"/>
                  <a:pt x="132536" y="1622085"/>
                  <a:pt x="139096" y="1618405"/>
                </a:cubicBezTo>
                <a:close/>
                <a:moveTo>
                  <a:pt x="149176" y="1718725"/>
                </a:moveTo>
                <a:cubicBezTo>
                  <a:pt x="133656" y="1715845"/>
                  <a:pt x="118136" y="1716805"/>
                  <a:pt x="102776" y="1714885"/>
                </a:cubicBezTo>
                <a:cubicBezTo>
                  <a:pt x="80856" y="1712165"/>
                  <a:pt x="59736" y="1714885"/>
                  <a:pt x="38457" y="1715685"/>
                </a:cubicBezTo>
                <a:cubicBezTo>
                  <a:pt x="53816" y="1709285"/>
                  <a:pt x="68376" y="1688005"/>
                  <a:pt x="77656" y="1678245"/>
                </a:cubicBezTo>
                <a:cubicBezTo>
                  <a:pt x="84856" y="1670725"/>
                  <a:pt x="91256" y="1662725"/>
                  <a:pt x="97497" y="1654565"/>
                </a:cubicBezTo>
                <a:cubicBezTo>
                  <a:pt x="97497" y="1654565"/>
                  <a:pt x="97497" y="1654565"/>
                  <a:pt x="97497" y="1654565"/>
                </a:cubicBezTo>
                <a:cubicBezTo>
                  <a:pt x="109656" y="1649765"/>
                  <a:pt x="119896" y="1643525"/>
                  <a:pt x="133017" y="1640805"/>
                </a:cubicBezTo>
                <a:cubicBezTo>
                  <a:pt x="155256" y="1636005"/>
                  <a:pt x="180056" y="1635845"/>
                  <a:pt x="202616" y="1635685"/>
                </a:cubicBezTo>
                <a:cubicBezTo>
                  <a:pt x="249816" y="1635365"/>
                  <a:pt x="295896" y="1639685"/>
                  <a:pt x="342776" y="1646405"/>
                </a:cubicBezTo>
                <a:cubicBezTo>
                  <a:pt x="368536" y="1650085"/>
                  <a:pt x="395256" y="1647365"/>
                  <a:pt x="421176" y="1648805"/>
                </a:cubicBezTo>
                <a:cubicBezTo>
                  <a:pt x="449017" y="1650245"/>
                  <a:pt x="476856" y="1651205"/>
                  <a:pt x="504536" y="1652805"/>
                </a:cubicBezTo>
                <a:cubicBezTo>
                  <a:pt x="529017" y="1654245"/>
                  <a:pt x="554136" y="1654885"/>
                  <a:pt x="578457" y="1658565"/>
                </a:cubicBezTo>
                <a:cubicBezTo>
                  <a:pt x="605336" y="1662725"/>
                  <a:pt x="630457" y="1665445"/>
                  <a:pt x="657656" y="1665605"/>
                </a:cubicBezTo>
                <a:cubicBezTo>
                  <a:pt x="680376" y="1665605"/>
                  <a:pt x="702136" y="1660165"/>
                  <a:pt x="725017" y="1660965"/>
                </a:cubicBezTo>
                <a:cubicBezTo>
                  <a:pt x="748696" y="1661925"/>
                  <a:pt x="773017" y="1659685"/>
                  <a:pt x="796536" y="1658565"/>
                </a:cubicBezTo>
                <a:cubicBezTo>
                  <a:pt x="848856" y="1656165"/>
                  <a:pt x="901816" y="1647365"/>
                  <a:pt x="952856" y="1636805"/>
                </a:cubicBezTo>
                <a:cubicBezTo>
                  <a:pt x="1005816" y="1625925"/>
                  <a:pt x="1059256" y="1616485"/>
                  <a:pt x="1112056" y="1604645"/>
                </a:cubicBezTo>
                <a:cubicBezTo>
                  <a:pt x="1162457" y="1593285"/>
                  <a:pt x="1211736" y="1582245"/>
                  <a:pt x="1258937" y="1560485"/>
                </a:cubicBezTo>
                <a:cubicBezTo>
                  <a:pt x="1295736" y="1543525"/>
                  <a:pt x="1332057" y="1519685"/>
                  <a:pt x="1361496" y="1491685"/>
                </a:cubicBezTo>
                <a:cubicBezTo>
                  <a:pt x="1375736" y="1478085"/>
                  <a:pt x="1388376" y="1463045"/>
                  <a:pt x="1401496" y="1448325"/>
                </a:cubicBezTo>
                <a:cubicBezTo>
                  <a:pt x="1414616" y="1433765"/>
                  <a:pt x="1430937" y="1420965"/>
                  <a:pt x="1437496" y="1401925"/>
                </a:cubicBezTo>
                <a:cubicBezTo>
                  <a:pt x="1438776" y="1402245"/>
                  <a:pt x="1440057" y="1402565"/>
                  <a:pt x="1441336" y="1402725"/>
                </a:cubicBezTo>
                <a:cubicBezTo>
                  <a:pt x="1439416" y="1413285"/>
                  <a:pt x="1436376" y="1422245"/>
                  <a:pt x="1427897" y="1430245"/>
                </a:cubicBezTo>
                <a:cubicBezTo>
                  <a:pt x="1420696" y="1436965"/>
                  <a:pt x="1414776" y="1443525"/>
                  <a:pt x="1408057" y="1450885"/>
                </a:cubicBezTo>
                <a:cubicBezTo>
                  <a:pt x="1391416" y="1469285"/>
                  <a:pt x="1372376" y="1487685"/>
                  <a:pt x="1353017" y="1503205"/>
                </a:cubicBezTo>
                <a:cubicBezTo>
                  <a:pt x="1313177" y="1535045"/>
                  <a:pt x="1271736" y="1566405"/>
                  <a:pt x="1228536" y="1593605"/>
                </a:cubicBezTo>
                <a:cubicBezTo>
                  <a:pt x="1180856" y="1623685"/>
                  <a:pt x="1133176" y="1648165"/>
                  <a:pt x="1080376" y="1668005"/>
                </a:cubicBezTo>
                <a:cubicBezTo>
                  <a:pt x="1054776" y="1677765"/>
                  <a:pt x="1029656" y="1681765"/>
                  <a:pt x="1003096" y="1687525"/>
                </a:cubicBezTo>
                <a:cubicBezTo>
                  <a:pt x="975256" y="1693605"/>
                  <a:pt x="948216" y="1702725"/>
                  <a:pt x="920056" y="1707205"/>
                </a:cubicBezTo>
                <a:cubicBezTo>
                  <a:pt x="868536" y="1715525"/>
                  <a:pt x="817977" y="1722405"/>
                  <a:pt x="765656" y="1722085"/>
                </a:cubicBezTo>
                <a:cubicBezTo>
                  <a:pt x="741656" y="1721925"/>
                  <a:pt x="717656" y="1720165"/>
                  <a:pt x="693656" y="1719365"/>
                </a:cubicBezTo>
                <a:cubicBezTo>
                  <a:pt x="665497" y="1718405"/>
                  <a:pt x="637017" y="1720165"/>
                  <a:pt x="608856" y="1719845"/>
                </a:cubicBezTo>
                <a:cubicBezTo>
                  <a:pt x="583736" y="1719365"/>
                  <a:pt x="558616" y="1721925"/>
                  <a:pt x="533656" y="1723365"/>
                </a:cubicBezTo>
                <a:cubicBezTo>
                  <a:pt x="501977" y="1724965"/>
                  <a:pt x="470296" y="1724805"/>
                  <a:pt x="438616" y="1724005"/>
                </a:cubicBezTo>
                <a:cubicBezTo>
                  <a:pt x="383096" y="1722885"/>
                  <a:pt x="328216" y="1714085"/>
                  <a:pt x="272856" y="1712805"/>
                </a:cubicBezTo>
                <a:cubicBezTo>
                  <a:pt x="246616" y="1712165"/>
                  <a:pt x="223736" y="1710085"/>
                  <a:pt x="197977" y="1716165"/>
                </a:cubicBezTo>
                <a:cubicBezTo>
                  <a:pt x="188216" y="1718565"/>
                  <a:pt x="177816" y="1720485"/>
                  <a:pt x="167256" y="1722245"/>
                </a:cubicBezTo>
                <a:cubicBezTo>
                  <a:pt x="161176" y="1721125"/>
                  <a:pt x="155256" y="1719845"/>
                  <a:pt x="149176" y="1718725"/>
                </a:cubicBezTo>
                <a:close/>
                <a:moveTo>
                  <a:pt x="965497" y="1793765"/>
                </a:moveTo>
                <a:cubicBezTo>
                  <a:pt x="942296" y="1801285"/>
                  <a:pt x="917816" y="1807525"/>
                  <a:pt x="894136" y="1813285"/>
                </a:cubicBezTo>
                <a:cubicBezTo>
                  <a:pt x="868856" y="1819525"/>
                  <a:pt x="842616" y="1821605"/>
                  <a:pt x="816696" y="1824485"/>
                </a:cubicBezTo>
                <a:cubicBezTo>
                  <a:pt x="788376" y="1827685"/>
                  <a:pt x="760376" y="1831525"/>
                  <a:pt x="731736" y="1832325"/>
                </a:cubicBezTo>
                <a:cubicBezTo>
                  <a:pt x="677977" y="1833765"/>
                  <a:pt x="623576" y="1822885"/>
                  <a:pt x="570457" y="1816165"/>
                </a:cubicBezTo>
                <a:cubicBezTo>
                  <a:pt x="544696" y="1812965"/>
                  <a:pt x="520536" y="1807365"/>
                  <a:pt x="495256" y="1800965"/>
                </a:cubicBezTo>
                <a:cubicBezTo>
                  <a:pt x="468056" y="1794085"/>
                  <a:pt x="440536" y="1790565"/>
                  <a:pt x="413017" y="1784965"/>
                </a:cubicBezTo>
                <a:cubicBezTo>
                  <a:pt x="338296" y="1769765"/>
                  <a:pt x="264376" y="1753925"/>
                  <a:pt x="192056" y="1729765"/>
                </a:cubicBezTo>
                <a:cubicBezTo>
                  <a:pt x="198296" y="1728645"/>
                  <a:pt x="204536" y="1727365"/>
                  <a:pt x="210776" y="1725925"/>
                </a:cubicBezTo>
                <a:cubicBezTo>
                  <a:pt x="226457" y="1722245"/>
                  <a:pt x="242296" y="1724965"/>
                  <a:pt x="258136" y="1726085"/>
                </a:cubicBezTo>
                <a:cubicBezTo>
                  <a:pt x="313017" y="1730085"/>
                  <a:pt x="367736" y="1736645"/>
                  <a:pt x="422776" y="1738565"/>
                </a:cubicBezTo>
                <a:cubicBezTo>
                  <a:pt x="478457" y="1740485"/>
                  <a:pt x="533336" y="1737925"/>
                  <a:pt x="589017" y="1736005"/>
                </a:cubicBezTo>
                <a:cubicBezTo>
                  <a:pt x="643256" y="1734245"/>
                  <a:pt x="697336" y="1738565"/>
                  <a:pt x="751416" y="1738885"/>
                </a:cubicBezTo>
                <a:cubicBezTo>
                  <a:pt x="774296" y="1739045"/>
                  <a:pt x="797336" y="1740645"/>
                  <a:pt x="820056" y="1738085"/>
                </a:cubicBezTo>
                <a:cubicBezTo>
                  <a:pt x="846296" y="1735205"/>
                  <a:pt x="872536" y="1732485"/>
                  <a:pt x="898616" y="1729445"/>
                </a:cubicBezTo>
                <a:cubicBezTo>
                  <a:pt x="923736" y="1726565"/>
                  <a:pt x="949017" y="1719205"/>
                  <a:pt x="973497" y="1712965"/>
                </a:cubicBezTo>
                <a:cubicBezTo>
                  <a:pt x="1000536" y="1705925"/>
                  <a:pt x="1028536" y="1702565"/>
                  <a:pt x="1055417" y="1695525"/>
                </a:cubicBezTo>
                <a:cubicBezTo>
                  <a:pt x="1154616" y="1669285"/>
                  <a:pt x="1241177" y="1607525"/>
                  <a:pt x="1323257" y="1548805"/>
                </a:cubicBezTo>
                <a:cubicBezTo>
                  <a:pt x="1353017" y="1527525"/>
                  <a:pt x="1381177" y="1503205"/>
                  <a:pt x="1405816" y="1476165"/>
                </a:cubicBezTo>
                <a:cubicBezTo>
                  <a:pt x="1417656" y="1463205"/>
                  <a:pt x="1431576" y="1452005"/>
                  <a:pt x="1443257" y="1439045"/>
                </a:cubicBezTo>
                <a:cubicBezTo>
                  <a:pt x="1451897" y="1429445"/>
                  <a:pt x="1455257" y="1418725"/>
                  <a:pt x="1457177" y="1406565"/>
                </a:cubicBezTo>
                <a:cubicBezTo>
                  <a:pt x="1458776" y="1406885"/>
                  <a:pt x="1460217" y="1407205"/>
                  <a:pt x="1461656" y="1407525"/>
                </a:cubicBezTo>
                <a:cubicBezTo>
                  <a:pt x="1454296" y="1426885"/>
                  <a:pt x="1444057" y="1446725"/>
                  <a:pt x="1432536" y="1463205"/>
                </a:cubicBezTo>
                <a:cubicBezTo>
                  <a:pt x="1419736" y="1481605"/>
                  <a:pt x="1402776" y="1498725"/>
                  <a:pt x="1392376" y="1518565"/>
                </a:cubicBezTo>
                <a:cubicBezTo>
                  <a:pt x="1380376" y="1541765"/>
                  <a:pt x="1358296" y="1561125"/>
                  <a:pt x="1339576" y="1578885"/>
                </a:cubicBezTo>
                <a:cubicBezTo>
                  <a:pt x="1321977" y="1595365"/>
                  <a:pt x="1303736" y="1610885"/>
                  <a:pt x="1285816" y="1627045"/>
                </a:cubicBezTo>
                <a:cubicBezTo>
                  <a:pt x="1268856" y="1642245"/>
                  <a:pt x="1252536" y="1656325"/>
                  <a:pt x="1234296" y="1670085"/>
                </a:cubicBezTo>
                <a:cubicBezTo>
                  <a:pt x="1216376" y="1683685"/>
                  <a:pt x="1196056" y="1693925"/>
                  <a:pt x="1177336" y="1706565"/>
                </a:cubicBezTo>
                <a:cubicBezTo>
                  <a:pt x="1167096" y="1713445"/>
                  <a:pt x="1157977" y="1720965"/>
                  <a:pt x="1146776" y="1726405"/>
                </a:cubicBezTo>
                <a:cubicBezTo>
                  <a:pt x="1136216" y="1731685"/>
                  <a:pt x="1125977" y="1736805"/>
                  <a:pt x="1115736" y="1742725"/>
                </a:cubicBezTo>
                <a:cubicBezTo>
                  <a:pt x="1104856" y="1748965"/>
                  <a:pt x="1094937" y="1757445"/>
                  <a:pt x="1083897" y="1763205"/>
                </a:cubicBezTo>
                <a:cubicBezTo>
                  <a:pt x="1078457" y="1766085"/>
                  <a:pt x="1072856" y="1768165"/>
                  <a:pt x="1067096" y="1770085"/>
                </a:cubicBezTo>
                <a:cubicBezTo>
                  <a:pt x="1065816" y="1770565"/>
                  <a:pt x="1065336" y="1770885"/>
                  <a:pt x="1065176" y="1771365"/>
                </a:cubicBezTo>
                <a:cubicBezTo>
                  <a:pt x="1053816" y="1774245"/>
                  <a:pt x="1042457" y="1776805"/>
                  <a:pt x="1031096" y="1779845"/>
                </a:cubicBezTo>
                <a:cubicBezTo>
                  <a:pt x="1009656" y="1785445"/>
                  <a:pt x="986937" y="1786725"/>
                  <a:pt x="965497" y="1793765"/>
                </a:cubicBezTo>
                <a:close/>
                <a:moveTo>
                  <a:pt x="1243257" y="1699205"/>
                </a:moveTo>
                <a:cubicBezTo>
                  <a:pt x="1221497" y="1710405"/>
                  <a:pt x="1200056" y="1722245"/>
                  <a:pt x="1178296" y="1733445"/>
                </a:cubicBezTo>
                <a:cubicBezTo>
                  <a:pt x="1167736" y="1738885"/>
                  <a:pt x="1156056" y="1743365"/>
                  <a:pt x="1144856" y="1747365"/>
                </a:cubicBezTo>
                <a:cubicBezTo>
                  <a:pt x="1137816" y="1749925"/>
                  <a:pt x="1129656" y="1750565"/>
                  <a:pt x="1121977" y="1752165"/>
                </a:cubicBezTo>
                <a:cubicBezTo>
                  <a:pt x="1126616" y="1749605"/>
                  <a:pt x="1131256" y="1747045"/>
                  <a:pt x="1135897" y="1744645"/>
                </a:cubicBezTo>
                <a:cubicBezTo>
                  <a:pt x="1146457" y="1739205"/>
                  <a:pt x="1159096" y="1735685"/>
                  <a:pt x="1168536" y="1728485"/>
                </a:cubicBezTo>
                <a:cubicBezTo>
                  <a:pt x="1208536" y="1698085"/>
                  <a:pt x="1253017" y="1676485"/>
                  <a:pt x="1290137" y="1641765"/>
                </a:cubicBezTo>
                <a:cubicBezTo>
                  <a:pt x="1309017" y="1624005"/>
                  <a:pt x="1329177" y="1607525"/>
                  <a:pt x="1348217" y="1589925"/>
                </a:cubicBezTo>
                <a:cubicBezTo>
                  <a:pt x="1365977" y="1573445"/>
                  <a:pt x="1389977" y="1553925"/>
                  <a:pt x="1401656" y="1532325"/>
                </a:cubicBezTo>
                <a:cubicBezTo>
                  <a:pt x="1414296" y="1508805"/>
                  <a:pt x="1432376" y="1488645"/>
                  <a:pt x="1447576" y="1466725"/>
                </a:cubicBezTo>
                <a:cubicBezTo>
                  <a:pt x="1454456" y="1456805"/>
                  <a:pt x="1458296" y="1445605"/>
                  <a:pt x="1464217" y="1435205"/>
                </a:cubicBezTo>
                <a:cubicBezTo>
                  <a:pt x="1468856" y="1426885"/>
                  <a:pt x="1473496" y="1418885"/>
                  <a:pt x="1476217" y="1409925"/>
                </a:cubicBezTo>
                <a:cubicBezTo>
                  <a:pt x="1477017" y="1410085"/>
                  <a:pt x="1477816" y="1410245"/>
                  <a:pt x="1478456" y="1410405"/>
                </a:cubicBezTo>
                <a:cubicBezTo>
                  <a:pt x="1476696" y="1419685"/>
                  <a:pt x="1475416" y="1429285"/>
                  <a:pt x="1471736" y="1437925"/>
                </a:cubicBezTo>
                <a:cubicBezTo>
                  <a:pt x="1469816" y="1442565"/>
                  <a:pt x="1466296" y="1444805"/>
                  <a:pt x="1465496" y="1449765"/>
                </a:cubicBezTo>
                <a:cubicBezTo>
                  <a:pt x="1464856" y="1453605"/>
                  <a:pt x="1465017" y="1459205"/>
                  <a:pt x="1461816" y="1461925"/>
                </a:cubicBezTo>
                <a:cubicBezTo>
                  <a:pt x="1455576" y="1467685"/>
                  <a:pt x="1459257" y="1477285"/>
                  <a:pt x="1453496" y="1482405"/>
                </a:cubicBezTo>
                <a:cubicBezTo>
                  <a:pt x="1446137" y="1489125"/>
                  <a:pt x="1442456" y="1501125"/>
                  <a:pt x="1436376" y="1509445"/>
                </a:cubicBezTo>
                <a:cubicBezTo>
                  <a:pt x="1422137" y="1528805"/>
                  <a:pt x="1406296" y="1546245"/>
                  <a:pt x="1392696" y="1566245"/>
                </a:cubicBezTo>
                <a:cubicBezTo>
                  <a:pt x="1377977" y="1587685"/>
                  <a:pt x="1362776" y="1608645"/>
                  <a:pt x="1346456" y="1628805"/>
                </a:cubicBezTo>
                <a:cubicBezTo>
                  <a:pt x="1340376" y="1636325"/>
                  <a:pt x="1334137" y="1643365"/>
                  <a:pt x="1327736" y="1650565"/>
                </a:cubicBezTo>
                <a:cubicBezTo>
                  <a:pt x="1324217" y="1652965"/>
                  <a:pt x="1320856" y="1655365"/>
                  <a:pt x="1317496" y="1657605"/>
                </a:cubicBezTo>
                <a:cubicBezTo>
                  <a:pt x="1309816" y="1662725"/>
                  <a:pt x="1301656" y="1666565"/>
                  <a:pt x="1293017" y="1669925"/>
                </a:cubicBezTo>
                <a:cubicBezTo>
                  <a:pt x="1291097" y="1670725"/>
                  <a:pt x="1289177" y="1671845"/>
                  <a:pt x="1287257" y="1673125"/>
                </a:cubicBezTo>
                <a:cubicBezTo>
                  <a:pt x="1287576" y="1672645"/>
                  <a:pt x="1287736" y="1672165"/>
                  <a:pt x="1288057" y="1671845"/>
                </a:cubicBezTo>
                <a:cubicBezTo>
                  <a:pt x="1274137" y="1682085"/>
                  <a:pt x="1258937" y="1691045"/>
                  <a:pt x="1243257" y="1699205"/>
                </a:cubicBezTo>
                <a:close/>
                <a:moveTo>
                  <a:pt x="1051897" y="2316325"/>
                </a:moveTo>
                <a:cubicBezTo>
                  <a:pt x="1050616" y="2320645"/>
                  <a:pt x="1049656" y="2324965"/>
                  <a:pt x="1048696" y="2329445"/>
                </a:cubicBezTo>
                <a:cubicBezTo>
                  <a:pt x="1046776" y="2321925"/>
                  <a:pt x="1045176" y="2314245"/>
                  <a:pt x="1044376" y="2305925"/>
                </a:cubicBezTo>
                <a:cubicBezTo>
                  <a:pt x="1039256" y="2258725"/>
                  <a:pt x="1054136" y="2209925"/>
                  <a:pt x="1065656" y="2164485"/>
                </a:cubicBezTo>
                <a:cubicBezTo>
                  <a:pt x="1077497" y="2117285"/>
                  <a:pt x="1090136" y="2073445"/>
                  <a:pt x="1111576" y="2029605"/>
                </a:cubicBezTo>
                <a:cubicBezTo>
                  <a:pt x="1133816" y="1984165"/>
                  <a:pt x="1156696" y="1938885"/>
                  <a:pt x="1181336" y="1894565"/>
                </a:cubicBezTo>
                <a:cubicBezTo>
                  <a:pt x="1192696" y="1874245"/>
                  <a:pt x="1204216" y="1855365"/>
                  <a:pt x="1217977" y="1836645"/>
                </a:cubicBezTo>
                <a:cubicBezTo>
                  <a:pt x="1230776" y="1819205"/>
                  <a:pt x="1237977" y="1799525"/>
                  <a:pt x="1249496" y="1781605"/>
                </a:cubicBezTo>
                <a:cubicBezTo>
                  <a:pt x="1274137" y="1743205"/>
                  <a:pt x="1309496" y="1712805"/>
                  <a:pt x="1340217" y="1679365"/>
                </a:cubicBezTo>
                <a:cubicBezTo>
                  <a:pt x="1372376" y="1644485"/>
                  <a:pt x="1399576" y="1606245"/>
                  <a:pt x="1425977" y="1566885"/>
                </a:cubicBezTo>
                <a:cubicBezTo>
                  <a:pt x="1445177" y="1538245"/>
                  <a:pt x="1476217" y="1512645"/>
                  <a:pt x="1482137" y="1477285"/>
                </a:cubicBezTo>
                <a:cubicBezTo>
                  <a:pt x="1487576" y="1469285"/>
                  <a:pt x="1486937" y="1460965"/>
                  <a:pt x="1492217" y="1451525"/>
                </a:cubicBezTo>
                <a:cubicBezTo>
                  <a:pt x="1492376" y="1451205"/>
                  <a:pt x="1492536" y="1450885"/>
                  <a:pt x="1492696" y="1450565"/>
                </a:cubicBezTo>
                <a:cubicBezTo>
                  <a:pt x="1494137" y="1448165"/>
                  <a:pt x="1495576" y="1445765"/>
                  <a:pt x="1497017" y="1443205"/>
                </a:cubicBezTo>
                <a:cubicBezTo>
                  <a:pt x="1497656" y="1442245"/>
                  <a:pt x="1498137" y="1441285"/>
                  <a:pt x="1498616" y="1440165"/>
                </a:cubicBezTo>
                <a:cubicBezTo>
                  <a:pt x="1499257" y="1440325"/>
                  <a:pt x="1499897" y="1440485"/>
                  <a:pt x="1500536" y="1440645"/>
                </a:cubicBezTo>
                <a:cubicBezTo>
                  <a:pt x="1501177" y="1438245"/>
                  <a:pt x="1501656" y="1435845"/>
                  <a:pt x="1502296" y="1433445"/>
                </a:cubicBezTo>
                <a:cubicBezTo>
                  <a:pt x="1503736" y="1430405"/>
                  <a:pt x="1505017" y="1427365"/>
                  <a:pt x="1506137" y="1424325"/>
                </a:cubicBezTo>
                <a:cubicBezTo>
                  <a:pt x="1508217" y="1422085"/>
                  <a:pt x="1510776" y="1420805"/>
                  <a:pt x="1513496" y="1420485"/>
                </a:cubicBezTo>
                <a:lnTo>
                  <a:pt x="1513816" y="1418085"/>
                </a:lnTo>
                <a:cubicBezTo>
                  <a:pt x="1513977" y="1417285"/>
                  <a:pt x="1513816" y="1416645"/>
                  <a:pt x="1513816" y="1415845"/>
                </a:cubicBezTo>
                <a:cubicBezTo>
                  <a:pt x="1531097" y="1418725"/>
                  <a:pt x="1548217" y="1422565"/>
                  <a:pt x="1565336" y="1425925"/>
                </a:cubicBezTo>
                <a:cubicBezTo>
                  <a:pt x="1554296" y="1428965"/>
                  <a:pt x="1543257" y="1437445"/>
                  <a:pt x="1538296" y="1447045"/>
                </a:cubicBezTo>
                <a:cubicBezTo>
                  <a:pt x="1526137" y="1470405"/>
                  <a:pt x="1514937" y="1494405"/>
                  <a:pt x="1504217" y="1518405"/>
                </a:cubicBezTo>
                <a:cubicBezTo>
                  <a:pt x="1480856" y="1570885"/>
                  <a:pt x="1458456" y="1624005"/>
                  <a:pt x="1436376" y="1676965"/>
                </a:cubicBezTo>
                <a:cubicBezTo>
                  <a:pt x="1416057" y="1725445"/>
                  <a:pt x="1390776" y="1771205"/>
                  <a:pt x="1355257" y="1810085"/>
                </a:cubicBezTo>
                <a:cubicBezTo>
                  <a:pt x="1337816" y="1829125"/>
                  <a:pt x="1322776" y="1850245"/>
                  <a:pt x="1307097" y="1870725"/>
                </a:cubicBezTo>
                <a:cubicBezTo>
                  <a:pt x="1292376" y="1889925"/>
                  <a:pt x="1276217" y="1907845"/>
                  <a:pt x="1262137" y="1927525"/>
                </a:cubicBezTo>
                <a:cubicBezTo>
                  <a:pt x="1249496" y="1945445"/>
                  <a:pt x="1237816" y="1961765"/>
                  <a:pt x="1229017" y="1981925"/>
                </a:cubicBezTo>
                <a:cubicBezTo>
                  <a:pt x="1218616" y="2005765"/>
                  <a:pt x="1201497" y="2030565"/>
                  <a:pt x="1186457" y="2051525"/>
                </a:cubicBezTo>
                <a:cubicBezTo>
                  <a:pt x="1172056" y="2071685"/>
                  <a:pt x="1163256" y="2094405"/>
                  <a:pt x="1150136" y="2115365"/>
                </a:cubicBezTo>
                <a:cubicBezTo>
                  <a:pt x="1136696" y="2136645"/>
                  <a:pt x="1124856" y="2158405"/>
                  <a:pt x="1113336" y="2180805"/>
                </a:cubicBezTo>
                <a:cubicBezTo>
                  <a:pt x="1107736" y="2191685"/>
                  <a:pt x="1099417" y="2200485"/>
                  <a:pt x="1093497" y="2211045"/>
                </a:cubicBezTo>
                <a:cubicBezTo>
                  <a:pt x="1087736" y="2221285"/>
                  <a:pt x="1084216" y="2232485"/>
                  <a:pt x="1078296" y="2242725"/>
                </a:cubicBezTo>
                <a:cubicBezTo>
                  <a:pt x="1064696" y="2265445"/>
                  <a:pt x="1058937" y="2291525"/>
                  <a:pt x="1051897" y="2316325"/>
                </a:cubicBezTo>
                <a:close/>
                <a:moveTo>
                  <a:pt x="1065977" y="2408805"/>
                </a:moveTo>
                <a:cubicBezTo>
                  <a:pt x="1063417" y="2408805"/>
                  <a:pt x="1060856" y="2408965"/>
                  <a:pt x="1058296" y="2408805"/>
                </a:cubicBezTo>
                <a:cubicBezTo>
                  <a:pt x="1059256" y="2403045"/>
                  <a:pt x="1061336" y="2397445"/>
                  <a:pt x="1062457" y="2391685"/>
                </a:cubicBezTo>
                <a:cubicBezTo>
                  <a:pt x="1064376" y="2382245"/>
                  <a:pt x="1061497" y="2371365"/>
                  <a:pt x="1058616" y="2362405"/>
                </a:cubicBezTo>
                <a:cubicBezTo>
                  <a:pt x="1058296" y="2361285"/>
                  <a:pt x="1057816" y="2360165"/>
                  <a:pt x="1057497" y="2359045"/>
                </a:cubicBezTo>
                <a:cubicBezTo>
                  <a:pt x="1058457" y="2354085"/>
                  <a:pt x="1059256" y="2349125"/>
                  <a:pt x="1060376" y="2344165"/>
                </a:cubicBezTo>
                <a:cubicBezTo>
                  <a:pt x="1065497" y="2320005"/>
                  <a:pt x="1071417" y="2296325"/>
                  <a:pt x="1079736" y="2272965"/>
                </a:cubicBezTo>
                <a:cubicBezTo>
                  <a:pt x="1094136" y="2232485"/>
                  <a:pt x="1121017" y="2198565"/>
                  <a:pt x="1139736" y="2160165"/>
                </a:cubicBezTo>
                <a:cubicBezTo>
                  <a:pt x="1149497" y="2140325"/>
                  <a:pt x="1162776" y="2122885"/>
                  <a:pt x="1173176" y="2103365"/>
                </a:cubicBezTo>
                <a:cubicBezTo>
                  <a:pt x="1185176" y="2080805"/>
                  <a:pt x="1197336" y="2060165"/>
                  <a:pt x="1212696" y="2039685"/>
                </a:cubicBezTo>
                <a:cubicBezTo>
                  <a:pt x="1218616" y="2031685"/>
                  <a:pt x="1222457" y="2020165"/>
                  <a:pt x="1227576" y="2011525"/>
                </a:cubicBezTo>
                <a:cubicBezTo>
                  <a:pt x="1233336" y="2001765"/>
                  <a:pt x="1239576" y="1992485"/>
                  <a:pt x="1244217" y="1982085"/>
                </a:cubicBezTo>
                <a:cubicBezTo>
                  <a:pt x="1253336" y="1961125"/>
                  <a:pt x="1269017" y="1941445"/>
                  <a:pt x="1282937" y="1923045"/>
                </a:cubicBezTo>
                <a:cubicBezTo>
                  <a:pt x="1338137" y="1850245"/>
                  <a:pt x="1403416" y="1785125"/>
                  <a:pt x="1441017" y="1700645"/>
                </a:cubicBezTo>
                <a:cubicBezTo>
                  <a:pt x="1461496" y="1654565"/>
                  <a:pt x="1480217" y="1607845"/>
                  <a:pt x="1499736" y="1561445"/>
                </a:cubicBezTo>
                <a:cubicBezTo>
                  <a:pt x="1509496" y="1538085"/>
                  <a:pt x="1519097" y="1514565"/>
                  <a:pt x="1529496" y="1491525"/>
                </a:cubicBezTo>
                <a:cubicBezTo>
                  <a:pt x="1538616" y="1471365"/>
                  <a:pt x="1547097" y="1437445"/>
                  <a:pt x="1572217" y="1431685"/>
                </a:cubicBezTo>
                <a:cubicBezTo>
                  <a:pt x="1574456" y="1431205"/>
                  <a:pt x="1575257" y="1429445"/>
                  <a:pt x="1575097" y="1427685"/>
                </a:cubicBezTo>
                <a:cubicBezTo>
                  <a:pt x="1576856" y="1428005"/>
                  <a:pt x="1578616" y="1428325"/>
                  <a:pt x="1580376" y="1428645"/>
                </a:cubicBezTo>
                <a:cubicBezTo>
                  <a:pt x="1589177" y="1472805"/>
                  <a:pt x="1582776" y="1518085"/>
                  <a:pt x="1571257" y="1561445"/>
                </a:cubicBezTo>
                <a:cubicBezTo>
                  <a:pt x="1558296" y="1609925"/>
                  <a:pt x="1540057" y="1658085"/>
                  <a:pt x="1520536" y="1704325"/>
                </a:cubicBezTo>
                <a:cubicBezTo>
                  <a:pt x="1483736" y="1791205"/>
                  <a:pt x="1413336" y="1856165"/>
                  <a:pt x="1363897" y="1935045"/>
                </a:cubicBezTo>
                <a:cubicBezTo>
                  <a:pt x="1351576" y="1954725"/>
                  <a:pt x="1335897" y="1972485"/>
                  <a:pt x="1323097" y="1992005"/>
                </a:cubicBezTo>
                <a:cubicBezTo>
                  <a:pt x="1309816" y="2012325"/>
                  <a:pt x="1295897" y="2032325"/>
                  <a:pt x="1282456" y="2052645"/>
                </a:cubicBezTo>
                <a:cubicBezTo>
                  <a:pt x="1255416" y="2093285"/>
                  <a:pt x="1232376" y="2136005"/>
                  <a:pt x="1204696" y="2176325"/>
                </a:cubicBezTo>
                <a:cubicBezTo>
                  <a:pt x="1176056" y="2218085"/>
                  <a:pt x="1155576" y="2264485"/>
                  <a:pt x="1126136" y="2305765"/>
                </a:cubicBezTo>
                <a:cubicBezTo>
                  <a:pt x="1112856" y="2324325"/>
                  <a:pt x="1102937" y="2344485"/>
                  <a:pt x="1091897" y="2364325"/>
                </a:cubicBezTo>
                <a:cubicBezTo>
                  <a:pt x="1084856" y="2376805"/>
                  <a:pt x="1077497" y="2389605"/>
                  <a:pt x="1069816" y="2401765"/>
                </a:cubicBezTo>
                <a:cubicBezTo>
                  <a:pt x="1069336" y="2402885"/>
                  <a:pt x="1067736" y="2405765"/>
                  <a:pt x="1065977" y="2408805"/>
                </a:cubicBezTo>
                <a:close/>
                <a:moveTo>
                  <a:pt x="1122616" y="2402885"/>
                </a:moveTo>
                <a:cubicBezTo>
                  <a:pt x="1109816" y="2404325"/>
                  <a:pt x="1097176" y="2406245"/>
                  <a:pt x="1084376" y="2407685"/>
                </a:cubicBezTo>
                <a:cubicBezTo>
                  <a:pt x="1084696" y="2407205"/>
                  <a:pt x="1085017" y="2406725"/>
                  <a:pt x="1085176" y="2406405"/>
                </a:cubicBezTo>
                <a:cubicBezTo>
                  <a:pt x="1098616" y="2385125"/>
                  <a:pt x="1110616" y="2362885"/>
                  <a:pt x="1122457" y="2340645"/>
                </a:cubicBezTo>
                <a:cubicBezTo>
                  <a:pt x="1134457" y="2317925"/>
                  <a:pt x="1152056" y="2298565"/>
                  <a:pt x="1164696" y="2276165"/>
                </a:cubicBezTo>
                <a:cubicBezTo>
                  <a:pt x="1178457" y="2251845"/>
                  <a:pt x="1190296" y="2226565"/>
                  <a:pt x="1205656" y="2203045"/>
                </a:cubicBezTo>
                <a:cubicBezTo>
                  <a:pt x="1218937" y="2182565"/>
                  <a:pt x="1234296" y="2163525"/>
                  <a:pt x="1246937" y="2142725"/>
                </a:cubicBezTo>
                <a:cubicBezTo>
                  <a:pt x="1260536" y="2120005"/>
                  <a:pt x="1273336" y="2096805"/>
                  <a:pt x="1287416" y="2074245"/>
                </a:cubicBezTo>
                <a:cubicBezTo>
                  <a:pt x="1301496" y="2051525"/>
                  <a:pt x="1317496" y="2029925"/>
                  <a:pt x="1331897" y="2007365"/>
                </a:cubicBezTo>
                <a:cubicBezTo>
                  <a:pt x="1346776" y="1984325"/>
                  <a:pt x="1364696" y="1963205"/>
                  <a:pt x="1379257" y="1940005"/>
                </a:cubicBezTo>
                <a:cubicBezTo>
                  <a:pt x="1404376" y="1899845"/>
                  <a:pt x="1434616" y="1863045"/>
                  <a:pt x="1464057" y="1825925"/>
                </a:cubicBezTo>
                <a:cubicBezTo>
                  <a:pt x="1494937" y="1786565"/>
                  <a:pt x="1520536" y="1744965"/>
                  <a:pt x="1539257" y="1698565"/>
                </a:cubicBezTo>
                <a:cubicBezTo>
                  <a:pt x="1558296" y="1651365"/>
                  <a:pt x="1575576" y="1602245"/>
                  <a:pt x="1587576" y="1552645"/>
                </a:cubicBezTo>
                <a:cubicBezTo>
                  <a:pt x="1593656" y="1527045"/>
                  <a:pt x="1597017" y="1500325"/>
                  <a:pt x="1596856" y="1474085"/>
                </a:cubicBezTo>
                <a:cubicBezTo>
                  <a:pt x="1596856" y="1462885"/>
                  <a:pt x="1595736" y="1444165"/>
                  <a:pt x="1590616" y="1431045"/>
                </a:cubicBezTo>
                <a:cubicBezTo>
                  <a:pt x="1591736" y="1431205"/>
                  <a:pt x="1592856" y="1431525"/>
                  <a:pt x="1594137" y="1431685"/>
                </a:cubicBezTo>
                <a:cubicBezTo>
                  <a:pt x="1609977" y="1434245"/>
                  <a:pt x="1625816" y="1437125"/>
                  <a:pt x="1641816" y="1439205"/>
                </a:cubicBezTo>
                <a:cubicBezTo>
                  <a:pt x="1643897" y="1445285"/>
                  <a:pt x="1644856" y="1453765"/>
                  <a:pt x="1645336" y="1457925"/>
                </a:cubicBezTo>
                <a:cubicBezTo>
                  <a:pt x="1646776" y="1470725"/>
                  <a:pt x="1648696" y="1483045"/>
                  <a:pt x="1651897" y="1495365"/>
                </a:cubicBezTo>
                <a:cubicBezTo>
                  <a:pt x="1657977" y="1518885"/>
                  <a:pt x="1661177" y="1546725"/>
                  <a:pt x="1660856" y="1571045"/>
                </a:cubicBezTo>
                <a:cubicBezTo>
                  <a:pt x="1660376" y="1623045"/>
                  <a:pt x="1660856" y="1674725"/>
                  <a:pt x="1643576" y="1724645"/>
                </a:cubicBezTo>
                <a:cubicBezTo>
                  <a:pt x="1635097" y="1749285"/>
                  <a:pt x="1621177" y="1772965"/>
                  <a:pt x="1609177" y="1796005"/>
                </a:cubicBezTo>
                <a:cubicBezTo>
                  <a:pt x="1603097" y="1807685"/>
                  <a:pt x="1599097" y="1820965"/>
                  <a:pt x="1593177" y="1832965"/>
                </a:cubicBezTo>
                <a:cubicBezTo>
                  <a:pt x="1587097" y="1845285"/>
                  <a:pt x="1580057" y="1856805"/>
                  <a:pt x="1574137" y="1869285"/>
                </a:cubicBezTo>
                <a:cubicBezTo>
                  <a:pt x="1561816" y="1895045"/>
                  <a:pt x="1549336" y="1920645"/>
                  <a:pt x="1534296" y="1944965"/>
                </a:cubicBezTo>
                <a:cubicBezTo>
                  <a:pt x="1520856" y="1966885"/>
                  <a:pt x="1503736" y="1985765"/>
                  <a:pt x="1489177" y="2006885"/>
                </a:cubicBezTo>
                <a:cubicBezTo>
                  <a:pt x="1476856" y="2024965"/>
                  <a:pt x="1460856" y="2041605"/>
                  <a:pt x="1446296" y="2057765"/>
                </a:cubicBezTo>
                <a:cubicBezTo>
                  <a:pt x="1431897" y="2073925"/>
                  <a:pt x="1418776" y="2095525"/>
                  <a:pt x="1407257" y="2114085"/>
                </a:cubicBezTo>
                <a:cubicBezTo>
                  <a:pt x="1394937" y="2134085"/>
                  <a:pt x="1380696" y="2152965"/>
                  <a:pt x="1365496" y="2170725"/>
                </a:cubicBezTo>
                <a:cubicBezTo>
                  <a:pt x="1348057" y="2191365"/>
                  <a:pt x="1333017" y="2213445"/>
                  <a:pt x="1314776" y="2233445"/>
                </a:cubicBezTo>
                <a:cubicBezTo>
                  <a:pt x="1281656" y="2269925"/>
                  <a:pt x="1244856" y="2307365"/>
                  <a:pt x="1205656" y="2337125"/>
                </a:cubicBezTo>
                <a:cubicBezTo>
                  <a:pt x="1185816" y="2352165"/>
                  <a:pt x="1165656" y="2365765"/>
                  <a:pt x="1146616" y="2381765"/>
                </a:cubicBezTo>
                <a:cubicBezTo>
                  <a:pt x="1138296" y="2388325"/>
                  <a:pt x="1130776" y="2395845"/>
                  <a:pt x="1122616" y="2402885"/>
                </a:cubicBezTo>
                <a:close/>
                <a:moveTo>
                  <a:pt x="1321336" y="2349125"/>
                </a:moveTo>
                <a:cubicBezTo>
                  <a:pt x="1315576" y="2351845"/>
                  <a:pt x="1309816" y="2354725"/>
                  <a:pt x="1304217" y="2357605"/>
                </a:cubicBezTo>
                <a:cubicBezTo>
                  <a:pt x="1281816" y="2369605"/>
                  <a:pt x="1260057" y="2383845"/>
                  <a:pt x="1234776" y="2389445"/>
                </a:cubicBezTo>
                <a:cubicBezTo>
                  <a:pt x="1205497" y="2396005"/>
                  <a:pt x="1177816" y="2400165"/>
                  <a:pt x="1147897" y="2401125"/>
                </a:cubicBezTo>
                <a:cubicBezTo>
                  <a:pt x="1149017" y="2400165"/>
                  <a:pt x="1150136" y="2399045"/>
                  <a:pt x="1151256" y="2398085"/>
                </a:cubicBezTo>
                <a:cubicBezTo>
                  <a:pt x="1171417" y="2380005"/>
                  <a:pt x="1193497" y="2365125"/>
                  <a:pt x="1215256" y="2349125"/>
                </a:cubicBezTo>
                <a:cubicBezTo>
                  <a:pt x="1254296" y="2320485"/>
                  <a:pt x="1290456" y="2282405"/>
                  <a:pt x="1323097" y="2247045"/>
                </a:cubicBezTo>
                <a:cubicBezTo>
                  <a:pt x="1357336" y="2210085"/>
                  <a:pt x="1388536" y="2168805"/>
                  <a:pt x="1417017" y="2127365"/>
                </a:cubicBezTo>
                <a:cubicBezTo>
                  <a:pt x="1429816" y="2108645"/>
                  <a:pt x="1443576" y="2090405"/>
                  <a:pt x="1455416" y="2071205"/>
                </a:cubicBezTo>
                <a:cubicBezTo>
                  <a:pt x="1461336" y="2061445"/>
                  <a:pt x="1471097" y="2054245"/>
                  <a:pt x="1477977" y="2045125"/>
                </a:cubicBezTo>
                <a:cubicBezTo>
                  <a:pt x="1485496" y="2035205"/>
                  <a:pt x="1494616" y="2026085"/>
                  <a:pt x="1501496" y="2015845"/>
                </a:cubicBezTo>
                <a:cubicBezTo>
                  <a:pt x="1514456" y="1996485"/>
                  <a:pt x="1530137" y="1979205"/>
                  <a:pt x="1542937" y="1959525"/>
                </a:cubicBezTo>
                <a:cubicBezTo>
                  <a:pt x="1558137" y="1936165"/>
                  <a:pt x="1569656" y="1911205"/>
                  <a:pt x="1582296" y="1886405"/>
                </a:cubicBezTo>
                <a:cubicBezTo>
                  <a:pt x="1594456" y="1862245"/>
                  <a:pt x="1608057" y="1838565"/>
                  <a:pt x="1618456" y="1813605"/>
                </a:cubicBezTo>
                <a:cubicBezTo>
                  <a:pt x="1629496" y="1787205"/>
                  <a:pt x="1643897" y="1762405"/>
                  <a:pt x="1654937" y="1736005"/>
                </a:cubicBezTo>
                <a:cubicBezTo>
                  <a:pt x="1664376" y="1712965"/>
                  <a:pt x="1668696" y="1687845"/>
                  <a:pt x="1671576" y="1663205"/>
                </a:cubicBezTo>
                <a:cubicBezTo>
                  <a:pt x="1673177" y="1650245"/>
                  <a:pt x="1673977" y="1637125"/>
                  <a:pt x="1674937" y="1624005"/>
                </a:cubicBezTo>
                <a:cubicBezTo>
                  <a:pt x="1675897" y="1610565"/>
                  <a:pt x="1673496" y="1597285"/>
                  <a:pt x="1674616" y="1583685"/>
                </a:cubicBezTo>
                <a:cubicBezTo>
                  <a:pt x="1676536" y="1561765"/>
                  <a:pt x="1671097" y="1538245"/>
                  <a:pt x="1667736" y="1516645"/>
                </a:cubicBezTo>
                <a:cubicBezTo>
                  <a:pt x="1665816" y="1504165"/>
                  <a:pt x="1662776" y="1493285"/>
                  <a:pt x="1659576" y="1481125"/>
                </a:cubicBezTo>
                <a:cubicBezTo>
                  <a:pt x="1657017" y="1471365"/>
                  <a:pt x="1657177" y="1456005"/>
                  <a:pt x="1652057" y="1447525"/>
                </a:cubicBezTo>
                <a:cubicBezTo>
                  <a:pt x="1650456" y="1444965"/>
                  <a:pt x="1649656" y="1442085"/>
                  <a:pt x="1648696" y="1439205"/>
                </a:cubicBezTo>
                <a:cubicBezTo>
                  <a:pt x="1658456" y="1439525"/>
                  <a:pt x="1667576" y="1437925"/>
                  <a:pt x="1677177" y="1436485"/>
                </a:cubicBezTo>
                <a:cubicBezTo>
                  <a:pt x="1678296" y="1456005"/>
                  <a:pt x="1694456" y="1482725"/>
                  <a:pt x="1698137" y="1493285"/>
                </a:cubicBezTo>
                <a:cubicBezTo>
                  <a:pt x="1715257" y="1542725"/>
                  <a:pt x="1717177" y="1593445"/>
                  <a:pt x="1719257" y="1645125"/>
                </a:cubicBezTo>
                <a:cubicBezTo>
                  <a:pt x="1721496" y="1698245"/>
                  <a:pt x="1722937" y="1751525"/>
                  <a:pt x="1713017" y="1804005"/>
                </a:cubicBezTo>
                <a:cubicBezTo>
                  <a:pt x="1703416" y="1855525"/>
                  <a:pt x="1684856" y="1903045"/>
                  <a:pt x="1658296" y="1948005"/>
                </a:cubicBezTo>
                <a:cubicBezTo>
                  <a:pt x="1633017" y="1991045"/>
                  <a:pt x="1597336" y="2022565"/>
                  <a:pt x="1565177" y="2059685"/>
                </a:cubicBezTo>
                <a:cubicBezTo>
                  <a:pt x="1549816" y="2077285"/>
                  <a:pt x="1535736" y="2096005"/>
                  <a:pt x="1521336" y="2114245"/>
                </a:cubicBezTo>
                <a:cubicBezTo>
                  <a:pt x="1505816" y="2134085"/>
                  <a:pt x="1489017" y="2151525"/>
                  <a:pt x="1471416" y="2169605"/>
                </a:cubicBezTo>
                <a:cubicBezTo>
                  <a:pt x="1437656" y="2204325"/>
                  <a:pt x="1412856" y="2245605"/>
                  <a:pt x="1385177" y="2284965"/>
                </a:cubicBezTo>
                <a:cubicBezTo>
                  <a:pt x="1372376" y="2303365"/>
                  <a:pt x="1358937" y="2321445"/>
                  <a:pt x="1340856" y="2335045"/>
                </a:cubicBezTo>
                <a:cubicBezTo>
                  <a:pt x="1335097" y="2339685"/>
                  <a:pt x="1328057" y="2344165"/>
                  <a:pt x="1321336" y="2349125"/>
                </a:cubicBezTo>
                <a:close/>
                <a:moveTo>
                  <a:pt x="1816376" y="1759685"/>
                </a:moveTo>
                <a:cubicBezTo>
                  <a:pt x="1813977" y="1771205"/>
                  <a:pt x="1809656" y="1782085"/>
                  <a:pt x="1807736" y="1793765"/>
                </a:cubicBezTo>
                <a:cubicBezTo>
                  <a:pt x="1805017" y="1809765"/>
                  <a:pt x="1804057" y="1825925"/>
                  <a:pt x="1799416" y="1841445"/>
                </a:cubicBezTo>
                <a:cubicBezTo>
                  <a:pt x="1792217" y="1865445"/>
                  <a:pt x="1773977" y="1888485"/>
                  <a:pt x="1759897" y="1908805"/>
                </a:cubicBezTo>
                <a:cubicBezTo>
                  <a:pt x="1743736" y="1932165"/>
                  <a:pt x="1726616" y="1954725"/>
                  <a:pt x="1710616" y="1978085"/>
                </a:cubicBezTo>
                <a:cubicBezTo>
                  <a:pt x="1680057" y="2022725"/>
                  <a:pt x="1650616" y="2067685"/>
                  <a:pt x="1614456" y="2108005"/>
                </a:cubicBezTo>
                <a:cubicBezTo>
                  <a:pt x="1577017" y="2149925"/>
                  <a:pt x="1538137" y="2190565"/>
                  <a:pt x="1496376" y="2228325"/>
                </a:cubicBezTo>
                <a:cubicBezTo>
                  <a:pt x="1460057" y="2261285"/>
                  <a:pt x="1421816" y="2293285"/>
                  <a:pt x="1379897" y="2319045"/>
                </a:cubicBezTo>
                <a:cubicBezTo>
                  <a:pt x="1384856" y="2312805"/>
                  <a:pt x="1389496" y="2306405"/>
                  <a:pt x="1393977" y="2300165"/>
                </a:cubicBezTo>
                <a:cubicBezTo>
                  <a:pt x="1407897" y="2280965"/>
                  <a:pt x="1420856" y="2260965"/>
                  <a:pt x="1433977" y="2241125"/>
                </a:cubicBezTo>
                <a:cubicBezTo>
                  <a:pt x="1447257" y="2220805"/>
                  <a:pt x="1463897" y="2202405"/>
                  <a:pt x="1479736" y="2184165"/>
                </a:cubicBezTo>
                <a:cubicBezTo>
                  <a:pt x="1494776" y="2166885"/>
                  <a:pt x="1511897" y="2152165"/>
                  <a:pt x="1526296" y="2134085"/>
                </a:cubicBezTo>
                <a:cubicBezTo>
                  <a:pt x="1542137" y="2114085"/>
                  <a:pt x="1557496" y="2093925"/>
                  <a:pt x="1573816" y="2074405"/>
                </a:cubicBezTo>
                <a:cubicBezTo>
                  <a:pt x="1605496" y="2036485"/>
                  <a:pt x="1641496" y="2005605"/>
                  <a:pt x="1667897" y="1963205"/>
                </a:cubicBezTo>
                <a:cubicBezTo>
                  <a:pt x="1719097" y="1880645"/>
                  <a:pt x="1737977" y="1787685"/>
                  <a:pt x="1735416" y="1691205"/>
                </a:cubicBezTo>
                <a:cubicBezTo>
                  <a:pt x="1734137" y="1640805"/>
                  <a:pt x="1733496" y="1588965"/>
                  <a:pt x="1723257" y="1539525"/>
                </a:cubicBezTo>
                <a:cubicBezTo>
                  <a:pt x="1718937" y="1518085"/>
                  <a:pt x="1712217" y="1497125"/>
                  <a:pt x="1703736" y="1477125"/>
                </a:cubicBezTo>
                <a:cubicBezTo>
                  <a:pt x="1699897" y="1467845"/>
                  <a:pt x="1686937" y="1450245"/>
                  <a:pt x="1684217" y="1435685"/>
                </a:cubicBezTo>
                <a:cubicBezTo>
                  <a:pt x="1684376" y="1435685"/>
                  <a:pt x="1684696" y="1435685"/>
                  <a:pt x="1684856" y="1435525"/>
                </a:cubicBezTo>
                <a:cubicBezTo>
                  <a:pt x="1692696" y="1434565"/>
                  <a:pt x="1717336" y="1431685"/>
                  <a:pt x="1740217" y="1425125"/>
                </a:cubicBezTo>
                <a:cubicBezTo>
                  <a:pt x="1761496" y="1460005"/>
                  <a:pt x="1782937" y="1494405"/>
                  <a:pt x="1799736" y="1532325"/>
                </a:cubicBezTo>
                <a:cubicBezTo>
                  <a:pt x="1809017" y="1553285"/>
                  <a:pt x="1818937" y="1573445"/>
                  <a:pt x="1822456" y="1596325"/>
                </a:cubicBezTo>
                <a:cubicBezTo>
                  <a:pt x="1826937" y="1625285"/>
                  <a:pt x="1827097" y="1656805"/>
                  <a:pt x="1823897" y="1685765"/>
                </a:cubicBezTo>
                <a:cubicBezTo>
                  <a:pt x="1821336" y="1710405"/>
                  <a:pt x="1821177" y="1735365"/>
                  <a:pt x="1816376" y="1759685"/>
                </a:cubicBezTo>
                <a:close/>
                <a:moveTo>
                  <a:pt x="1929177" y="1808325"/>
                </a:moveTo>
                <a:cubicBezTo>
                  <a:pt x="1913816" y="1801125"/>
                  <a:pt x="1895576" y="1792485"/>
                  <a:pt x="1881496" y="1783045"/>
                </a:cubicBezTo>
                <a:cubicBezTo>
                  <a:pt x="1868696" y="1774565"/>
                  <a:pt x="1857496" y="1763045"/>
                  <a:pt x="1846776" y="1751685"/>
                </a:cubicBezTo>
                <a:cubicBezTo>
                  <a:pt x="1848057" y="1745445"/>
                  <a:pt x="1849017" y="1739045"/>
                  <a:pt x="1849656" y="1732645"/>
                </a:cubicBezTo>
                <a:cubicBezTo>
                  <a:pt x="1851097" y="1715845"/>
                  <a:pt x="1853017" y="1699045"/>
                  <a:pt x="1854137" y="1682085"/>
                </a:cubicBezTo>
                <a:cubicBezTo>
                  <a:pt x="1861977" y="1692805"/>
                  <a:pt x="1870137" y="1703365"/>
                  <a:pt x="1878776" y="1713605"/>
                </a:cubicBezTo>
                <a:cubicBezTo>
                  <a:pt x="1897656" y="1735525"/>
                  <a:pt x="1919897" y="1761125"/>
                  <a:pt x="1944536" y="1776325"/>
                </a:cubicBezTo>
                <a:cubicBezTo>
                  <a:pt x="1970296" y="1792165"/>
                  <a:pt x="1994616" y="1808965"/>
                  <a:pt x="2021496" y="1823205"/>
                </a:cubicBezTo>
                <a:cubicBezTo>
                  <a:pt x="2029496" y="1827525"/>
                  <a:pt x="2037496" y="1831845"/>
                  <a:pt x="2045816" y="1835845"/>
                </a:cubicBezTo>
                <a:cubicBezTo>
                  <a:pt x="2006937" y="1833125"/>
                  <a:pt x="1964057" y="1824485"/>
                  <a:pt x="1929177" y="1808325"/>
                </a:cubicBezTo>
                <a:close/>
                <a:moveTo>
                  <a:pt x="2094937" y="1837445"/>
                </a:moveTo>
                <a:cubicBezTo>
                  <a:pt x="2085977" y="1835525"/>
                  <a:pt x="2077496" y="1833445"/>
                  <a:pt x="2068536" y="1829125"/>
                </a:cubicBezTo>
                <a:cubicBezTo>
                  <a:pt x="2056696" y="1823365"/>
                  <a:pt x="2044536" y="1818725"/>
                  <a:pt x="2032696" y="1812965"/>
                </a:cubicBezTo>
                <a:cubicBezTo>
                  <a:pt x="2008376" y="1801125"/>
                  <a:pt x="1985496" y="1787365"/>
                  <a:pt x="1962937" y="1772485"/>
                </a:cubicBezTo>
                <a:cubicBezTo>
                  <a:pt x="1939736" y="1757285"/>
                  <a:pt x="1919576" y="1740005"/>
                  <a:pt x="1900376" y="1719685"/>
                </a:cubicBezTo>
                <a:cubicBezTo>
                  <a:pt x="1891897" y="1710725"/>
                  <a:pt x="1883097" y="1702405"/>
                  <a:pt x="1874937" y="1693125"/>
                </a:cubicBezTo>
                <a:cubicBezTo>
                  <a:pt x="1869656" y="1686885"/>
                  <a:pt x="1860536" y="1678565"/>
                  <a:pt x="1854456" y="1670085"/>
                </a:cubicBezTo>
                <a:cubicBezTo>
                  <a:pt x="1854616" y="1664005"/>
                  <a:pt x="1854776" y="1657925"/>
                  <a:pt x="1854776" y="1651845"/>
                </a:cubicBezTo>
                <a:cubicBezTo>
                  <a:pt x="1854456" y="1630085"/>
                  <a:pt x="1854296" y="1607365"/>
                  <a:pt x="1850296" y="1585605"/>
                </a:cubicBezTo>
                <a:cubicBezTo>
                  <a:pt x="1868217" y="1606885"/>
                  <a:pt x="1887736" y="1626885"/>
                  <a:pt x="1906456" y="1647525"/>
                </a:cubicBezTo>
                <a:cubicBezTo>
                  <a:pt x="1933816" y="1677765"/>
                  <a:pt x="1967897" y="1701605"/>
                  <a:pt x="1997336" y="1729925"/>
                </a:cubicBezTo>
                <a:cubicBezTo>
                  <a:pt x="2031416" y="1762725"/>
                  <a:pt x="2069816" y="1788485"/>
                  <a:pt x="2110137" y="1812805"/>
                </a:cubicBezTo>
                <a:cubicBezTo>
                  <a:pt x="2124857" y="1821765"/>
                  <a:pt x="2139576" y="1830885"/>
                  <a:pt x="2154456" y="1839525"/>
                </a:cubicBezTo>
                <a:cubicBezTo>
                  <a:pt x="2134776" y="1838405"/>
                  <a:pt x="2114937" y="1837925"/>
                  <a:pt x="2094937" y="1837445"/>
                </a:cubicBezTo>
                <a:close/>
                <a:moveTo>
                  <a:pt x="2251736" y="1847845"/>
                </a:moveTo>
                <a:cubicBezTo>
                  <a:pt x="2252217" y="1848325"/>
                  <a:pt x="2253017" y="1849125"/>
                  <a:pt x="2254137" y="1850245"/>
                </a:cubicBezTo>
                <a:cubicBezTo>
                  <a:pt x="2254937" y="1851685"/>
                  <a:pt x="2255736" y="1853125"/>
                  <a:pt x="2256376" y="1854565"/>
                </a:cubicBezTo>
                <a:cubicBezTo>
                  <a:pt x="2237017" y="1848645"/>
                  <a:pt x="2216857" y="1845925"/>
                  <a:pt x="2196536" y="1843685"/>
                </a:cubicBezTo>
                <a:cubicBezTo>
                  <a:pt x="2128696" y="1811045"/>
                  <a:pt x="2061177" y="1770725"/>
                  <a:pt x="2006137" y="1719205"/>
                </a:cubicBezTo>
                <a:cubicBezTo>
                  <a:pt x="1977177" y="1692005"/>
                  <a:pt x="1943736" y="1669125"/>
                  <a:pt x="1916217" y="1640325"/>
                </a:cubicBezTo>
                <a:cubicBezTo>
                  <a:pt x="1893017" y="1615845"/>
                  <a:pt x="1869336" y="1591845"/>
                  <a:pt x="1846137" y="1567525"/>
                </a:cubicBezTo>
                <a:cubicBezTo>
                  <a:pt x="1840057" y="1547525"/>
                  <a:pt x="1830296" y="1528485"/>
                  <a:pt x="1821816" y="1509445"/>
                </a:cubicBezTo>
                <a:cubicBezTo>
                  <a:pt x="1811897" y="1487365"/>
                  <a:pt x="1800057" y="1466085"/>
                  <a:pt x="1788217" y="1444965"/>
                </a:cubicBezTo>
                <a:cubicBezTo>
                  <a:pt x="1783736" y="1436965"/>
                  <a:pt x="1778296" y="1430085"/>
                  <a:pt x="1772696" y="1422725"/>
                </a:cubicBezTo>
                <a:cubicBezTo>
                  <a:pt x="1770616" y="1420005"/>
                  <a:pt x="1768856" y="1417285"/>
                  <a:pt x="1767097" y="1414565"/>
                </a:cubicBezTo>
                <a:cubicBezTo>
                  <a:pt x="1768536" y="1413765"/>
                  <a:pt x="1769816" y="1412965"/>
                  <a:pt x="1771097" y="1412165"/>
                </a:cubicBezTo>
                <a:cubicBezTo>
                  <a:pt x="1773816" y="1412805"/>
                  <a:pt x="1777017" y="1412165"/>
                  <a:pt x="1779097" y="1409925"/>
                </a:cubicBezTo>
                <a:cubicBezTo>
                  <a:pt x="1780536" y="1409925"/>
                  <a:pt x="1781977" y="1409925"/>
                  <a:pt x="1783416" y="1409765"/>
                </a:cubicBezTo>
                <a:cubicBezTo>
                  <a:pt x="1787576" y="1411685"/>
                  <a:pt x="1791576" y="1413605"/>
                  <a:pt x="1795576" y="1415685"/>
                </a:cubicBezTo>
                <a:cubicBezTo>
                  <a:pt x="1796217" y="1417925"/>
                  <a:pt x="1797017" y="1419525"/>
                  <a:pt x="1799736" y="1420645"/>
                </a:cubicBezTo>
                <a:cubicBezTo>
                  <a:pt x="1811736" y="1425765"/>
                  <a:pt x="1822456" y="1431045"/>
                  <a:pt x="1833177" y="1438885"/>
                </a:cubicBezTo>
                <a:cubicBezTo>
                  <a:pt x="1857017" y="1456325"/>
                  <a:pt x="1879416" y="1475205"/>
                  <a:pt x="1901496" y="1494885"/>
                </a:cubicBezTo>
                <a:cubicBezTo>
                  <a:pt x="1945496" y="1534245"/>
                  <a:pt x="1993017" y="1569445"/>
                  <a:pt x="2037336" y="1608645"/>
                </a:cubicBezTo>
                <a:cubicBezTo>
                  <a:pt x="2081017" y="1647365"/>
                  <a:pt x="2118456" y="1693125"/>
                  <a:pt x="2156217" y="1737285"/>
                </a:cubicBezTo>
                <a:cubicBezTo>
                  <a:pt x="2174456" y="1758565"/>
                  <a:pt x="2187576" y="1782725"/>
                  <a:pt x="2208696" y="1801285"/>
                </a:cubicBezTo>
                <a:cubicBezTo>
                  <a:pt x="2220536" y="1811845"/>
                  <a:pt x="2230456" y="1823685"/>
                  <a:pt x="2240696" y="1835525"/>
                </a:cubicBezTo>
                <a:cubicBezTo>
                  <a:pt x="2244536" y="1839685"/>
                  <a:pt x="2248217" y="1843685"/>
                  <a:pt x="2251736" y="1847845"/>
                </a:cubicBezTo>
                <a:close/>
                <a:moveTo>
                  <a:pt x="2163416" y="1650885"/>
                </a:moveTo>
                <a:cubicBezTo>
                  <a:pt x="2169496" y="1663365"/>
                  <a:pt x="2174137" y="1676485"/>
                  <a:pt x="2178776" y="1689445"/>
                </a:cubicBezTo>
                <a:cubicBezTo>
                  <a:pt x="2183736" y="1703365"/>
                  <a:pt x="2192536" y="1714565"/>
                  <a:pt x="2198937" y="1727845"/>
                </a:cubicBezTo>
                <a:cubicBezTo>
                  <a:pt x="2209017" y="1748965"/>
                  <a:pt x="2214456" y="1771845"/>
                  <a:pt x="2223257" y="1793445"/>
                </a:cubicBezTo>
                <a:cubicBezTo>
                  <a:pt x="2219897" y="1790405"/>
                  <a:pt x="2216696" y="1787525"/>
                  <a:pt x="2213336" y="1784645"/>
                </a:cubicBezTo>
                <a:cubicBezTo>
                  <a:pt x="2201496" y="1774245"/>
                  <a:pt x="2192696" y="1760165"/>
                  <a:pt x="2183416" y="1747365"/>
                </a:cubicBezTo>
                <a:cubicBezTo>
                  <a:pt x="2166296" y="1723685"/>
                  <a:pt x="2146456" y="1701285"/>
                  <a:pt x="2126137" y="1680485"/>
                </a:cubicBezTo>
                <a:cubicBezTo>
                  <a:pt x="2106456" y="1660485"/>
                  <a:pt x="2089496" y="1638085"/>
                  <a:pt x="2069177" y="1618565"/>
                </a:cubicBezTo>
                <a:cubicBezTo>
                  <a:pt x="2026776" y="1577605"/>
                  <a:pt x="1978616" y="1542885"/>
                  <a:pt x="1932696" y="1505925"/>
                </a:cubicBezTo>
                <a:cubicBezTo>
                  <a:pt x="1931097" y="1504645"/>
                  <a:pt x="1929496" y="1503205"/>
                  <a:pt x="1927897" y="1501925"/>
                </a:cubicBezTo>
                <a:cubicBezTo>
                  <a:pt x="1966937" y="1526405"/>
                  <a:pt x="2008536" y="1546565"/>
                  <a:pt x="2051897" y="1562245"/>
                </a:cubicBezTo>
                <a:cubicBezTo>
                  <a:pt x="2068057" y="1568165"/>
                  <a:pt x="2084376" y="1573445"/>
                  <a:pt x="2101017" y="1578245"/>
                </a:cubicBezTo>
                <a:cubicBezTo>
                  <a:pt x="2103897" y="1580485"/>
                  <a:pt x="2107097" y="1582085"/>
                  <a:pt x="2110937" y="1583365"/>
                </a:cubicBezTo>
                <a:cubicBezTo>
                  <a:pt x="2129336" y="1606245"/>
                  <a:pt x="2150456" y="1624005"/>
                  <a:pt x="2163416" y="1650885"/>
                </a:cubicBezTo>
                <a:close/>
                <a:moveTo>
                  <a:pt x="3028857" y="1061605"/>
                </a:moveTo>
                <a:cubicBezTo>
                  <a:pt x="3013656" y="1113125"/>
                  <a:pt x="2988696" y="1161125"/>
                  <a:pt x="2962456" y="1207685"/>
                </a:cubicBezTo>
                <a:cubicBezTo>
                  <a:pt x="2949496" y="1230725"/>
                  <a:pt x="2935416" y="1253285"/>
                  <a:pt x="2920857" y="1275525"/>
                </a:cubicBezTo>
                <a:cubicBezTo>
                  <a:pt x="2906616" y="1297285"/>
                  <a:pt x="2893017" y="1319845"/>
                  <a:pt x="2875097" y="1338725"/>
                </a:cubicBezTo>
                <a:cubicBezTo>
                  <a:pt x="2866616" y="1347685"/>
                  <a:pt x="2857177" y="1355845"/>
                  <a:pt x="2848376" y="1364645"/>
                </a:cubicBezTo>
                <a:cubicBezTo>
                  <a:pt x="2840057" y="1373125"/>
                  <a:pt x="2834616" y="1384005"/>
                  <a:pt x="2828536" y="1394245"/>
                </a:cubicBezTo>
                <a:cubicBezTo>
                  <a:pt x="2822456" y="1404485"/>
                  <a:pt x="2815736" y="1413765"/>
                  <a:pt x="2806616" y="1421445"/>
                </a:cubicBezTo>
                <a:cubicBezTo>
                  <a:pt x="2797656" y="1428965"/>
                  <a:pt x="2791416" y="1442885"/>
                  <a:pt x="2783736" y="1452005"/>
                </a:cubicBezTo>
                <a:cubicBezTo>
                  <a:pt x="2751257" y="1491205"/>
                  <a:pt x="2706776" y="1515685"/>
                  <a:pt x="2660857" y="1535525"/>
                </a:cubicBezTo>
                <a:cubicBezTo>
                  <a:pt x="2611257" y="1556965"/>
                  <a:pt x="2560696" y="1570565"/>
                  <a:pt x="2507257" y="1578405"/>
                </a:cubicBezTo>
                <a:cubicBezTo>
                  <a:pt x="2397977" y="1594405"/>
                  <a:pt x="2288217" y="1588645"/>
                  <a:pt x="2180057" y="1567685"/>
                </a:cubicBezTo>
                <a:cubicBezTo>
                  <a:pt x="2154616" y="1562725"/>
                  <a:pt x="2129496" y="1556645"/>
                  <a:pt x="2104857" y="1549445"/>
                </a:cubicBezTo>
                <a:cubicBezTo>
                  <a:pt x="2103257" y="1548485"/>
                  <a:pt x="2101656" y="1548165"/>
                  <a:pt x="2100057" y="1548005"/>
                </a:cubicBezTo>
                <a:cubicBezTo>
                  <a:pt x="2053656" y="1533925"/>
                  <a:pt x="2008536" y="1515525"/>
                  <a:pt x="1965977" y="1491845"/>
                </a:cubicBezTo>
                <a:cubicBezTo>
                  <a:pt x="1914296" y="1463045"/>
                  <a:pt x="1869336" y="1423365"/>
                  <a:pt x="1817496" y="1395205"/>
                </a:cubicBezTo>
                <a:cubicBezTo>
                  <a:pt x="1821017" y="1392965"/>
                  <a:pt x="1824696" y="1390725"/>
                  <a:pt x="1828217" y="1388485"/>
                </a:cubicBezTo>
                <a:cubicBezTo>
                  <a:pt x="1845336" y="1393445"/>
                  <a:pt x="1861977" y="1399205"/>
                  <a:pt x="1879897" y="1402725"/>
                </a:cubicBezTo>
                <a:cubicBezTo>
                  <a:pt x="1908217" y="1408325"/>
                  <a:pt x="1936217" y="1415205"/>
                  <a:pt x="1964376" y="1420805"/>
                </a:cubicBezTo>
                <a:cubicBezTo>
                  <a:pt x="2020696" y="1432005"/>
                  <a:pt x="2078137" y="1437925"/>
                  <a:pt x="2135097" y="1444965"/>
                </a:cubicBezTo>
                <a:cubicBezTo>
                  <a:pt x="2191416" y="1452005"/>
                  <a:pt x="2247897" y="1456965"/>
                  <a:pt x="2304536" y="1459045"/>
                </a:cubicBezTo>
                <a:cubicBezTo>
                  <a:pt x="2355097" y="1460805"/>
                  <a:pt x="2407257" y="1461925"/>
                  <a:pt x="2457336" y="1452965"/>
                </a:cubicBezTo>
                <a:cubicBezTo>
                  <a:pt x="2509017" y="1443685"/>
                  <a:pt x="2559257" y="1422085"/>
                  <a:pt x="2609816" y="1408325"/>
                </a:cubicBezTo>
                <a:cubicBezTo>
                  <a:pt x="2657336" y="1395365"/>
                  <a:pt x="2700536" y="1370725"/>
                  <a:pt x="2739897" y="1341445"/>
                </a:cubicBezTo>
                <a:cubicBezTo>
                  <a:pt x="2759897" y="1326405"/>
                  <a:pt x="2777977" y="1308805"/>
                  <a:pt x="2797177" y="1292805"/>
                </a:cubicBezTo>
                <a:cubicBezTo>
                  <a:pt x="2817336" y="1276005"/>
                  <a:pt x="2836696" y="1258725"/>
                  <a:pt x="2854296" y="1239365"/>
                </a:cubicBezTo>
                <a:cubicBezTo>
                  <a:pt x="2862937" y="1229925"/>
                  <a:pt x="2872696" y="1221605"/>
                  <a:pt x="2881656" y="1212485"/>
                </a:cubicBezTo>
                <a:cubicBezTo>
                  <a:pt x="2890456" y="1203525"/>
                  <a:pt x="2897496" y="1192485"/>
                  <a:pt x="2905336" y="1182405"/>
                </a:cubicBezTo>
                <a:cubicBezTo>
                  <a:pt x="2922296" y="1160645"/>
                  <a:pt x="2940057" y="1139845"/>
                  <a:pt x="2955897" y="1117285"/>
                </a:cubicBezTo>
                <a:cubicBezTo>
                  <a:pt x="2981336" y="1081285"/>
                  <a:pt x="3001496" y="1042885"/>
                  <a:pt x="3022616" y="1004325"/>
                </a:cubicBezTo>
                <a:cubicBezTo>
                  <a:pt x="3029977" y="990885"/>
                  <a:pt x="3037017" y="977605"/>
                  <a:pt x="3043097" y="963685"/>
                </a:cubicBezTo>
                <a:cubicBezTo>
                  <a:pt x="3042776" y="969605"/>
                  <a:pt x="3042296" y="974885"/>
                  <a:pt x="3042137" y="978405"/>
                </a:cubicBezTo>
                <a:cubicBezTo>
                  <a:pt x="3041496" y="1006725"/>
                  <a:pt x="3036857" y="1034405"/>
                  <a:pt x="3028857" y="1061605"/>
                </a:cubicBezTo>
                <a:close/>
              </a:path>
            </a:pathLst>
          </a:custGeom>
          <a:solidFill>
            <a:schemeClr val="accent2"/>
          </a:solidFill>
          <a:ln w="16000"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CE68D8CE-7573-4E15-B043-BB5704DE0DD0}"/>
              </a:ext>
            </a:extLst>
          </p:cNvPr>
          <p:cNvSpPr/>
          <p:nvPr/>
        </p:nvSpPr>
        <p:spPr>
          <a:xfrm>
            <a:off x="2033697" y="4839734"/>
            <a:ext cx="1008862" cy="992562"/>
          </a:xfrm>
          <a:custGeom>
            <a:avLst/>
            <a:gdLst>
              <a:gd name="connsiteX0" fmla="*/ 1008063 w 1008862"/>
              <a:gd name="connsiteY0" fmla="*/ 242570 h 992562"/>
              <a:gd name="connsiteX1" fmla="*/ 1005823 w 1008862"/>
              <a:gd name="connsiteY1" fmla="*/ 240010 h 992562"/>
              <a:gd name="connsiteX2" fmla="*/ 1002143 w 1008862"/>
              <a:gd name="connsiteY2" fmla="*/ 240330 h 992562"/>
              <a:gd name="connsiteX3" fmla="*/ 992383 w 1008862"/>
              <a:gd name="connsiteY3" fmla="*/ 241450 h 992562"/>
              <a:gd name="connsiteX4" fmla="*/ 990783 w 1008862"/>
              <a:gd name="connsiteY4" fmla="*/ 241610 h 992562"/>
              <a:gd name="connsiteX5" fmla="*/ 975743 w 1008862"/>
              <a:gd name="connsiteY5" fmla="*/ 240810 h 992562"/>
              <a:gd name="connsiteX6" fmla="*/ 953343 w 1008862"/>
              <a:gd name="connsiteY6" fmla="*/ 240330 h 992562"/>
              <a:gd name="connsiteX7" fmla="*/ 930943 w 1008862"/>
              <a:gd name="connsiteY7" fmla="*/ 235530 h 992562"/>
              <a:gd name="connsiteX8" fmla="*/ 905023 w 1008862"/>
              <a:gd name="connsiteY8" fmla="*/ 230410 h 992562"/>
              <a:gd name="connsiteX9" fmla="*/ 855103 w 1008862"/>
              <a:gd name="connsiteY9" fmla="*/ 224970 h 992562"/>
              <a:gd name="connsiteX10" fmla="*/ 828543 w 1008862"/>
              <a:gd name="connsiteY10" fmla="*/ 226250 h 992562"/>
              <a:gd name="connsiteX11" fmla="*/ 828703 w 1008862"/>
              <a:gd name="connsiteY11" fmla="*/ 223690 h 992562"/>
              <a:gd name="connsiteX12" fmla="*/ 820863 w 1008862"/>
              <a:gd name="connsiteY12" fmla="*/ 161770 h 992562"/>
              <a:gd name="connsiteX13" fmla="*/ 818623 w 1008862"/>
              <a:gd name="connsiteY13" fmla="*/ 129770 h 992562"/>
              <a:gd name="connsiteX14" fmla="*/ 816863 w 1008862"/>
              <a:gd name="connsiteY14" fmla="*/ 113930 h 992562"/>
              <a:gd name="connsiteX15" fmla="*/ 815263 w 1008862"/>
              <a:gd name="connsiteY15" fmla="*/ 105930 h 992562"/>
              <a:gd name="connsiteX16" fmla="*/ 813183 w 1008862"/>
              <a:gd name="connsiteY16" fmla="*/ 102090 h 992562"/>
              <a:gd name="connsiteX17" fmla="*/ 810303 w 1008862"/>
              <a:gd name="connsiteY17" fmla="*/ 102250 h 992562"/>
              <a:gd name="connsiteX18" fmla="*/ 808543 w 1008862"/>
              <a:gd name="connsiteY18" fmla="*/ 102730 h 992562"/>
              <a:gd name="connsiteX19" fmla="*/ 808543 w 1008862"/>
              <a:gd name="connsiteY19" fmla="*/ 102730 h 992562"/>
              <a:gd name="connsiteX20" fmla="*/ 797823 w 1008862"/>
              <a:gd name="connsiteY20" fmla="*/ 105610 h 992562"/>
              <a:gd name="connsiteX21" fmla="*/ 790143 w 1008862"/>
              <a:gd name="connsiteY21" fmla="*/ 106890 h 992562"/>
              <a:gd name="connsiteX22" fmla="*/ 771903 w 1008862"/>
              <a:gd name="connsiteY22" fmla="*/ 112810 h 992562"/>
              <a:gd name="connsiteX23" fmla="*/ 727903 w 1008862"/>
              <a:gd name="connsiteY23" fmla="*/ 129290 h 992562"/>
              <a:gd name="connsiteX24" fmla="*/ 709183 w 1008862"/>
              <a:gd name="connsiteY24" fmla="*/ 138090 h 992562"/>
              <a:gd name="connsiteX25" fmla="*/ 688543 w 1008862"/>
              <a:gd name="connsiteY25" fmla="*/ 150890 h 992562"/>
              <a:gd name="connsiteX26" fmla="*/ 660063 w 1008862"/>
              <a:gd name="connsiteY26" fmla="*/ 169930 h 992562"/>
              <a:gd name="connsiteX27" fmla="*/ 647423 w 1008862"/>
              <a:gd name="connsiteY27" fmla="*/ 157770 h 992562"/>
              <a:gd name="connsiteX28" fmla="*/ 628223 w 1008862"/>
              <a:gd name="connsiteY28" fmla="*/ 143690 h 992562"/>
              <a:gd name="connsiteX29" fmla="*/ 611263 w 1008862"/>
              <a:gd name="connsiteY29" fmla="*/ 144330 h 992562"/>
              <a:gd name="connsiteX30" fmla="*/ 599423 w 1008862"/>
              <a:gd name="connsiteY30" fmla="*/ 150090 h 992562"/>
              <a:gd name="connsiteX31" fmla="*/ 589823 w 1008862"/>
              <a:gd name="connsiteY31" fmla="*/ 153450 h 992562"/>
              <a:gd name="connsiteX32" fmla="*/ 576703 w 1008862"/>
              <a:gd name="connsiteY32" fmla="*/ 125450 h 992562"/>
              <a:gd name="connsiteX33" fmla="*/ 562943 w 1008862"/>
              <a:gd name="connsiteY33" fmla="*/ 101930 h 992562"/>
              <a:gd name="connsiteX34" fmla="*/ 546783 w 1008862"/>
              <a:gd name="connsiteY34" fmla="*/ 77290 h 992562"/>
              <a:gd name="connsiteX35" fmla="*/ 507103 w 1008862"/>
              <a:gd name="connsiteY35" fmla="*/ 39850 h 992562"/>
              <a:gd name="connsiteX36" fmla="*/ 464223 w 1008862"/>
              <a:gd name="connsiteY36" fmla="*/ 10090 h 992562"/>
              <a:gd name="connsiteX37" fmla="*/ 449183 w 1008862"/>
              <a:gd name="connsiteY37" fmla="*/ 10 h 992562"/>
              <a:gd name="connsiteX38" fmla="*/ 436703 w 1008862"/>
              <a:gd name="connsiteY38" fmla="*/ 14890 h 992562"/>
              <a:gd name="connsiteX39" fmla="*/ 421823 w 1008862"/>
              <a:gd name="connsiteY39" fmla="*/ 31370 h 992562"/>
              <a:gd name="connsiteX40" fmla="*/ 402303 w 1008862"/>
              <a:gd name="connsiteY40" fmla="*/ 48170 h 992562"/>
              <a:gd name="connsiteX41" fmla="*/ 368063 w 1008862"/>
              <a:gd name="connsiteY41" fmla="*/ 85610 h 992562"/>
              <a:gd name="connsiteX42" fmla="*/ 332063 w 1008862"/>
              <a:gd name="connsiteY42" fmla="*/ 149130 h 992562"/>
              <a:gd name="connsiteX43" fmla="*/ 319103 w 1008862"/>
              <a:gd name="connsiteY43" fmla="*/ 185290 h 992562"/>
              <a:gd name="connsiteX44" fmla="*/ 317023 w 1008862"/>
              <a:gd name="connsiteY44" fmla="*/ 203050 h 992562"/>
              <a:gd name="connsiteX45" fmla="*/ 317663 w 1008862"/>
              <a:gd name="connsiteY45" fmla="*/ 209130 h 992562"/>
              <a:gd name="connsiteX46" fmla="*/ 316383 w 1008862"/>
              <a:gd name="connsiteY46" fmla="*/ 207370 h 992562"/>
              <a:gd name="connsiteX47" fmla="*/ 314943 w 1008862"/>
              <a:gd name="connsiteY47" fmla="*/ 205450 h 992562"/>
              <a:gd name="connsiteX48" fmla="*/ 308063 w 1008862"/>
              <a:gd name="connsiteY48" fmla="*/ 190090 h 992562"/>
              <a:gd name="connsiteX49" fmla="*/ 296223 w 1008862"/>
              <a:gd name="connsiteY49" fmla="*/ 166570 h 992562"/>
              <a:gd name="connsiteX50" fmla="*/ 283423 w 1008862"/>
              <a:gd name="connsiteY50" fmla="*/ 140970 h 992562"/>
              <a:gd name="connsiteX51" fmla="*/ 273183 w 1008862"/>
              <a:gd name="connsiteY51" fmla="*/ 118410 h 992562"/>
              <a:gd name="connsiteX52" fmla="*/ 237023 w 1008862"/>
              <a:gd name="connsiteY52" fmla="*/ 91690 h 992562"/>
              <a:gd name="connsiteX53" fmla="*/ 211103 w 1008862"/>
              <a:gd name="connsiteY53" fmla="*/ 87850 h 992562"/>
              <a:gd name="connsiteX54" fmla="*/ 209343 w 1008862"/>
              <a:gd name="connsiteY54" fmla="*/ 87850 h 992562"/>
              <a:gd name="connsiteX55" fmla="*/ 207583 w 1008862"/>
              <a:gd name="connsiteY55" fmla="*/ 89770 h 992562"/>
              <a:gd name="connsiteX56" fmla="*/ 207583 w 1008862"/>
              <a:gd name="connsiteY56" fmla="*/ 89770 h 992562"/>
              <a:gd name="connsiteX57" fmla="*/ 206143 w 1008862"/>
              <a:gd name="connsiteY57" fmla="*/ 91370 h 992562"/>
              <a:gd name="connsiteX58" fmla="*/ 205983 w 1008862"/>
              <a:gd name="connsiteY58" fmla="*/ 128170 h 992562"/>
              <a:gd name="connsiteX59" fmla="*/ 206303 w 1008862"/>
              <a:gd name="connsiteY59" fmla="*/ 167370 h 992562"/>
              <a:gd name="connsiteX60" fmla="*/ 206623 w 1008862"/>
              <a:gd name="connsiteY60" fmla="*/ 177130 h 992562"/>
              <a:gd name="connsiteX61" fmla="*/ 195903 w 1008862"/>
              <a:gd name="connsiteY61" fmla="*/ 172010 h 992562"/>
              <a:gd name="connsiteX62" fmla="*/ 167903 w 1008862"/>
              <a:gd name="connsiteY62" fmla="*/ 162410 h 992562"/>
              <a:gd name="connsiteX63" fmla="*/ 154463 w 1008862"/>
              <a:gd name="connsiteY63" fmla="*/ 161610 h 992562"/>
              <a:gd name="connsiteX64" fmla="*/ 141663 w 1008862"/>
              <a:gd name="connsiteY64" fmla="*/ 159210 h 992562"/>
              <a:gd name="connsiteX65" fmla="*/ 113663 w 1008862"/>
              <a:gd name="connsiteY65" fmla="*/ 156650 h 992562"/>
              <a:gd name="connsiteX66" fmla="*/ 82943 w 1008862"/>
              <a:gd name="connsiteY66" fmla="*/ 152810 h 992562"/>
              <a:gd name="connsiteX67" fmla="*/ 68063 w 1008862"/>
              <a:gd name="connsiteY67" fmla="*/ 152010 h 992562"/>
              <a:gd name="connsiteX68" fmla="*/ 49823 w 1008862"/>
              <a:gd name="connsiteY68" fmla="*/ 153290 h 992562"/>
              <a:gd name="connsiteX69" fmla="*/ 20543 w 1008862"/>
              <a:gd name="connsiteY69" fmla="*/ 153130 h 992562"/>
              <a:gd name="connsiteX70" fmla="*/ 15743 w 1008862"/>
              <a:gd name="connsiteY70" fmla="*/ 154090 h 992562"/>
              <a:gd name="connsiteX71" fmla="*/ 863 w 1008862"/>
              <a:gd name="connsiteY71" fmla="*/ 157610 h 992562"/>
              <a:gd name="connsiteX72" fmla="*/ 63 w 1008862"/>
              <a:gd name="connsiteY72" fmla="*/ 160170 h 992562"/>
              <a:gd name="connsiteX73" fmla="*/ 383 w 1008862"/>
              <a:gd name="connsiteY73" fmla="*/ 162410 h 992562"/>
              <a:gd name="connsiteX74" fmla="*/ 223 w 1008862"/>
              <a:gd name="connsiteY74" fmla="*/ 164010 h 992562"/>
              <a:gd name="connsiteX75" fmla="*/ 1183 w 1008862"/>
              <a:gd name="connsiteY75" fmla="*/ 180010 h 992562"/>
              <a:gd name="connsiteX76" fmla="*/ 7423 w 1008862"/>
              <a:gd name="connsiteY76" fmla="*/ 210570 h 992562"/>
              <a:gd name="connsiteX77" fmla="*/ 17663 w 1008862"/>
              <a:gd name="connsiteY77" fmla="*/ 237130 h 992562"/>
              <a:gd name="connsiteX78" fmla="*/ 18463 w 1008862"/>
              <a:gd name="connsiteY78" fmla="*/ 238570 h 992562"/>
              <a:gd name="connsiteX79" fmla="*/ 29503 w 1008862"/>
              <a:gd name="connsiteY79" fmla="*/ 267690 h 992562"/>
              <a:gd name="connsiteX80" fmla="*/ 37503 w 1008862"/>
              <a:gd name="connsiteY80" fmla="*/ 283690 h 992562"/>
              <a:gd name="connsiteX81" fmla="*/ 44703 w 1008862"/>
              <a:gd name="connsiteY81" fmla="*/ 299530 h 992562"/>
              <a:gd name="connsiteX82" fmla="*/ 53503 w 1008862"/>
              <a:gd name="connsiteY82" fmla="*/ 313290 h 992562"/>
              <a:gd name="connsiteX83" fmla="*/ 62463 w 1008862"/>
              <a:gd name="connsiteY83" fmla="*/ 330250 h 992562"/>
              <a:gd name="connsiteX84" fmla="*/ 62623 w 1008862"/>
              <a:gd name="connsiteY84" fmla="*/ 330410 h 992562"/>
              <a:gd name="connsiteX85" fmla="*/ 85183 w 1008862"/>
              <a:gd name="connsiteY85" fmla="*/ 367530 h 992562"/>
              <a:gd name="connsiteX86" fmla="*/ 102303 w 1008862"/>
              <a:gd name="connsiteY86" fmla="*/ 388490 h 992562"/>
              <a:gd name="connsiteX87" fmla="*/ 114943 w 1008862"/>
              <a:gd name="connsiteY87" fmla="*/ 403050 h 992562"/>
              <a:gd name="connsiteX88" fmla="*/ 95423 w 1008862"/>
              <a:gd name="connsiteY88" fmla="*/ 400170 h 992562"/>
              <a:gd name="connsiteX89" fmla="*/ 75903 w 1008862"/>
              <a:gd name="connsiteY89" fmla="*/ 400970 h 992562"/>
              <a:gd name="connsiteX90" fmla="*/ 67263 w 1008862"/>
              <a:gd name="connsiteY90" fmla="*/ 403370 h 992562"/>
              <a:gd name="connsiteX91" fmla="*/ 56223 w 1008862"/>
              <a:gd name="connsiteY91" fmla="*/ 405130 h 992562"/>
              <a:gd name="connsiteX92" fmla="*/ 39583 w 1008862"/>
              <a:gd name="connsiteY92" fmla="*/ 414410 h 992562"/>
              <a:gd name="connsiteX93" fmla="*/ 32703 w 1008862"/>
              <a:gd name="connsiteY93" fmla="*/ 419530 h 992562"/>
              <a:gd name="connsiteX94" fmla="*/ 26463 w 1008862"/>
              <a:gd name="connsiteY94" fmla="*/ 424330 h 992562"/>
              <a:gd name="connsiteX95" fmla="*/ 21183 w 1008862"/>
              <a:gd name="connsiteY95" fmla="*/ 430570 h 992562"/>
              <a:gd name="connsiteX96" fmla="*/ 20543 w 1008862"/>
              <a:gd name="connsiteY96" fmla="*/ 431850 h 992562"/>
              <a:gd name="connsiteX97" fmla="*/ 20863 w 1008862"/>
              <a:gd name="connsiteY97" fmla="*/ 437450 h 992562"/>
              <a:gd name="connsiteX98" fmla="*/ 24543 w 1008862"/>
              <a:gd name="connsiteY98" fmla="*/ 439690 h 992562"/>
              <a:gd name="connsiteX99" fmla="*/ 28383 w 1008862"/>
              <a:gd name="connsiteY99" fmla="*/ 443050 h 992562"/>
              <a:gd name="connsiteX100" fmla="*/ 29663 w 1008862"/>
              <a:gd name="connsiteY100" fmla="*/ 443850 h 992562"/>
              <a:gd name="connsiteX101" fmla="*/ 38143 w 1008862"/>
              <a:gd name="connsiteY101" fmla="*/ 451850 h 992562"/>
              <a:gd name="connsiteX102" fmla="*/ 46303 w 1008862"/>
              <a:gd name="connsiteY102" fmla="*/ 461450 h 992562"/>
              <a:gd name="connsiteX103" fmla="*/ 54463 w 1008862"/>
              <a:gd name="connsiteY103" fmla="*/ 474090 h 992562"/>
              <a:gd name="connsiteX104" fmla="*/ 69343 w 1008862"/>
              <a:gd name="connsiteY104" fmla="*/ 496330 h 992562"/>
              <a:gd name="connsiteX105" fmla="*/ 82623 w 1008862"/>
              <a:gd name="connsiteY105" fmla="*/ 520490 h 992562"/>
              <a:gd name="connsiteX106" fmla="*/ 94783 w 1008862"/>
              <a:gd name="connsiteY106" fmla="*/ 543370 h 992562"/>
              <a:gd name="connsiteX107" fmla="*/ 122463 w 1008862"/>
              <a:gd name="connsiteY107" fmla="*/ 587850 h 992562"/>
              <a:gd name="connsiteX108" fmla="*/ 155423 w 1008862"/>
              <a:gd name="connsiteY108" fmla="*/ 618890 h 992562"/>
              <a:gd name="connsiteX109" fmla="*/ 203103 w 1008862"/>
              <a:gd name="connsiteY109" fmla="*/ 636170 h 992562"/>
              <a:gd name="connsiteX110" fmla="*/ 256543 w 1008862"/>
              <a:gd name="connsiteY110" fmla="*/ 640170 h 992562"/>
              <a:gd name="connsiteX111" fmla="*/ 282623 w 1008862"/>
              <a:gd name="connsiteY111" fmla="*/ 638890 h 992562"/>
              <a:gd name="connsiteX112" fmla="*/ 310623 w 1008862"/>
              <a:gd name="connsiteY112" fmla="*/ 634730 h 992562"/>
              <a:gd name="connsiteX113" fmla="*/ 322623 w 1008862"/>
              <a:gd name="connsiteY113" fmla="*/ 631850 h 992562"/>
              <a:gd name="connsiteX114" fmla="*/ 334463 w 1008862"/>
              <a:gd name="connsiteY114" fmla="*/ 628330 h 992562"/>
              <a:gd name="connsiteX115" fmla="*/ 344703 w 1008862"/>
              <a:gd name="connsiteY115" fmla="*/ 625610 h 992562"/>
              <a:gd name="connsiteX116" fmla="*/ 358303 w 1008862"/>
              <a:gd name="connsiteY116" fmla="*/ 623210 h 992562"/>
              <a:gd name="connsiteX117" fmla="*/ 368863 w 1008862"/>
              <a:gd name="connsiteY117" fmla="*/ 620170 h 992562"/>
              <a:gd name="connsiteX118" fmla="*/ 379423 w 1008862"/>
              <a:gd name="connsiteY118" fmla="*/ 616970 h 992562"/>
              <a:gd name="connsiteX119" fmla="*/ 390623 w 1008862"/>
              <a:gd name="connsiteY119" fmla="*/ 612010 h 992562"/>
              <a:gd name="connsiteX120" fmla="*/ 396223 w 1008862"/>
              <a:gd name="connsiteY120" fmla="*/ 609610 h 992562"/>
              <a:gd name="connsiteX121" fmla="*/ 400863 w 1008862"/>
              <a:gd name="connsiteY121" fmla="*/ 606410 h 992562"/>
              <a:gd name="connsiteX122" fmla="*/ 402783 w 1008862"/>
              <a:gd name="connsiteY122" fmla="*/ 604810 h 992562"/>
              <a:gd name="connsiteX123" fmla="*/ 407263 w 1008862"/>
              <a:gd name="connsiteY123" fmla="*/ 604810 h 992562"/>
              <a:gd name="connsiteX124" fmla="*/ 409823 w 1008862"/>
              <a:gd name="connsiteY124" fmla="*/ 604650 h 992562"/>
              <a:gd name="connsiteX125" fmla="*/ 417343 w 1008862"/>
              <a:gd name="connsiteY125" fmla="*/ 614890 h 992562"/>
              <a:gd name="connsiteX126" fmla="*/ 421343 w 1008862"/>
              <a:gd name="connsiteY126" fmla="*/ 628170 h 992562"/>
              <a:gd name="connsiteX127" fmla="*/ 422623 w 1008862"/>
              <a:gd name="connsiteY127" fmla="*/ 640810 h 992562"/>
              <a:gd name="connsiteX128" fmla="*/ 428383 w 1008862"/>
              <a:gd name="connsiteY128" fmla="*/ 663530 h 992562"/>
              <a:gd name="connsiteX129" fmla="*/ 440063 w 1008862"/>
              <a:gd name="connsiteY129" fmla="*/ 685610 h 992562"/>
              <a:gd name="connsiteX130" fmla="*/ 446143 w 1008862"/>
              <a:gd name="connsiteY130" fmla="*/ 696010 h 992562"/>
              <a:gd name="connsiteX131" fmla="*/ 445343 w 1008862"/>
              <a:gd name="connsiteY131" fmla="*/ 712810 h 992562"/>
              <a:gd name="connsiteX132" fmla="*/ 442943 w 1008862"/>
              <a:gd name="connsiteY132" fmla="*/ 735370 h 992562"/>
              <a:gd name="connsiteX133" fmla="*/ 432383 w 1008862"/>
              <a:gd name="connsiteY133" fmla="*/ 812170 h 992562"/>
              <a:gd name="connsiteX134" fmla="*/ 419263 w 1008862"/>
              <a:gd name="connsiteY134" fmla="*/ 965450 h 992562"/>
              <a:gd name="connsiteX135" fmla="*/ 419263 w 1008862"/>
              <a:gd name="connsiteY135" fmla="*/ 965450 h 992562"/>
              <a:gd name="connsiteX136" fmla="*/ 419743 w 1008862"/>
              <a:gd name="connsiteY136" fmla="*/ 976490 h 992562"/>
              <a:gd name="connsiteX137" fmla="*/ 419743 w 1008862"/>
              <a:gd name="connsiteY137" fmla="*/ 987370 h 992562"/>
              <a:gd name="connsiteX138" fmla="*/ 423423 w 1008862"/>
              <a:gd name="connsiteY138" fmla="*/ 990250 h 992562"/>
              <a:gd name="connsiteX139" fmla="*/ 423903 w 1008862"/>
              <a:gd name="connsiteY139" fmla="*/ 991050 h 992562"/>
              <a:gd name="connsiteX140" fmla="*/ 423903 w 1008862"/>
              <a:gd name="connsiteY140" fmla="*/ 990410 h 992562"/>
              <a:gd name="connsiteX141" fmla="*/ 426943 w 1008862"/>
              <a:gd name="connsiteY141" fmla="*/ 988490 h 992562"/>
              <a:gd name="connsiteX142" fmla="*/ 427423 w 1008862"/>
              <a:gd name="connsiteY142" fmla="*/ 987210 h 992562"/>
              <a:gd name="connsiteX143" fmla="*/ 432063 w 1008862"/>
              <a:gd name="connsiteY143" fmla="*/ 960170 h 992562"/>
              <a:gd name="connsiteX144" fmla="*/ 432383 w 1008862"/>
              <a:gd name="connsiteY144" fmla="*/ 951050 h 992562"/>
              <a:gd name="connsiteX145" fmla="*/ 432383 w 1008862"/>
              <a:gd name="connsiteY145" fmla="*/ 950250 h 992562"/>
              <a:gd name="connsiteX146" fmla="*/ 432703 w 1008862"/>
              <a:gd name="connsiteY146" fmla="*/ 948650 h 992562"/>
              <a:gd name="connsiteX147" fmla="*/ 440383 w 1008862"/>
              <a:gd name="connsiteY147" fmla="*/ 838410 h 992562"/>
              <a:gd name="connsiteX148" fmla="*/ 443263 w 1008862"/>
              <a:gd name="connsiteY148" fmla="*/ 814570 h 992562"/>
              <a:gd name="connsiteX149" fmla="*/ 453183 w 1008862"/>
              <a:gd name="connsiteY149" fmla="*/ 735370 h 992562"/>
              <a:gd name="connsiteX150" fmla="*/ 453663 w 1008862"/>
              <a:gd name="connsiteY150" fmla="*/ 706890 h 992562"/>
              <a:gd name="connsiteX151" fmla="*/ 467263 w 1008862"/>
              <a:gd name="connsiteY151" fmla="*/ 721130 h 992562"/>
              <a:gd name="connsiteX152" fmla="*/ 466623 w 1008862"/>
              <a:gd name="connsiteY152" fmla="*/ 723690 h 992562"/>
              <a:gd name="connsiteX153" fmla="*/ 465343 w 1008862"/>
              <a:gd name="connsiteY153" fmla="*/ 729290 h 992562"/>
              <a:gd name="connsiteX154" fmla="*/ 462783 w 1008862"/>
              <a:gd name="connsiteY154" fmla="*/ 741290 h 992562"/>
              <a:gd name="connsiteX155" fmla="*/ 451903 w 1008862"/>
              <a:gd name="connsiteY155" fmla="*/ 809450 h 992562"/>
              <a:gd name="connsiteX156" fmla="*/ 449503 w 1008862"/>
              <a:gd name="connsiteY156" fmla="*/ 843850 h 992562"/>
              <a:gd name="connsiteX157" fmla="*/ 442783 w 1008862"/>
              <a:gd name="connsiteY157" fmla="*/ 943210 h 992562"/>
              <a:gd name="connsiteX158" fmla="*/ 441823 w 1008862"/>
              <a:gd name="connsiteY158" fmla="*/ 960010 h 992562"/>
              <a:gd name="connsiteX159" fmla="*/ 441823 w 1008862"/>
              <a:gd name="connsiteY159" fmla="*/ 960970 h 992562"/>
              <a:gd name="connsiteX160" fmla="*/ 441823 w 1008862"/>
              <a:gd name="connsiteY160" fmla="*/ 961290 h 992562"/>
              <a:gd name="connsiteX161" fmla="*/ 441023 w 1008862"/>
              <a:gd name="connsiteY161" fmla="*/ 970570 h 992562"/>
              <a:gd name="connsiteX162" fmla="*/ 440223 w 1008862"/>
              <a:gd name="connsiteY162" fmla="*/ 980330 h 992562"/>
              <a:gd name="connsiteX163" fmla="*/ 440383 w 1008862"/>
              <a:gd name="connsiteY163" fmla="*/ 984970 h 992562"/>
              <a:gd name="connsiteX164" fmla="*/ 439743 w 1008862"/>
              <a:gd name="connsiteY164" fmla="*/ 990090 h 992562"/>
              <a:gd name="connsiteX165" fmla="*/ 444383 w 1008862"/>
              <a:gd name="connsiteY165" fmla="*/ 991690 h 992562"/>
              <a:gd name="connsiteX166" fmla="*/ 447423 w 1008862"/>
              <a:gd name="connsiteY166" fmla="*/ 987690 h 992562"/>
              <a:gd name="connsiteX167" fmla="*/ 450463 w 1008862"/>
              <a:gd name="connsiteY167" fmla="*/ 983530 h 992562"/>
              <a:gd name="connsiteX168" fmla="*/ 451423 w 1008862"/>
              <a:gd name="connsiteY168" fmla="*/ 970890 h 992562"/>
              <a:gd name="connsiteX169" fmla="*/ 461023 w 1008862"/>
              <a:gd name="connsiteY169" fmla="*/ 840330 h 992562"/>
              <a:gd name="connsiteX170" fmla="*/ 465183 w 1008862"/>
              <a:gd name="connsiteY170" fmla="*/ 796170 h 992562"/>
              <a:gd name="connsiteX171" fmla="*/ 473823 w 1008862"/>
              <a:gd name="connsiteY171" fmla="*/ 742090 h 992562"/>
              <a:gd name="connsiteX172" fmla="*/ 475583 w 1008862"/>
              <a:gd name="connsiteY172" fmla="*/ 733450 h 992562"/>
              <a:gd name="connsiteX173" fmla="*/ 476223 w 1008862"/>
              <a:gd name="connsiteY173" fmla="*/ 730410 h 992562"/>
              <a:gd name="connsiteX174" fmla="*/ 476383 w 1008862"/>
              <a:gd name="connsiteY174" fmla="*/ 728970 h 992562"/>
              <a:gd name="connsiteX175" fmla="*/ 476383 w 1008862"/>
              <a:gd name="connsiteY175" fmla="*/ 728490 h 992562"/>
              <a:gd name="connsiteX176" fmla="*/ 476543 w 1008862"/>
              <a:gd name="connsiteY176" fmla="*/ 728170 h 992562"/>
              <a:gd name="connsiteX177" fmla="*/ 509023 w 1008862"/>
              <a:gd name="connsiteY177" fmla="*/ 741290 h 992562"/>
              <a:gd name="connsiteX178" fmla="*/ 531423 w 1008862"/>
              <a:gd name="connsiteY178" fmla="*/ 746890 h 992562"/>
              <a:gd name="connsiteX179" fmla="*/ 556863 w 1008862"/>
              <a:gd name="connsiteY179" fmla="*/ 750730 h 992562"/>
              <a:gd name="connsiteX180" fmla="*/ 582463 w 1008862"/>
              <a:gd name="connsiteY180" fmla="*/ 750570 h 992562"/>
              <a:gd name="connsiteX181" fmla="*/ 607423 w 1008862"/>
              <a:gd name="connsiteY181" fmla="*/ 744810 h 992562"/>
              <a:gd name="connsiteX182" fmla="*/ 621823 w 1008862"/>
              <a:gd name="connsiteY182" fmla="*/ 720170 h 992562"/>
              <a:gd name="connsiteX183" fmla="*/ 619263 w 1008862"/>
              <a:gd name="connsiteY183" fmla="*/ 695850 h 992562"/>
              <a:gd name="connsiteX184" fmla="*/ 619423 w 1008862"/>
              <a:gd name="connsiteY184" fmla="*/ 687050 h 992562"/>
              <a:gd name="connsiteX185" fmla="*/ 619583 w 1008862"/>
              <a:gd name="connsiteY185" fmla="*/ 683050 h 992562"/>
              <a:gd name="connsiteX186" fmla="*/ 615423 w 1008862"/>
              <a:gd name="connsiteY186" fmla="*/ 678410 h 992562"/>
              <a:gd name="connsiteX187" fmla="*/ 602143 w 1008862"/>
              <a:gd name="connsiteY187" fmla="*/ 673610 h 992562"/>
              <a:gd name="connsiteX188" fmla="*/ 586623 w 1008862"/>
              <a:gd name="connsiteY188" fmla="*/ 668010 h 992562"/>
              <a:gd name="connsiteX189" fmla="*/ 569663 w 1008862"/>
              <a:gd name="connsiteY189" fmla="*/ 658890 h 992562"/>
              <a:gd name="connsiteX190" fmla="*/ 560703 w 1008862"/>
              <a:gd name="connsiteY190" fmla="*/ 650090 h 992562"/>
              <a:gd name="connsiteX191" fmla="*/ 549823 w 1008862"/>
              <a:gd name="connsiteY191" fmla="*/ 638570 h 992562"/>
              <a:gd name="connsiteX192" fmla="*/ 571263 w 1008862"/>
              <a:gd name="connsiteY192" fmla="*/ 646410 h 992562"/>
              <a:gd name="connsiteX193" fmla="*/ 594943 w 1008862"/>
              <a:gd name="connsiteY193" fmla="*/ 651050 h 992562"/>
              <a:gd name="connsiteX194" fmla="*/ 621663 w 1008862"/>
              <a:gd name="connsiteY194" fmla="*/ 653130 h 992562"/>
              <a:gd name="connsiteX195" fmla="*/ 639103 w 1008862"/>
              <a:gd name="connsiteY195" fmla="*/ 654570 h 992562"/>
              <a:gd name="connsiteX196" fmla="*/ 641503 w 1008862"/>
              <a:gd name="connsiteY196" fmla="*/ 655530 h 992562"/>
              <a:gd name="connsiteX197" fmla="*/ 653663 w 1008862"/>
              <a:gd name="connsiteY197" fmla="*/ 660170 h 992562"/>
              <a:gd name="connsiteX198" fmla="*/ 676703 w 1008862"/>
              <a:gd name="connsiteY198" fmla="*/ 673130 h 992562"/>
              <a:gd name="connsiteX199" fmla="*/ 701343 w 1008862"/>
              <a:gd name="connsiteY199" fmla="*/ 684490 h 992562"/>
              <a:gd name="connsiteX200" fmla="*/ 725983 w 1008862"/>
              <a:gd name="connsiteY200" fmla="*/ 691690 h 992562"/>
              <a:gd name="connsiteX201" fmla="*/ 738463 w 1008862"/>
              <a:gd name="connsiteY201" fmla="*/ 693450 h 992562"/>
              <a:gd name="connsiteX202" fmla="*/ 750783 w 1008862"/>
              <a:gd name="connsiteY202" fmla="*/ 694570 h 992562"/>
              <a:gd name="connsiteX203" fmla="*/ 774143 w 1008862"/>
              <a:gd name="connsiteY203" fmla="*/ 694730 h 992562"/>
              <a:gd name="connsiteX204" fmla="*/ 797663 w 1008862"/>
              <a:gd name="connsiteY204" fmla="*/ 693610 h 992562"/>
              <a:gd name="connsiteX205" fmla="*/ 808383 w 1008862"/>
              <a:gd name="connsiteY205" fmla="*/ 691850 h 992562"/>
              <a:gd name="connsiteX206" fmla="*/ 823423 w 1008862"/>
              <a:gd name="connsiteY206" fmla="*/ 689290 h 992562"/>
              <a:gd name="connsiteX207" fmla="*/ 872863 w 1008862"/>
              <a:gd name="connsiteY207" fmla="*/ 672650 h 992562"/>
              <a:gd name="connsiteX208" fmla="*/ 898303 w 1008862"/>
              <a:gd name="connsiteY208" fmla="*/ 664170 h 992562"/>
              <a:gd name="connsiteX209" fmla="*/ 924063 w 1008862"/>
              <a:gd name="connsiteY209" fmla="*/ 658090 h 992562"/>
              <a:gd name="connsiteX210" fmla="*/ 965343 w 1008862"/>
              <a:gd name="connsiteY210" fmla="*/ 638730 h 992562"/>
              <a:gd name="connsiteX211" fmla="*/ 978943 w 1008862"/>
              <a:gd name="connsiteY211" fmla="*/ 622730 h 992562"/>
              <a:gd name="connsiteX212" fmla="*/ 980543 w 1008862"/>
              <a:gd name="connsiteY212" fmla="*/ 620650 h 992562"/>
              <a:gd name="connsiteX213" fmla="*/ 985183 w 1008862"/>
              <a:gd name="connsiteY213" fmla="*/ 615530 h 992562"/>
              <a:gd name="connsiteX214" fmla="*/ 995583 w 1008862"/>
              <a:gd name="connsiteY214" fmla="*/ 608490 h 992562"/>
              <a:gd name="connsiteX215" fmla="*/ 1001823 w 1008862"/>
              <a:gd name="connsiteY215" fmla="*/ 604810 h 992562"/>
              <a:gd name="connsiteX216" fmla="*/ 1004543 w 1008862"/>
              <a:gd name="connsiteY216" fmla="*/ 602890 h 992562"/>
              <a:gd name="connsiteX217" fmla="*/ 997503 w 1008862"/>
              <a:gd name="connsiteY217" fmla="*/ 599370 h 992562"/>
              <a:gd name="connsiteX218" fmla="*/ 989823 w 1008862"/>
              <a:gd name="connsiteY218" fmla="*/ 593290 h 992562"/>
              <a:gd name="connsiteX219" fmla="*/ 975263 w 1008862"/>
              <a:gd name="connsiteY219" fmla="*/ 578890 h 992562"/>
              <a:gd name="connsiteX220" fmla="*/ 945023 w 1008862"/>
              <a:gd name="connsiteY220" fmla="*/ 547370 h 992562"/>
              <a:gd name="connsiteX221" fmla="*/ 929183 w 1008862"/>
              <a:gd name="connsiteY221" fmla="*/ 532650 h 992562"/>
              <a:gd name="connsiteX222" fmla="*/ 914943 w 1008862"/>
              <a:gd name="connsiteY222" fmla="*/ 521130 h 992562"/>
              <a:gd name="connsiteX223" fmla="*/ 896063 w 1008862"/>
              <a:gd name="connsiteY223" fmla="*/ 510890 h 992562"/>
              <a:gd name="connsiteX224" fmla="*/ 901503 w 1008862"/>
              <a:gd name="connsiteY224" fmla="*/ 504010 h 992562"/>
              <a:gd name="connsiteX225" fmla="*/ 907263 w 1008862"/>
              <a:gd name="connsiteY225" fmla="*/ 494410 h 992562"/>
              <a:gd name="connsiteX226" fmla="*/ 910783 w 1008862"/>
              <a:gd name="connsiteY226" fmla="*/ 486570 h 992562"/>
              <a:gd name="connsiteX227" fmla="*/ 910623 w 1008862"/>
              <a:gd name="connsiteY227" fmla="*/ 484170 h 992562"/>
              <a:gd name="connsiteX228" fmla="*/ 896543 w 1008862"/>
              <a:gd name="connsiteY228" fmla="*/ 482090 h 992562"/>
              <a:gd name="connsiteX229" fmla="*/ 886943 w 1008862"/>
              <a:gd name="connsiteY229" fmla="*/ 478570 h 992562"/>
              <a:gd name="connsiteX230" fmla="*/ 881823 w 1008862"/>
              <a:gd name="connsiteY230" fmla="*/ 477450 h 992562"/>
              <a:gd name="connsiteX231" fmla="*/ 881183 w 1008862"/>
              <a:gd name="connsiteY231" fmla="*/ 477130 h 992562"/>
              <a:gd name="connsiteX232" fmla="*/ 904543 w 1008862"/>
              <a:gd name="connsiteY232" fmla="*/ 467850 h 992562"/>
              <a:gd name="connsiteX233" fmla="*/ 917823 w 1008862"/>
              <a:gd name="connsiteY233" fmla="*/ 454890 h 992562"/>
              <a:gd name="connsiteX234" fmla="*/ 934303 w 1008862"/>
              <a:gd name="connsiteY234" fmla="*/ 439050 h 992562"/>
              <a:gd name="connsiteX235" fmla="*/ 946783 w 1008862"/>
              <a:gd name="connsiteY235" fmla="*/ 422570 h 992562"/>
              <a:gd name="connsiteX236" fmla="*/ 954143 w 1008862"/>
              <a:gd name="connsiteY236" fmla="*/ 407850 h 992562"/>
              <a:gd name="connsiteX237" fmla="*/ 945503 w 1008862"/>
              <a:gd name="connsiteY237" fmla="*/ 397130 h 992562"/>
              <a:gd name="connsiteX238" fmla="*/ 923583 w 1008862"/>
              <a:gd name="connsiteY238" fmla="*/ 387370 h 992562"/>
              <a:gd name="connsiteX239" fmla="*/ 907743 w 1008862"/>
              <a:gd name="connsiteY239" fmla="*/ 380330 h 992562"/>
              <a:gd name="connsiteX240" fmla="*/ 919743 w 1008862"/>
              <a:gd name="connsiteY240" fmla="*/ 379050 h 992562"/>
              <a:gd name="connsiteX241" fmla="*/ 939263 w 1008862"/>
              <a:gd name="connsiteY241" fmla="*/ 368650 h 992562"/>
              <a:gd name="connsiteX242" fmla="*/ 958143 w 1008862"/>
              <a:gd name="connsiteY242" fmla="*/ 352810 h 992562"/>
              <a:gd name="connsiteX243" fmla="*/ 975583 w 1008862"/>
              <a:gd name="connsiteY243" fmla="*/ 331370 h 992562"/>
              <a:gd name="connsiteX244" fmla="*/ 1001183 w 1008862"/>
              <a:gd name="connsiteY244" fmla="*/ 284970 h 992562"/>
              <a:gd name="connsiteX245" fmla="*/ 1006783 w 1008862"/>
              <a:gd name="connsiteY245" fmla="*/ 261930 h 992562"/>
              <a:gd name="connsiteX246" fmla="*/ 1007263 w 1008862"/>
              <a:gd name="connsiteY246" fmla="*/ 251210 h 992562"/>
              <a:gd name="connsiteX247" fmla="*/ 1008863 w 1008862"/>
              <a:gd name="connsiteY247" fmla="*/ 244330 h 992562"/>
              <a:gd name="connsiteX248" fmla="*/ 1008863 w 1008862"/>
              <a:gd name="connsiteY248" fmla="*/ 244330 h 992562"/>
              <a:gd name="connsiteX249" fmla="*/ 1008063 w 1008862"/>
              <a:gd name="connsiteY249" fmla="*/ 242570 h 992562"/>
              <a:gd name="connsiteX250" fmla="*/ 964703 w 1008862"/>
              <a:gd name="connsiteY250" fmla="*/ 251530 h 992562"/>
              <a:gd name="connsiteX251" fmla="*/ 973983 w 1008862"/>
              <a:gd name="connsiteY251" fmla="*/ 251210 h 992562"/>
              <a:gd name="connsiteX252" fmla="*/ 985343 w 1008862"/>
              <a:gd name="connsiteY252" fmla="*/ 250730 h 992562"/>
              <a:gd name="connsiteX253" fmla="*/ 988543 w 1008862"/>
              <a:gd name="connsiteY253" fmla="*/ 250890 h 992562"/>
              <a:gd name="connsiteX254" fmla="*/ 986143 w 1008862"/>
              <a:gd name="connsiteY254" fmla="*/ 252810 h 992562"/>
              <a:gd name="connsiteX255" fmla="*/ 978463 w 1008862"/>
              <a:gd name="connsiteY255" fmla="*/ 261290 h 992562"/>
              <a:gd name="connsiteX256" fmla="*/ 958943 w 1008862"/>
              <a:gd name="connsiteY256" fmla="*/ 279690 h 992562"/>
              <a:gd name="connsiteX257" fmla="*/ 912703 w 1008862"/>
              <a:gd name="connsiteY257" fmla="*/ 308330 h 992562"/>
              <a:gd name="connsiteX258" fmla="*/ 888543 w 1008862"/>
              <a:gd name="connsiteY258" fmla="*/ 320810 h 992562"/>
              <a:gd name="connsiteX259" fmla="*/ 865663 w 1008862"/>
              <a:gd name="connsiteY259" fmla="*/ 335370 h 992562"/>
              <a:gd name="connsiteX260" fmla="*/ 843263 w 1008862"/>
              <a:gd name="connsiteY260" fmla="*/ 348810 h 992562"/>
              <a:gd name="connsiteX261" fmla="*/ 829983 w 1008862"/>
              <a:gd name="connsiteY261" fmla="*/ 359370 h 992562"/>
              <a:gd name="connsiteX262" fmla="*/ 815903 w 1008862"/>
              <a:gd name="connsiteY262" fmla="*/ 357770 h 992562"/>
              <a:gd name="connsiteX263" fmla="*/ 793823 w 1008862"/>
              <a:gd name="connsiteY263" fmla="*/ 360010 h 992562"/>
              <a:gd name="connsiteX264" fmla="*/ 770943 w 1008862"/>
              <a:gd name="connsiteY264" fmla="*/ 366410 h 992562"/>
              <a:gd name="connsiteX265" fmla="*/ 770623 w 1008862"/>
              <a:gd name="connsiteY265" fmla="*/ 364010 h 992562"/>
              <a:gd name="connsiteX266" fmla="*/ 778463 w 1008862"/>
              <a:gd name="connsiteY266" fmla="*/ 357130 h 992562"/>
              <a:gd name="connsiteX267" fmla="*/ 793823 w 1008862"/>
              <a:gd name="connsiteY267" fmla="*/ 342250 h 992562"/>
              <a:gd name="connsiteX268" fmla="*/ 820063 w 1008862"/>
              <a:gd name="connsiteY268" fmla="*/ 326890 h 992562"/>
              <a:gd name="connsiteX269" fmla="*/ 842303 w 1008862"/>
              <a:gd name="connsiteY269" fmla="*/ 309450 h 992562"/>
              <a:gd name="connsiteX270" fmla="*/ 853823 w 1008862"/>
              <a:gd name="connsiteY270" fmla="*/ 304010 h 992562"/>
              <a:gd name="connsiteX271" fmla="*/ 865503 w 1008862"/>
              <a:gd name="connsiteY271" fmla="*/ 297130 h 992562"/>
              <a:gd name="connsiteX272" fmla="*/ 919743 w 1008862"/>
              <a:gd name="connsiteY272" fmla="*/ 268650 h 992562"/>
              <a:gd name="connsiteX273" fmla="*/ 946943 w 1008862"/>
              <a:gd name="connsiteY273" fmla="*/ 256970 h 992562"/>
              <a:gd name="connsiteX274" fmla="*/ 964703 w 1008862"/>
              <a:gd name="connsiteY274" fmla="*/ 251530 h 992562"/>
              <a:gd name="connsiteX275" fmla="*/ 487743 w 1008862"/>
              <a:gd name="connsiteY275" fmla="*/ 578090 h 992562"/>
              <a:gd name="connsiteX276" fmla="*/ 487903 w 1008862"/>
              <a:gd name="connsiteY276" fmla="*/ 583210 h 992562"/>
              <a:gd name="connsiteX277" fmla="*/ 489663 w 1008862"/>
              <a:gd name="connsiteY277" fmla="*/ 590410 h 992562"/>
              <a:gd name="connsiteX278" fmla="*/ 484543 w 1008862"/>
              <a:gd name="connsiteY278" fmla="*/ 588330 h 992562"/>
              <a:gd name="connsiteX279" fmla="*/ 481983 w 1008862"/>
              <a:gd name="connsiteY279" fmla="*/ 586570 h 992562"/>
              <a:gd name="connsiteX280" fmla="*/ 480543 w 1008862"/>
              <a:gd name="connsiteY280" fmla="*/ 584970 h 992562"/>
              <a:gd name="connsiteX281" fmla="*/ 470463 w 1008862"/>
              <a:gd name="connsiteY281" fmla="*/ 563050 h 992562"/>
              <a:gd name="connsiteX282" fmla="*/ 475423 w 1008862"/>
              <a:gd name="connsiteY282" fmla="*/ 532330 h 992562"/>
              <a:gd name="connsiteX283" fmla="*/ 491423 w 1008862"/>
              <a:gd name="connsiteY283" fmla="*/ 482090 h 992562"/>
              <a:gd name="connsiteX284" fmla="*/ 524863 w 1008862"/>
              <a:gd name="connsiteY284" fmla="*/ 443370 h 992562"/>
              <a:gd name="connsiteX285" fmla="*/ 536863 w 1008862"/>
              <a:gd name="connsiteY285" fmla="*/ 432490 h 992562"/>
              <a:gd name="connsiteX286" fmla="*/ 525183 w 1008862"/>
              <a:gd name="connsiteY286" fmla="*/ 448650 h 992562"/>
              <a:gd name="connsiteX287" fmla="*/ 504703 w 1008862"/>
              <a:gd name="connsiteY287" fmla="*/ 491050 h 992562"/>
              <a:gd name="connsiteX288" fmla="*/ 492223 w 1008862"/>
              <a:gd name="connsiteY288" fmla="*/ 534410 h 992562"/>
              <a:gd name="connsiteX289" fmla="*/ 487103 w 1008862"/>
              <a:gd name="connsiteY289" fmla="*/ 576330 h 992562"/>
              <a:gd name="connsiteX290" fmla="*/ 487743 w 1008862"/>
              <a:gd name="connsiteY290" fmla="*/ 578090 h 992562"/>
              <a:gd name="connsiteX291" fmla="*/ 462623 w 1008862"/>
              <a:gd name="connsiteY291" fmla="*/ 572810 h 992562"/>
              <a:gd name="connsiteX292" fmla="*/ 470143 w 1008862"/>
              <a:gd name="connsiteY292" fmla="*/ 587050 h 992562"/>
              <a:gd name="connsiteX293" fmla="*/ 457823 w 1008862"/>
              <a:gd name="connsiteY293" fmla="*/ 586570 h 992562"/>
              <a:gd name="connsiteX294" fmla="*/ 455103 w 1008862"/>
              <a:gd name="connsiteY294" fmla="*/ 562890 h 992562"/>
              <a:gd name="connsiteX295" fmla="*/ 453983 w 1008862"/>
              <a:gd name="connsiteY295" fmla="*/ 558090 h 992562"/>
              <a:gd name="connsiteX296" fmla="*/ 458143 w 1008862"/>
              <a:gd name="connsiteY296" fmla="*/ 538090 h 992562"/>
              <a:gd name="connsiteX297" fmla="*/ 463423 w 1008862"/>
              <a:gd name="connsiteY297" fmla="*/ 523690 h 992562"/>
              <a:gd name="connsiteX298" fmla="*/ 469343 w 1008862"/>
              <a:gd name="connsiteY298" fmla="*/ 513130 h 992562"/>
              <a:gd name="connsiteX299" fmla="*/ 469983 w 1008862"/>
              <a:gd name="connsiteY299" fmla="*/ 512970 h 992562"/>
              <a:gd name="connsiteX300" fmla="*/ 467103 w 1008862"/>
              <a:gd name="connsiteY300" fmla="*/ 528490 h 992562"/>
              <a:gd name="connsiteX301" fmla="*/ 462623 w 1008862"/>
              <a:gd name="connsiteY301" fmla="*/ 572810 h 992562"/>
              <a:gd name="connsiteX302" fmla="*/ 240223 w 1008862"/>
              <a:gd name="connsiteY302" fmla="*/ 365610 h 992562"/>
              <a:gd name="connsiteX303" fmla="*/ 239583 w 1008862"/>
              <a:gd name="connsiteY303" fmla="*/ 358890 h 992562"/>
              <a:gd name="connsiteX304" fmla="*/ 239583 w 1008862"/>
              <a:gd name="connsiteY304" fmla="*/ 346890 h 992562"/>
              <a:gd name="connsiteX305" fmla="*/ 240863 w 1008862"/>
              <a:gd name="connsiteY305" fmla="*/ 307850 h 992562"/>
              <a:gd name="connsiteX306" fmla="*/ 242943 w 1008862"/>
              <a:gd name="connsiteY306" fmla="*/ 272330 h 992562"/>
              <a:gd name="connsiteX307" fmla="*/ 243103 w 1008862"/>
              <a:gd name="connsiteY307" fmla="*/ 234250 h 992562"/>
              <a:gd name="connsiteX308" fmla="*/ 242303 w 1008862"/>
              <a:gd name="connsiteY308" fmla="*/ 198890 h 992562"/>
              <a:gd name="connsiteX309" fmla="*/ 239263 w 1008862"/>
              <a:gd name="connsiteY309" fmla="*/ 162730 h 992562"/>
              <a:gd name="connsiteX310" fmla="*/ 237023 w 1008862"/>
              <a:gd name="connsiteY310" fmla="*/ 145610 h 992562"/>
              <a:gd name="connsiteX311" fmla="*/ 233023 w 1008862"/>
              <a:gd name="connsiteY311" fmla="*/ 128970 h 992562"/>
              <a:gd name="connsiteX312" fmla="*/ 232383 w 1008862"/>
              <a:gd name="connsiteY312" fmla="*/ 126730 h 992562"/>
              <a:gd name="connsiteX313" fmla="*/ 242943 w 1008862"/>
              <a:gd name="connsiteY313" fmla="*/ 138730 h 992562"/>
              <a:gd name="connsiteX314" fmla="*/ 248543 w 1008862"/>
              <a:gd name="connsiteY314" fmla="*/ 144650 h 992562"/>
              <a:gd name="connsiteX315" fmla="*/ 254463 w 1008862"/>
              <a:gd name="connsiteY315" fmla="*/ 160330 h 992562"/>
              <a:gd name="connsiteX316" fmla="*/ 262463 w 1008862"/>
              <a:gd name="connsiteY316" fmla="*/ 190250 h 992562"/>
              <a:gd name="connsiteX317" fmla="*/ 270623 w 1008862"/>
              <a:gd name="connsiteY317" fmla="*/ 254090 h 992562"/>
              <a:gd name="connsiteX318" fmla="*/ 262623 w 1008862"/>
              <a:gd name="connsiteY318" fmla="*/ 316170 h 992562"/>
              <a:gd name="connsiteX319" fmla="*/ 256223 w 1008862"/>
              <a:gd name="connsiteY319" fmla="*/ 369130 h 992562"/>
              <a:gd name="connsiteX320" fmla="*/ 253503 w 1008862"/>
              <a:gd name="connsiteY320" fmla="*/ 369290 h 992562"/>
              <a:gd name="connsiteX321" fmla="*/ 244063 w 1008862"/>
              <a:gd name="connsiteY321" fmla="*/ 370090 h 992562"/>
              <a:gd name="connsiteX322" fmla="*/ 241663 w 1008862"/>
              <a:gd name="connsiteY322" fmla="*/ 369130 h 992562"/>
              <a:gd name="connsiteX323" fmla="*/ 241023 w 1008862"/>
              <a:gd name="connsiteY323" fmla="*/ 369290 h 992562"/>
              <a:gd name="connsiteX324" fmla="*/ 240543 w 1008862"/>
              <a:gd name="connsiteY324" fmla="*/ 369130 h 992562"/>
              <a:gd name="connsiteX325" fmla="*/ 241503 w 1008862"/>
              <a:gd name="connsiteY325" fmla="*/ 368650 h 992562"/>
              <a:gd name="connsiteX326" fmla="*/ 240223 w 1008862"/>
              <a:gd name="connsiteY326" fmla="*/ 365610 h 992562"/>
              <a:gd name="connsiteX327" fmla="*/ 276383 w 1008862"/>
              <a:gd name="connsiteY327" fmla="*/ 252330 h 992562"/>
              <a:gd name="connsiteX328" fmla="*/ 268543 w 1008862"/>
              <a:gd name="connsiteY328" fmla="*/ 192970 h 992562"/>
              <a:gd name="connsiteX329" fmla="*/ 259903 w 1008862"/>
              <a:gd name="connsiteY329" fmla="*/ 162890 h 992562"/>
              <a:gd name="connsiteX330" fmla="*/ 256223 w 1008862"/>
              <a:gd name="connsiteY330" fmla="*/ 152490 h 992562"/>
              <a:gd name="connsiteX331" fmla="*/ 258943 w 1008862"/>
              <a:gd name="connsiteY331" fmla="*/ 155530 h 992562"/>
              <a:gd name="connsiteX332" fmla="*/ 276383 w 1008862"/>
              <a:gd name="connsiteY332" fmla="*/ 173930 h 992562"/>
              <a:gd name="connsiteX333" fmla="*/ 281503 w 1008862"/>
              <a:gd name="connsiteY333" fmla="*/ 179210 h 992562"/>
              <a:gd name="connsiteX334" fmla="*/ 285023 w 1008862"/>
              <a:gd name="connsiteY334" fmla="*/ 189610 h 992562"/>
              <a:gd name="connsiteX335" fmla="*/ 290623 w 1008862"/>
              <a:gd name="connsiteY335" fmla="*/ 215530 h 992562"/>
              <a:gd name="connsiteX336" fmla="*/ 292223 w 1008862"/>
              <a:gd name="connsiteY336" fmla="*/ 229450 h 992562"/>
              <a:gd name="connsiteX337" fmla="*/ 294943 w 1008862"/>
              <a:gd name="connsiteY337" fmla="*/ 240810 h 992562"/>
              <a:gd name="connsiteX338" fmla="*/ 296543 w 1008862"/>
              <a:gd name="connsiteY338" fmla="*/ 273610 h 992562"/>
              <a:gd name="connsiteX339" fmla="*/ 293023 w 1008862"/>
              <a:gd name="connsiteY339" fmla="*/ 301290 h 992562"/>
              <a:gd name="connsiteX340" fmla="*/ 290943 w 1008862"/>
              <a:gd name="connsiteY340" fmla="*/ 330410 h 992562"/>
              <a:gd name="connsiteX341" fmla="*/ 288543 w 1008862"/>
              <a:gd name="connsiteY341" fmla="*/ 356170 h 992562"/>
              <a:gd name="connsiteX342" fmla="*/ 289183 w 1008862"/>
              <a:gd name="connsiteY342" fmla="*/ 368650 h 992562"/>
              <a:gd name="connsiteX343" fmla="*/ 289823 w 1008862"/>
              <a:gd name="connsiteY343" fmla="*/ 372010 h 992562"/>
              <a:gd name="connsiteX344" fmla="*/ 278623 w 1008862"/>
              <a:gd name="connsiteY344" fmla="*/ 370250 h 992562"/>
              <a:gd name="connsiteX345" fmla="*/ 261823 w 1008862"/>
              <a:gd name="connsiteY345" fmla="*/ 368810 h 992562"/>
              <a:gd name="connsiteX346" fmla="*/ 276383 w 1008862"/>
              <a:gd name="connsiteY346" fmla="*/ 252330 h 992562"/>
              <a:gd name="connsiteX347" fmla="*/ 287263 w 1008862"/>
              <a:gd name="connsiteY347" fmla="*/ 381450 h 992562"/>
              <a:gd name="connsiteX348" fmla="*/ 312223 w 1008862"/>
              <a:gd name="connsiteY348" fmla="*/ 385610 h 992562"/>
              <a:gd name="connsiteX349" fmla="*/ 337183 w 1008862"/>
              <a:gd name="connsiteY349" fmla="*/ 395370 h 992562"/>
              <a:gd name="connsiteX350" fmla="*/ 362463 w 1008862"/>
              <a:gd name="connsiteY350" fmla="*/ 410250 h 992562"/>
              <a:gd name="connsiteX351" fmla="*/ 381183 w 1008862"/>
              <a:gd name="connsiteY351" fmla="*/ 429130 h 992562"/>
              <a:gd name="connsiteX352" fmla="*/ 394623 w 1008862"/>
              <a:gd name="connsiteY352" fmla="*/ 449290 h 992562"/>
              <a:gd name="connsiteX353" fmla="*/ 408223 w 1008862"/>
              <a:gd name="connsiteY353" fmla="*/ 468970 h 992562"/>
              <a:gd name="connsiteX354" fmla="*/ 415263 w 1008862"/>
              <a:gd name="connsiteY354" fmla="*/ 480650 h 992562"/>
              <a:gd name="connsiteX355" fmla="*/ 422623 w 1008862"/>
              <a:gd name="connsiteY355" fmla="*/ 493290 h 992562"/>
              <a:gd name="connsiteX356" fmla="*/ 440543 w 1008862"/>
              <a:gd name="connsiteY356" fmla="*/ 539370 h 992562"/>
              <a:gd name="connsiteX357" fmla="*/ 444863 w 1008862"/>
              <a:gd name="connsiteY357" fmla="*/ 564010 h 992562"/>
              <a:gd name="connsiteX358" fmla="*/ 447423 w 1008862"/>
              <a:gd name="connsiteY358" fmla="*/ 577130 h 992562"/>
              <a:gd name="connsiteX359" fmla="*/ 447743 w 1008862"/>
              <a:gd name="connsiteY359" fmla="*/ 583050 h 992562"/>
              <a:gd name="connsiteX360" fmla="*/ 447743 w 1008862"/>
              <a:gd name="connsiteY360" fmla="*/ 583370 h 992562"/>
              <a:gd name="connsiteX361" fmla="*/ 438783 w 1008862"/>
              <a:gd name="connsiteY361" fmla="*/ 588650 h 992562"/>
              <a:gd name="connsiteX362" fmla="*/ 432223 w 1008862"/>
              <a:gd name="connsiteY362" fmla="*/ 559050 h 992562"/>
              <a:gd name="connsiteX363" fmla="*/ 425343 w 1008862"/>
              <a:gd name="connsiteY363" fmla="*/ 543530 h 992562"/>
              <a:gd name="connsiteX364" fmla="*/ 416063 w 1008862"/>
              <a:gd name="connsiteY364" fmla="*/ 525770 h 992562"/>
              <a:gd name="connsiteX365" fmla="*/ 373503 w 1008862"/>
              <a:gd name="connsiteY365" fmla="*/ 459690 h 992562"/>
              <a:gd name="connsiteX366" fmla="*/ 320863 w 1008862"/>
              <a:gd name="connsiteY366" fmla="*/ 408170 h 992562"/>
              <a:gd name="connsiteX367" fmla="*/ 306623 w 1008862"/>
              <a:gd name="connsiteY367" fmla="*/ 397290 h 992562"/>
              <a:gd name="connsiteX368" fmla="*/ 292063 w 1008862"/>
              <a:gd name="connsiteY368" fmla="*/ 389290 h 992562"/>
              <a:gd name="connsiteX369" fmla="*/ 276383 w 1008862"/>
              <a:gd name="connsiteY369" fmla="*/ 380330 h 992562"/>
              <a:gd name="connsiteX370" fmla="*/ 274943 w 1008862"/>
              <a:gd name="connsiteY370" fmla="*/ 379850 h 992562"/>
              <a:gd name="connsiteX371" fmla="*/ 287263 w 1008862"/>
              <a:gd name="connsiteY371" fmla="*/ 381450 h 992562"/>
              <a:gd name="connsiteX372" fmla="*/ 346303 w 1008862"/>
              <a:gd name="connsiteY372" fmla="*/ 287690 h 992562"/>
              <a:gd name="connsiteX373" fmla="*/ 346463 w 1008862"/>
              <a:gd name="connsiteY373" fmla="*/ 285770 h 992562"/>
              <a:gd name="connsiteX374" fmla="*/ 348223 w 1008862"/>
              <a:gd name="connsiteY374" fmla="*/ 279530 h 992562"/>
              <a:gd name="connsiteX375" fmla="*/ 354783 w 1008862"/>
              <a:gd name="connsiteY375" fmla="*/ 264650 h 992562"/>
              <a:gd name="connsiteX376" fmla="*/ 370943 w 1008862"/>
              <a:gd name="connsiteY376" fmla="*/ 235370 h 992562"/>
              <a:gd name="connsiteX377" fmla="*/ 413823 w 1008862"/>
              <a:gd name="connsiteY377" fmla="*/ 184810 h 992562"/>
              <a:gd name="connsiteX378" fmla="*/ 465823 w 1008862"/>
              <a:gd name="connsiteY378" fmla="*/ 140650 h 992562"/>
              <a:gd name="connsiteX379" fmla="*/ 471583 w 1008862"/>
              <a:gd name="connsiteY379" fmla="*/ 135850 h 992562"/>
              <a:gd name="connsiteX380" fmla="*/ 459583 w 1008862"/>
              <a:gd name="connsiteY380" fmla="*/ 156650 h 992562"/>
              <a:gd name="connsiteX381" fmla="*/ 456063 w 1008862"/>
              <a:gd name="connsiteY381" fmla="*/ 163690 h 992562"/>
              <a:gd name="connsiteX382" fmla="*/ 450783 w 1008862"/>
              <a:gd name="connsiteY382" fmla="*/ 171050 h 992562"/>
              <a:gd name="connsiteX383" fmla="*/ 439743 w 1008862"/>
              <a:gd name="connsiteY383" fmla="*/ 187210 h 992562"/>
              <a:gd name="connsiteX384" fmla="*/ 397023 w 1008862"/>
              <a:gd name="connsiteY384" fmla="*/ 245450 h 992562"/>
              <a:gd name="connsiteX385" fmla="*/ 376543 w 1008862"/>
              <a:gd name="connsiteY385" fmla="*/ 273130 h 992562"/>
              <a:gd name="connsiteX386" fmla="*/ 362303 w 1008862"/>
              <a:gd name="connsiteY386" fmla="*/ 307050 h 992562"/>
              <a:gd name="connsiteX387" fmla="*/ 355743 w 1008862"/>
              <a:gd name="connsiteY387" fmla="*/ 334730 h 992562"/>
              <a:gd name="connsiteX388" fmla="*/ 353503 w 1008862"/>
              <a:gd name="connsiteY388" fmla="*/ 313930 h 992562"/>
              <a:gd name="connsiteX389" fmla="*/ 349023 w 1008862"/>
              <a:gd name="connsiteY389" fmla="*/ 296970 h 992562"/>
              <a:gd name="connsiteX390" fmla="*/ 345983 w 1008862"/>
              <a:gd name="connsiteY390" fmla="*/ 290090 h 992562"/>
              <a:gd name="connsiteX391" fmla="*/ 346303 w 1008862"/>
              <a:gd name="connsiteY391" fmla="*/ 288330 h 992562"/>
              <a:gd name="connsiteX392" fmla="*/ 346303 w 1008862"/>
              <a:gd name="connsiteY392" fmla="*/ 287690 h 992562"/>
              <a:gd name="connsiteX393" fmla="*/ 768703 w 1008862"/>
              <a:gd name="connsiteY393" fmla="*/ 351210 h 992562"/>
              <a:gd name="connsiteX394" fmla="*/ 768703 w 1008862"/>
              <a:gd name="connsiteY394" fmla="*/ 351210 h 992562"/>
              <a:gd name="connsiteX395" fmla="*/ 760543 w 1008862"/>
              <a:gd name="connsiteY395" fmla="*/ 334090 h 992562"/>
              <a:gd name="connsiteX396" fmla="*/ 747583 w 1008862"/>
              <a:gd name="connsiteY396" fmla="*/ 331370 h 992562"/>
              <a:gd name="connsiteX397" fmla="*/ 755583 w 1008862"/>
              <a:gd name="connsiteY397" fmla="*/ 321930 h 992562"/>
              <a:gd name="connsiteX398" fmla="*/ 769503 w 1008862"/>
              <a:gd name="connsiteY398" fmla="*/ 305770 h 992562"/>
              <a:gd name="connsiteX399" fmla="*/ 783743 w 1008862"/>
              <a:gd name="connsiteY399" fmla="*/ 282730 h 992562"/>
              <a:gd name="connsiteX400" fmla="*/ 807423 w 1008862"/>
              <a:gd name="connsiteY400" fmla="*/ 237450 h 992562"/>
              <a:gd name="connsiteX401" fmla="*/ 812063 w 1008862"/>
              <a:gd name="connsiteY401" fmla="*/ 223850 h 992562"/>
              <a:gd name="connsiteX402" fmla="*/ 812223 w 1008862"/>
              <a:gd name="connsiteY402" fmla="*/ 243210 h 992562"/>
              <a:gd name="connsiteX403" fmla="*/ 808543 w 1008862"/>
              <a:gd name="connsiteY403" fmla="*/ 273610 h 992562"/>
              <a:gd name="connsiteX404" fmla="*/ 803423 w 1008862"/>
              <a:gd name="connsiteY404" fmla="*/ 290730 h 992562"/>
              <a:gd name="connsiteX405" fmla="*/ 797663 w 1008862"/>
              <a:gd name="connsiteY405" fmla="*/ 302890 h 992562"/>
              <a:gd name="connsiteX406" fmla="*/ 787263 w 1008862"/>
              <a:gd name="connsiteY406" fmla="*/ 324810 h 992562"/>
              <a:gd name="connsiteX407" fmla="*/ 780703 w 1008862"/>
              <a:gd name="connsiteY407" fmla="*/ 334890 h 992562"/>
              <a:gd name="connsiteX408" fmla="*/ 768703 w 1008862"/>
              <a:gd name="connsiteY408" fmla="*/ 351210 h 992562"/>
              <a:gd name="connsiteX409" fmla="*/ 770143 w 1008862"/>
              <a:gd name="connsiteY409" fmla="*/ 374250 h 992562"/>
              <a:gd name="connsiteX410" fmla="*/ 789503 w 1008862"/>
              <a:gd name="connsiteY410" fmla="*/ 368330 h 992562"/>
              <a:gd name="connsiteX411" fmla="*/ 772383 w 1008862"/>
              <a:gd name="connsiteY411" fmla="*/ 382090 h 992562"/>
              <a:gd name="connsiteX412" fmla="*/ 765823 w 1008862"/>
              <a:gd name="connsiteY412" fmla="*/ 388970 h 992562"/>
              <a:gd name="connsiteX413" fmla="*/ 768863 w 1008862"/>
              <a:gd name="connsiteY413" fmla="*/ 378890 h 992562"/>
              <a:gd name="connsiteX414" fmla="*/ 770143 w 1008862"/>
              <a:gd name="connsiteY414" fmla="*/ 374250 h 992562"/>
              <a:gd name="connsiteX415" fmla="*/ 748383 w 1008862"/>
              <a:gd name="connsiteY415" fmla="*/ 342090 h 992562"/>
              <a:gd name="connsiteX416" fmla="*/ 749343 w 1008862"/>
              <a:gd name="connsiteY416" fmla="*/ 341290 h 992562"/>
              <a:gd name="connsiteX417" fmla="*/ 754943 w 1008862"/>
              <a:gd name="connsiteY417" fmla="*/ 343210 h 992562"/>
              <a:gd name="connsiteX418" fmla="*/ 758463 w 1008862"/>
              <a:gd name="connsiteY418" fmla="*/ 352970 h 992562"/>
              <a:gd name="connsiteX419" fmla="*/ 759103 w 1008862"/>
              <a:gd name="connsiteY419" fmla="*/ 357290 h 992562"/>
              <a:gd name="connsiteX420" fmla="*/ 755583 w 1008862"/>
              <a:gd name="connsiteY420" fmla="*/ 366730 h 992562"/>
              <a:gd name="connsiteX421" fmla="*/ 746303 w 1008862"/>
              <a:gd name="connsiteY421" fmla="*/ 386570 h 992562"/>
              <a:gd name="connsiteX422" fmla="*/ 732703 w 1008862"/>
              <a:gd name="connsiteY422" fmla="*/ 404970 h 992562"/>
              <a:gd name="connsiteX423" fmla="*/ 724703 w 1008862"/>
              <a:gd name="connsiteY423" fmla="*/ 411530 h 992562"/>
              <a:gd name="connsiteX424" fmla="*/ 721983 w 1008862"/>
              <a:gd name="connsiteY424" fmla="*/ 413130 h 992562"/>
              <a:gd name="connsiteX425" fmla="*/ 705343 w 1008862"/>
              <a:gd name="connsiteY425" fmla="*/ 408490 h 992562"/>
              <a:gd name="connsiteX426" fmla="*/ 681183 w 1008862"/>
              <a:gd name="connsiteY426" fmla="*/ 404810 h 992562"/>
              <a:gd name="connsiteX427" fmla="*/ 680703 w 1008862"/>
              <a:gd name="connsiteY427" fmla="*/ 404650 h 992562"/>
              <a:gd name="connsiteX428" fmla="*/ 689983 w 1008862"/>
              <a:gd name="connsiteY428" fmla="*/ 394250 h 992562"/>
              <a:gd name="connsiteX429" fmla="*/ 709823 w 1008862"/>
              <a:gd name="connsiteY429" fmla="*/ 376330 h 992562"/>
              <a:gd name="connsiteX430" fmla="*/ 727583 w 1008862"/>
              <a:gd name="connsiteY430" fmla="*/ 359210 h 992562"/>
              <a:gd name="connsiteX431" fmla="*/ 738143 w 1008862"/>
              <a:gd name="connsiteY431" fmla="*/ 349290 h 992562"/>
              <a:gd name="connsiteX432" fmla="*/ 748383 w 1008862"/>
              <a:gd name="connsiteY432" fmla="*/ 342090 h 992562"/>
              <a:gd name="connsiteX433" fmla="*/ 760543 w 1008862"/>
              <a:gd name="connsiteY433" fmla="*/ 365130 h 992562"/>
              <a:gd name="connsiteX434" fmla="*/ 756383 w 1008862"/>
              <a:gd name="connsiteY434" fmla="*/ 384810 h 992562"/>
              <a:gd name="connsiteX435" fmla="*/ 749343 w 1008862"/>
              <a:gd name="connsiteY435" fmla="*/ 405290 h 992562"/>
              <a:gd name="connsiteX436" fmla="*/ 747423 w 1008862"/>
              <a:gd name="connsiteY436" fmla="*/ 413930 h 992562"/>
              <a:gd name="connsiteX437" fmla="*/ 745183 w 1008862"/>
              <a:gd name="connsiteY437" fmla="*/ 420010 h 992562"/>
              <a:gd name="connsiteX438" fmla="*/ 729343 w 1008862"/>
              <a:gd name="connsiteY438" fmla="*/ 415370 h 992562"/>
              <a:gd name="connsiteX439" fmla="*/ 730783 w 1008862"/>
              <a:gd name="connsiteY439" fmla="*/ 414410 h 992562"/>
              <a:gd name="connsiteX440" fmla="*/ 738303 w 1008862"/>
              <a:gd name="connsiteY440" fmla="*/ 407370 h 992562"/>
              <a:gd name="connsiteX441" fmla="*/ 750303 w 1008862"/>
              <a:gd name="connsiteY441" fmla="*/ 390890 h 992562"/>
              <a:gd name="connsiteX442" fmla="*/ 758943 w 1008862"/>
              <a:gd name="connsiteY442" fmla="*/ 370730 h 992562"/>
              <a:gd name="connsiteX443" fmla="*/ 760543 w 1008862"/>
              <a:gd name="connsiteY443" fmla="*/ 365130 h 992562"/>
              <a:gd name="connsiteX444" fmla="*/ 730943 w 1008862"/>
              <a:gd name="connsiteY444" fmla="*/ 349290 h 992562"/>
              <a:gd name="connsiteX445" fmla="*/ 710943 w 1008862"/>
              <a:gd name="connsiteY445" fmla="*/ 368010 h 992562"/>
              <a:gd name="connsiteX446" fmla="*/ 689023 w 1008862"/>
              <a:gd name="connsiteY446" fmla="*/ 387210 h 992562"/>
              <a:gd name="connsiteX447" fmla="*/ 673663 w 1008862"/>
              <a:gd name="connsiteY447" fmla="*/ 403850 h 992562"/>
              <a:gd name="connsiteX448" fmla="*/ 655263 w 1008862"/>
              <a:gd name="connsiteY448" fmla="*/ 405610 h 992562"/>
              <a:gd name="connsiteX449" fmla="*/ 640543 w 1008862"/>
              <a:gd name="connsiteY449" fmla="*/ 407530 h 992562"/>
              <a:gd name="connsiteX450" fmla="*/ 645503 w 1008862"/>
              <a:gd name="connsiteY450" fmla="*/ 401770 h 992562"/>
              <a:gd name="connsiteX451" fmla="*/ 665823 w 1008862"/>
              <a:gd name="connsiteY451" fmla="*/ 382890 h 992562"/>
              <a:gd name="connsiteX452" fmla="*/ 685983 w 1008862"/>
              <a:gd name="connsiteY452" fmla="*/ 365450 h 992562"/>
              <a:gd name="connsiteX453" fmla="*/ 698783 w 1008862"/>
              <a:gd name="connsiteY453" fmla="*/ 354730 h 992562"/>
              <a:gd name="connsiteX454" fmla="*/ 707103 w 1008862"/>
              <a:gd name="connsiteY454" fmla="*/ 352650 h 992562"/>
              <a:gd name="connsiteX455" fmla="*/ 730783 w 1008862"/>
              <a:gd name="connsiteY455" fmla="*/ 346890 h 992562"/>
              <a:gd name="connsiteX456" fmla="*/ 735903 w 1008862"/>
              <a:gd name="connsiteY456" fmla="*/ 345610 h 992562"/>
              <a:gd name="connsiteX457" fmla="*/ 730943 w 1008862"/>
              <a:gd name="connsiteY457" fmla="*/ 349290 h 992562"/>
              <a:gd name="connsiteX458" fmla="*/ 688383 w 1008862"/>
              <a:gd name="connsiteY458" fmla="*/ 357930 h 992562"/>
              <a:gd name="connsiteX459" fmla="*/ 666143 w 1008862"/>
              <a:gd name="connsiteY459" fmla="*/ 376010 h 992562"/>
              <a:gd name="connsiteX460" fmla="*/ 632703 w 1008862"/>
              <a:gd name="connsiteY460" fmla="*/ 408810 h 992562"/>
              <a:gd name="connsiteX461" fmla="*/ 631583 w 1008862"/>
              <a:gd name="connsiteY461" fmla="*/ 409130 h 992562"/>
              <a:gd name="connsiteX462" fmla="*/ 606303 w 1008862"/>
              <a:gd name="connsiteY462" fmla="*/ 417930 h 992562"/>
              <a:gd name="connsiteX463" fmla="*/ 581503 w 1008862"/>
              <a:gd name="connsiteY463" fmla="*/ 432970 h 992562"/>
              <a:gd name="connsiteX464" fmla="*/ 595423 w 1008862"/>
              <a:gd name="connsiteY464" fmla="*/ 415370 h 992562"/>
              <a:gd name="connsiteX465" fmla="*/ 621983 w 1008862"/>
              <a:gd name="connsiteY465" fmla="*/ 388650 h 992562"/>
              <a:gd name="connsiteX466" fmla="*/ 656543 w 1008862"/>
              <a:gd name="connsiteY466" fmla="*/ 370570 h 992562"/>
              <a:gd name="connsiteX467" fmla="*/ 680863 w 1008862"/>
              <a:gd name="connsiteY467" fmla="*/ 360170 h 992562"/>
              <a:gd name="connsiteX468" fmla="*/ 689023 w 1008862"/>
              <a:gd name="connsiteY468" fmla="*/ 357610 h 992562"/>
              <a:gd name="connsiteX469" fmla="*/ 688383 w 1008862"/>
              <a:gd name="connsiteY469" fmla="*/ 357930 h 992562"/>
              <a:gd name="connsiteX470" fmla="*/ 595903 w 1008862"/>
              <a:gd name="connsiteY470" fmla="*/ 406890 h 992562"/>
              <a:gd name="connsiteX471" fmla="*/ 576223 w 1008862"/>
              <a:gd name="connsiteY471" fmla="*/ 429930 h 992562"/>
              <a:gd name="connsiteX472" fmla="*/ 569343 w 1008862"/>
              <a:gd name="connsiteY472" fmla="*/ 441770 h 992562"/>
              <a:gd name="connsiteX473" fmla="*/ 568863 w 1008862"/>
              <a:gd name="connsiteY473" fmla="*/ 442730 h 992562"/>
              <a:gd name="connsiteX474" fmla="*/ 561983 w 1008862"/>
              <a:gd name="connsiteY474" fmla="*/ 448490 h 992562"/>
              <a:gd name="connsiteX475" fmla="*/ 543103 w 1008862"/>
              <a:gd name="connsiteY475" fmla="*/ 466090 h 992562"/>
              <a:gd name="connsiteX476" fmla="*/ 525183 w 1008862"/>
              <a:gd name="connsiteY476" fmla="*/ 489930 h 992562"/>
              <a:gd name="connsiteX477" fmla="*/ 509823 w 1008862"/>
              <a:gd name="connsiteY477" fmla="*/ 515370 h 992562"/>
              <a:gd name="connsiteX478" fmla="*/ 502943 w 1008862"/>
              <a:gd name="connsiteY478" fmla="*/ 527690 h 992562"/>
              <a:gd name="connsiteX479" fmla="*/ 497823 w 1008862"/>
              <a:gd name="connsiteY479" fmla="*/ 542090 h 992562"/>
              <a:gd name="connsiteX480" fmla="*/ 495103 w 1008862"/>
              <a:gd name="connsiteY480" fmla="*/ 548010 h 992562"/>
              <a:gd name="connsiteX481" fmla="*/ 497663 w 1008862"/>
              <a:gd name="connsiteY481" fmla="*/ 535690 h 992562"/>
              <a:gd name="connsiteX482" fmla="*/ 499583 w 1008862"/>
              <a:gd name="connsiteY482" fmla="*/ 524650 h 992562"/>
              <a:gd name="connsiteX483" fmla="*/ 502623 w 1008862"/>
              <a:gd name="connsiteY483" fmla="*/ 515370 h 992562"/>
              <a:gd name="connsiteX484" fmla="*/ 510303 w 1008862"/>
              <a:gd name="connsiteY484" fmla="*/ 491690 h 992562"/>
              <a:gd name="connsiteX485" fmla="*/ 529503 w 1008862"/>
              <a:gd name="connsiteY485" fmla="*/ 451210 h 992562"/>
              <a:gd name="connsiteX486" fmla="*/ 541023 w 1008862"/>
              <a:gd name="connsiteY486" fmla="*/ 433610 h 992562"/>
              <a:gd name="connsiteX487" fmla="*/ 547743 w 1008862"/>
              <a:gd name="connsiteY487" fmla="*/ 423210 h 992562"/>
              <a:gd name="connsiteX488" fmla="*/ 563263 w 1008862"/>
              <a:gd name="connsiteY488" fmla="*/ 412490 h 992562"/>
              <a:gd name="connsiteX489" fmla="*/ 609343 w 1008862"/>
              <a:gd name="connsiteY489" fmla="*/ 394090 h 992562"/>
              <a:gd name="connsiteX490" fmla="*/ 609663 w 1008862"/>
              <a:gd name="connsiteY490" fmla="*/ 393930 h 992562"/>
              <a:gd name="connsiteX491" fmla="*/ 595903 w 1008862"/>
              <a:gd name="connsiteY491" fmla="*/ 406890 h 992562"/>
              <a:gd name="connsiteX492" fmla="*/ 502783 w 1008862"/>
              <a:gd name="connsiteY492" fmla="*/ 450890 h 992562"/>
              <a:gd name="connsiteX493" fmla="*/ 497183 w 1008862"/>
              <a:gd name="connsiteY493" fmla="*/ 457130 h 992562"/>
              <a:gd name="connsiteX494" fmla="*/ 492063 w 1008862"/>
              <a:gd name="connsiteY494" fmla="*/ 463690 h 992562"/>
              <a:gd name="connsiteX495" fmla="*/ 494303 w 1008862"/>
              <a:gd name="connsiteY495" fmla="*/ 453770 h 992562"/>
              <a:gd name="connsiteX496" fmla="*/ 498463 w 1008862"/>
              <a:gd name="connsiteY496" fmla="*/ 398570 h 992562"/>
              <a:gd name="connsiteX497" fmla="*/ 498623 w 1008862"/>
              <a:gd name="connsiteY497" fmla="*/ 398570 h 992562"/>
              <a:gd name="connsiteX498" fmla="*/ 517663 w 1008862"/>
              <a:gd name="connsiteY498" fmla="*/ 403690 h 992562"/>
              <a:gd name="connsiteX499" fmla="*/ 517503 w 1008862"/>
              <a:gd name="connsiteY499" fmla="*/ 404170 h 992562"/>
              <a:gd name="connsiteX500" fmla="*/ 509823 w 1008862"/>
              <a:gd name="connsiteY500" fmla="*/ 428650 h 992562"/>
              <a:gd name="connsiteX501" fmla="*/ 505823 w 1008862"/>
              <a:gd name="connsiteY501" fmla="*/ 441610 h 992562"/>
              <a:gd name="connsiteX502" fmla="*/ 502783 w 1008862"/>
              <a:gd name="connsiteY502" fmla="*/ 449610 h 992562"/>
              <a:gd name="connsiteX503" fmla="*/ 502783 w 1008862"/>
              <a:gd name="connsiteY503" fmla="*/ 450890 h 992562"/>
              <a:gd name="connsiteX504" fmla="*/ 461983 w 1008862"/>
              <a:gd name="connsiteY504" fmla="*/ 492490 h 992562"/>
              <a:gd name="connsiteX505" fmla="*/ 463263 w 1008862"/>
              <a:gd name="connsiteY505" fmla="*/ 484170 h 992562"/>
              <a:gd name="connsiteX506" fmla="*/ 463583 w 1008862"/>
              <a:gd name="connsiteY506" fmla="*/ 477130 h 992562"/>
              <a:gd name="connsiteX507" fmla="*/ 466303 w 1008862"/>
              <a:gd name="connsiteY507" fmla="*/ 441130 h 992562"/>
              <a:gd name="connsiteX508" fmla="*/ 463103 w 1008862"/>
              <a:gd name="connsiteY508" fmla="*/ 406090 h 992562"/>
              <a:gd name="connsiteX509" fmla="*/ 456063 w 1008862"/>
              <a:gd name="connsiteY509" fmla="*/ 384170 h 992562"/>
              <a:gd name="connsiteX510" fmla="*/ 468383 w 1008862"/>
              <a:gd name="connsiteY510" fmla="*/ 389290 h 992562"/>
              <a:gd name="connsiteX511" fmla="*/ 470783 w 1008862"/>
              <a:gd name="connsiteY511" fmla="*/ 390090 h 992562"/>
              <a:gd name="connsiteX512" fmla="*/ 474143 w 1008862"/>
              <a:gd name="connsiteY512" fmla="*/ 416490 h 992562"/>
              <a:gd name="connsiteX513" fmla="*/ 472063 w 1008862"/>
              <a:gd name="connsiteY513" fmla="*/ 450570 h 992562"/>
              <a:gd name="connsiteX514" fmla="*/ 467743 w 1008862"/>
              <a:gd name="connsiteY514" fmla="*/ 480970 h 992562"/>
              <a:gd name="connsiteX515" fmla="*/ 464383 w 1008862"/>
              <a:gd name="connsiteY515" fmla="*/ 499210 h 992562"/>
              <a:gd name="connsiteX516" fmla="*/ 463263 w 1008862"/>
              <a:gd name="connsiteY516" fmla="*/ 498730 h 992562"/>
              <a:gd name="connsiteX517" fmla="*/ 461983 w 1008862"/>
              <a:gd name="connsiteY517" fmla="*/ 492490 h 992562"/>
              <a:gd name="connsiteX518" fmla="*/ 441183 w 1008862"/>
              <a:gd name="connsiteY518" fmla="*/ 397930 h 992562"/>
              <a:gd name="connsiteX519" fmla="*/ 435103 w 1008862"/>
              <a:gd name="connsiteY519" fmla="*/ 379050 h 992562"/>
              <a:gd name="connsiteX520" fmla="*/ 432383 w 1008862"/>
              <a:gd name="connsiteY520" fmla="*/ 372170 h 992562"/>
              <a:gd name="connsiteX521" fmla="*/ 439583 w 1008862"/>
              <a:gd name="connsiteY521" fmla="*/ 375850 h 992562"/>
              <a:gd name="connsiteX522" fmla="*/ 442943 w 1008862"/>
              <a:gd name="connsiteY522" fmla="*/ 386890 h 992562"/>
              <a:gd name="connsiteX523" fmla="*/ 447263 w 1008862"/>
              <a:gd name="connsiteY523" fmla="*/ 407050 h 992562"/>
              <a:gd name="connsiteX524" fmla="*/ 450303 w 1008862"/>
              <a:gd name="connsiteY524" fmla="*/ 447370 h 992562"/>
              <a:gd name="connsiteX525" fmla="*/ 453183 w 1008862"/>
              <a:gd name="connsiteY525" fmla="*/ 480650 h 992562"/>
              <a:gd name="connsiteX526" fmla="*/ 451263 w 1008862"/>
              <a:gd name="connsiteY526" fmla="*/ 471050 h 992562"/>
              <a:gd name="connsiteX527" fmla="*/ 448223 w 1008862"/>
              <a:gd name="connsiteY527" fmla="*/ 452010 h 992562"/>
              <a:gd name="connsiteX528" fmla="*/ 447743 w 1008862"/>
              <a:gd name="connsiteY528" fmla="*/ 434250 h 992562"/>
              <a:gd name="connsiteX529" fmla="*/ 441183 w 1008862"/>
              <a:gd name="connsiteY529" fmla="*/ 397930 h 992562"/>
              <a:gd name="connsiteX530" fmla="*/ 435743 w 1008862"/>
              <a:gd name="connsiteY530" fmla="*/ 417770 h 992562"/>
              <a:gd name="connsiteX531" fmla="*/ 428863 w 1008862"/>
              <a:gd name="connsiteY531" fmla="*/ 392970 h 992562"/>
              <a:gd name="connsiteX532" fmla="*/ 421823 w 1008862"/>
              <a:gd name="connsiteY532" fmla="*/ 371690 h 992562"/>
              <a:gd name="connsiteX533" fmla="*/ 418303 w 1008862"/>
              <a:gd name="connsiteY533" fmla="*/ 362410 h 992562"/>
              <a:gd name="connsiteX534" fmla="*/ 426783 w 1008862"/>
              <a:gd name="connsiteY534" fmla="*/ 368810 h 992562"/>
              <a:gd name="connsiteX535" fmla="*/ 437023 w 1008862"/>
              <a:gd name="connsiteY535" fmla="*/ 404970 h 992562"/>
              <a:gd name="connsiteX536" fmla="*/ 441183 w 1008862"/>
              <a:gd name="connsiteY536" fmla="*/ 425930 h 992562"/>
              <a:gd name="connsiteX537" fmla="*/ 442303 w 1008862"/>
              <a:gd name="connsiteY537" fmla="*/ 446090 h 992562"/>
              <a:gd name="connsiteX538" fmla="*/ 442303 w 1008862"/>
              <a:gd name="connsiteY538" fmla="*/ 449930 h 992562"/>
              <a:gd name="connsiteX539" fmla="*/ 435743 w 1008862"/>
              <a:gd name="connsiteY539" fmla="*/ 417770 h 992562"/>
              <a:gd name="connsiteX540" fmla="*/ 443103 w 1008862"/>
              <a:gd name="connsiteY540" fmla="*/ 490730 h 992562"/>
              <a:gd name="connsiteX541" fmla="*/ 439743 w 1008862"/>
              <a:gd name="connsiteY541" fmla="*/ 491050 h 992562"/>
              <a:gd name="connsiteX542" fmla="*/ 433343 w 1008862"/>
              <a:gd name="connsiteY542" fmla="*/ 492490 h 992562"/>
              <a:gd name="connsiteX543" fmla="*/ 433183 w 1008862"/>
              <a:gd name="connsiteY543" fmla="*/ 492010 h 992562"/>
              <a:gd name="connsiteX544" fmla="*/ 420383 w 1008862"/>
              <a:gd name="connsiteY544" fmla="*/ 469130 h 992562"/>
              <a:gd name="connsiteX545" fmla="*/ 405503 w 1008862"/>
              <a:gd name="connsiteY545" fmla="*/ 448650 h 992562"/>
              <a:gd name="connsiteX546" fmla="*/ 405023 w 1008862"/>
              <a:gd name="connsiteY546" fmla="*/ 447690 h 992562"/>
              <a:gd name="connsiteX547" fmla="*/ 403743 w 1008862"/>
              <a:gd name="connsiteY547" fmla="*/ 432970 h 992562"/>
              <a:gd name="connsiteX548" fmla="*/ 406303 w 1008862"/>
              <a:gd name="connsiteY548" fmla="*/ 405450 h 992562"/>
              <a:gd name="connsiteX549" fmla="*/ 411583 w 1008862"/>
              <a:gd name="connsiteY549" fmla="*/ 370570 h 992562"/>
              <a:gd name="connsiteX550" fmla="*/ 411903 w 1008862"/>
              <a:gd name="connsiteY550" fmla="*/ 364810 h 992562"/>
              <a:gd name="connsiteX551" fmla="*/ 418143 w 1008862"/>
              <a:gd name="connsiteY551" fmla="*/ 384970 h 992562"/>
              <a:gd name="connsiteX552" fmla="*/ 422623 w 1008862"/>
              <a:gd name="connsiteY552" fmla="*/ 397610 h 992562"/>
              <a:gd name="connsiteX553" fmla="*/ 427103 w 1008862"/>
              <a:gd name="connsiteY553" fmla="*/ 413930 h 992562"/>
              <a:gd name="connsiteX554" fmla="*/ 440383 w 1008862"/>
              <a:gd name="connsiteY554" fmla="*/ 480010 h 992562"/>
              <a:gd name="connsiteX555" fmla="*/ 443103 w 1008862"/>
              <a:gd name="connsiteY555" fmla="*/ 490730 h 992562"/>
              <a:gd name="connsiteX556" fmla="*/ 445663 w 1008862"/>
              <a:gd name="connsiteY556" fmla="*/ 381130 h 992562"/>
              <a:gd name="connsiteX557" fmla="*/ 444223 w 1008862"/>
              <a:gd name="connsiteY557" fmla="*/ 378090 h 992562"/>
              <a:gd name="connsiteX558" fmla="*/ 451903 w 1008862"/>
              <a:gd name="connsiteY558" fmla="*/ 382090 h 992562"/>
              <a:gd name="connsiteX559" fmla="*/ 453663 w 1008862"/>
              <a:gd name="connsiteY559" fmla="*/ 387690 h 992562"/>
              <a:gd name="connsiteX560" fmla="*/ 457983 w 1008862"/>
              <a:gd name="connsiteY560" fmla="*/ 406410 h 992562"/>
              <a:gd name="connsiteX561" fmla="*/ 460543 w 1008862"/>
              <a:gd name="connsiteY561" fmla="*/ 445930 h 992562"/>
              <a:gd name="connsiteX562" fmla="*/ 458623 w 1008862"/>
              <a:gd name="connsiteY562" fmla="*/ 465450 h 992562"/>
              <a:gd name="connsiteX563" fmla="*/ 458143 w 1008862"/>
              <a:gd name="connsiteY563" fmla="*/ 471530 h 992562"/>
              <a:gd name="connsiteX564" fmla="*/ 455423 w 1008862"/>
              <a:gd name="connsiteY564" fmla="*/ 444650 h 992562"/>
              <a:gd name="connsiteX565" fmla="*/ 452063 w 1008862"/>
              <a:gd name="connsiteY565" fmla="*/ 406730 h 992562"/>
              <a:gd name="connsiteX566" fmla="*/ 448063 w 1008862"/>
              <a:gd name="connsiteY566" fmla="*/ 390090 h 992562"/>
              <a:gd name="connsiteX567" fmla="*/ 445663 w 1008862"/>
              <a:gd name="connsiteY567" fmla="*/ 381130 h 992562"/>
              <a:gd name="connsiteX568" fmla="*/ 473983 w 1008862"/>
              <a:gd name="connsiteY568" fmla="*/ 480010 h 992562"/>
              <a:gd name="connsiteX569" fmla="*/ 477983 w 1008862"/>
              <a:gd name="connsiteY569" fmla="*/ 447370 h 992562"/>
              <a:gd name="connsiteX570" fmla="*/ 478943 w 1008862"/>
              <a:gd name="connsiteY570" fmla="*/ 416330 h 992562"/>
              <a:gd name="connsiteX571" fmla="*/ 473183 w 1008862"/>
              <a:gd name="connsiteY571" fmla="*/ 390890 h 992562"/>
              <a:gd name="connsiteX572" fmla="*/ 495103 w 1008862"/>
              <a:gd name="connsiteY572" fmla="*/ 397610 h 992562"/>
              <a:gd name="connsiteX573" fmla="*/ 495263 w 1008862"/>
              <a:gd name="connsiteY573" fmla="*/ 407530 h 992562"/>
              <a:gd name="connsiteX574" fmla="*/ 493663 w 1008862"/>
              <a:gd name="connsiteY574" fmla="*/ 424330 h 992562"/>
              <a:gd name="connsiteX575" fmla="*/ 488543 w 1008862"/>
              <a:gd name="connsiteY575" fmla="*/ 452490 h 992562"/>
              <a:gd name="connsiteX576" fmla="*/ 485503 w 1008862"/>
              <a:gd name="connsiteY576" fmla="*/ 465290 h 992562"/>
              <a:gd name="connsiteX577" fmla="*/ 479423 w 1008862"/>
              <a:gd name="connsiteY577" fmla="*/ 478570 h 992562"/>
              <a:gd name="connsiteX578" fmla="*/ 470623 w 1008862"/>
              <a:gd name="connsiteY578" fmla="*/ 497770 h 992562"/>
              <a:gd name="connsiteX579" fmla="*/ 473983 w 1008862"/>
              <a:gd name="connsiteY579" fmla="*/ 480010 h 992562"/>
              <a:gd name="connsiteX580" fmla="*/ 515263 w 1008862"/>
              <a:gd name="connsiteY580" fmla="*/ 429930 h 992562"/>
              <a:gd name="connsiteX581" fmla="*/ 519263 w 1008862"/>
              <a:gd name="connsiteY581" fmla="*/ 416170 h 992562"/>
              <a:gd name="connsiteX582" fmla="*/ 520383 w 1008862"/>
              <a:gd name="connsiteY582" fmla="*/ 404490 h 992562"/>
              <a:gd name="connsiteX583" fmla="*/ 520383 w 1008862"/>
              <a:gd name="connsiteY583" fmla="*/ 404330 h 992562"/>
              <a:gd name="connsiteX584" fmla="*/ 531263 w 1008862"/>
              <a:gd name="connsiteY584" fmla="*/ 405610 h 992562"/>
              <a:gd name="connsiteX585" fmla="*/ 539743 w 1008862"/>
              <a:gd name="connsiteY585" fmla="*/ 406090 h 992562"/>
              <a:gd name="connsiteX586" fmla="*/ 522143 w 1008862"/>
              <a:gd name="connsiteY586" fmla="*/ 432810 h 992562"/>
              <a:gd name="connsiteX587" fmla="*/ 514463 w 1008862"/>
              <a:gd name="connsiteY587" fmla="*/ 439850 h 992562"/>
              <a:gd name="connsiteX588" fmla="*/ 511583 w 1008862"/>
              <a:gd name="connsiteY588" fmla="*/ 442410 h 992562"/>
              <a:gd name="connsiteX589" fmla="*/ 515263 w 1008862"/>
              <a:gd name="connsiteY589" fmla="*/ 429930 h 992562"/>
              <a:gd name="connsiteX590" fmla="*/ 534143 w 1008862"/>
              <a:gd name="connsiteY590" fmla="*/ 419530 h 992562"/>
              <a:gd name="connsiteX591" fmla="*/ 543263 w 1008862"/>
              <a:gd name="connsiteY591" fmla="*/ 406250 h 992562"/>
              <a:gd name="connsiteX592" fmla="*/ 543263 w 1008862"/>
              <a:gd name="connsiteY592" fmla="*/ 406250 h 992562"/>
              <a:gd name="connsiteX593" fmla="*/ 553183 w 1008862"/>
              <a:gd name="connsiteY593" fmla="*/ 406890 h 992562"/>
              <a:gd name="connsiteX594" fmla="*/ 552863 w 1008862"/>
              <a:gd name="connsiteY594" fmla="*/ 407050 h 992562"/>
              <a:gd name="connsiteX595" fmla="*/ 533343 w 1008862"/>
              <a:gd name="connsiteY595" fmla="*/ 422730 h 992562"/>
              <a:gd name="connsiteX596" fmla="*/ 531583 w 1008862"/>
              <a:gd name="connsiteY596" fmla="*/ 424170 h 992562"/>
              <a:gd name="connsiteX597" fmla="*/ 534143 w 1008862"/>
              <a:gd name="connsiteY597" fmla="*/ 419530 h 992562"/>
              <a:gd name="connsiteX598" fmla="*/ 589183 w 1008862"/>
              <a:gd name="connsiteY598" fmla="*/ 387370 h 992562"/>
              <a:gd name="connsiteX599" fmla="*/ 581503 w 1008862"/>
              <a:gd name="connsiteY599" fmla="*/ 389450 h 992562"/>
              <a:gd name="connsiteX600" fmla="*/ 555423 w 1008862"/>
              <a:gd name="connsiteY600" fmla="*/ 396010 h 992562"/>
              <a:gd name="connsiteX601" fmla="*/ 553343 w 1008862"/>
              <a:gd name="connsiteY601" fmla="*/ 398570 h 992562"/>
              <a:gd name="connsiteX602" fmla="*/ 552223 w 1008862"/>
              <a:gd name="connsiteY602" fmla="*/ 398730 h 992562"/>
              <a:gd name="connsiteX603" fmla="*/ 532383 w 1008862"/>
              <a:gd name="connsiteY603" fmla="*/ 397450 h 992562"/>
              <a:gd name="connsiteX604" fmla="*/ 509343 w 1008862"/>
              <a:gd name="connsiteY604" fmla="*/ 393130 h 992562"/>
              <a:gd name="connsiteX605" fmla="*/ 485183 w 1008862"/>
              <a:gd name="connsiteY605" fmla="*/ 386730 h 992562"/>
              <a:gd name="connsiteX606" fmla="*/ 462783 w 1008862"/>
              <a:gd name="connsiteY606" fmla="*/ 379050 h 992562"/>
              <a:gd name="connsiteX607" fmla="*/ 442303 w 1008862"/>
              <a:gd name="connsiteY607" fmla="*/ 368970 h 992562"/>
              <a:gd name="connsiteX608" fmla="*/ 422783 w 1008862"/>
              <a:gd name="connsiteY608" fmla="*/ 356970 h 992562"/>
              <a:gd name="connsiteX609" fmla="*/ 414943 w 1008862"/>
              <a:gd name="connsiteY609" fmla="*/ 348170 h 992562"/>
              <a:gd name="connsiteX610" fmla="*/ 414623 w 1008862"/>
              <a:gd name="connsiteY610" fmla="*/ 347530 h 992562"/>
              <a:gd name="connsiteX611" fmla="*/ 414303 w 1008862"/>
              <a:gd name="connsiteY611" fmla="*/ 346250 h 992562"/>
              <a:gd name="connsiteX612" fmla="*/ 414303 w 1008862"/>
              <a:gd name="connsiteY612" fmla="*/ 345610 h 992562"/>
              <a:gd name="connsiteX613" fmla="*/ 413983 w 1008862"/>
              <a:gd name="connsiteY613" fmla="*/ 344170 h 992562"/>
              <a:gd name="connsiteX614" fmla="*/ 413983 w 1008862"/>
              <a:gd name="connsiteY614" fmla="*/ 341610 h 992562"/>
              <a:gd name="connsiteX615" fmla="*/ 424223 w 1008862"/>
              <a:gd name="connsiteY615" fmla="*/ 334090 h 992562"/>
              <a:gd name="connsiteX616" fmla="*/ 450143 w 1008862"/>
              <a:gd name="connsiteY616" fmla="*/ 329290 h 992562"/>
              <a:gd name="connsiteX617" fmla="*/ 474623 w 1008862"/>
              <a:gd name="connsiteY617" fmla="*/ 328490 h 992562"/>
              <a:gd name="connsiteX618" fmla="*/ 479423 w 1008862"/>
              <a:gd name="connsiteY618" fmla="*/ 330250 h 992562"/>
              <a:gd name="connsiteX619" fmla="*/ 482463 w 1008862"/>
              <a:gd name="connsiteY619" fmla="*/ 328490 h 992562"/>
              <a:gd name="connsiteX620" fmla="*/ 507583 w 1008862"/>
              <a:gd name="connsiteY620" fmla="*/ 330250 h 992562"/>
              <a:gd name="connsiteX621" fmla="*/ 559103 w 1008862"/>
              <a:gd name="connsiteY621" fmla="*/ 346250 h 992562"/>
              <a:gd name="connsiteX622" fmla="*/ 581983 w 1008862"/>
              <a:gd name="connsiteY622" fmla="*/ 359530 h 992562"/>
              <a:gd name="connsiteX623" fmla="*/ 592383 w 1008862"/>
              <a:gd name="connsiteY623" fmla="*/ 382890 h 992562"/>
              <a:gd name="connsiteX624" fmla="*/ 589183 w 1008862"/>
              <a:gd name="connsiteY624" fmla="*/ 387370 h 992562"/>
              <a:gd name="connsiteX625" fmla="*/ 484223 w 1008862"/>
              <a:gd name="connsiteY625" fmla="*/ 314250 h 992562"/>
              <a:gd name="connsiteX626" fmla="*/ 479423 w 1008862"/>
              <a:gd name="connsiteY626" fmla="*/ 318250 h 992562"/>
              <a:gd name="connsiteX627" fmla="*/ 478623 w 1008862"/>
              <a:gd name="connsiteY627" fmla="*/ 319370 h 992562"/>
              <a:gd name="connsiteX628" fmla="*/ 473343 w 1008862"/>
              <a:gd name="connsiteY628" fmla="*/ 319370 h 992562"/>
              <a:gd name="connsiteX629" fmla="*/ 449663 w 1008862"/>
              <a:gd name="connsiteY629" fmla="*/ 321290 h 992562"/>
              <a:gd name="connsiteX630" fmla="*/ 426303 w 1008862"/>
              <a:gd name="connsiteY630" fmla="*/ 325770 h 992562"/>
              <a:gd name="connsiteX631" fmla="*/ 429823 w 1008862"/>
              <a:gd name="connsiteY631" fmla="*/ 320170 h 992562"/>
              <a:gd name="connsiteX632" fmla="*/ 441663 w 1008862"/>
              <a:gd name="connsiteY632" fmla="*/ 306250 h 992562"/>
              <a:gd name="connsiteX633" fmla="*/ 451583 w 1008862"/>
              <a:gd name="connsiteY633" fmla="*/ 293770 h 992562"/>
              <a:gd name="connsiteX634" fmla="*/ 459263 w 1008862"/>
              <a:gd name="connsiteY634" fmla="*/ 284010 h 992562"/>
              <a:gd name="connsiteX635" fmla="*/ 468223 w 1008862"/>
              <a:gd name="connsiteY635" fmla="*/ 270090 h 992562"/>
              <a:gd name="connsiteX636" fmla="*/ 485183 w 1008862"/>
              <a:gd name="connsiteY636" fmla="*/ 242730 h 992562"/>
              <a:gd name="connsiteX637" fmla="*/ 500063 w 1008862"/>
              <a:gd name="connsiteY637" fmla="*/ 210570 h 992562"/>
              <a:gd name="connsiteX638" fmla="*/ 509983 w 1008862"/>
              <a:gd name="connsiteY638" fmla="*/ 180010 h 992562"/>
              <a:gd name="connsiteX639" fmla="*/ 514943 w 1008862"/>
              <a:gd name="connsiteY639" fmla="*/ 154090 h 992562"/>
              <a:gd name="connsiteX640" fmla="*/ 515903 w 1008862"/>
              <a:gd name="connsiteY640" fmla="*/ 143210 h 992562"/>
              <a:gd name="connsiteX641" fmla="*/ 516703 w 1008862"/>
              <a:gd name="connsiteY641" fmla="*/ 144170 h 992562"/>
              <a:gd name="connsiteX642" fmla="*/ 516863 w 1008862"/>
              <a:gd name="connsiteY642" fmla="*/ 144330 h 992562"/>
              <a:gd name="connsiteX643" fmla="*/ 521023 w 1008862"/>
              <a:gd name="connsiteY643" fmla="*/ 159690 h 992562"/>
              <a:gd name="connsiteX644" fmla="*/ 524863 w 1008862"/>
              <a:gd name="connsiteY644" fmla="*/ 191850 h 992562"/>
              <a:gd name="connsiteX645" fmla="*/ 522623 w 1008862"/>
              <a:gd name="connsiteY645" fmla="*/ 226250 h 992562"/>
              <a:gd name="connsiteX646" fmla="*/ 504863 w 1008862"/>
              <a:gd name="connsiteY646" fmla="*/ 284010 h 992562"/>
              <a:gd name="connsiteX647" fmla="*/ 492703 w 1008862"/>
              <a:gd name="connsiteY647" fmla="*/ 304490 h 992562"/>
              <a:gd name="connsiteX648" fmla="*/ 484223 w 1008862"/>
              <a:gd name="connsiteY648" fmla="*/ 314250 h 992562"/>
              <a:gd name="connsiteX649" fmla="*/ 512383 w 1008862"/>
              <a:gd name="connsiteY649" fmla="*/ 134890 h 992562"/>
              <a:gd name="connsiteX650" fmla="*/ 512223 w 1008862"/>
              <a:gd name="connsiteY650" fmla="*/ 139690 h 992562"/>
              <a:gd name="connsiteX651" fmla="*/ 510623 w 1008862"/>
              <a:gd name="connsiteY651" fmla="*/ 149610 h 992562"/>
              <a:gd name="connsiteX652" fmla="*/ 508063 w 1008862"/>
              <a:gd name="connsiteY652" fmla="*/ 162890 h 992562"/>
              <a:gd name="connsiteX653" fmla="*/ 505183 w 1008862"/>
              <a:gd name="connsiteY653" fmla="*/ 175690 h 992562"/>
              <a:gd name="connsiteX654" fmla="*/ 501343 w 1008862"/>
              <a:gd name="connsiteY654" fmla="*/ 188970 h 992562"/>
              <a:gd name="connsiteX655" fmla="*/ 496063 w 1008862"/>
              <a:gd name="connsiteY655" fmla="*/ 204010 h 992562"/>
              <a:gd name="connsiteX656" fmla="*/ 481823 w 1008862"/>
              <a:gd name="connsiteY656" fmla="*/ 235850 h 992562"/>
              <a:gd name="connsiteX657" fmla="*/ 474143 w 1008862"/>
              <a:gd name="connsiteY657" fmla="*/ 248490 h 992562"/>
              <a:gd name="connsiteX658" fmla="*/ 464863 w 1008862"/>
              <a:gd name="connsiteY658" fmla="*/ 264010 h 992562"/>
              <a:gd name="connsiteX659" fmla="*/ 457503 w 1008862"/>
              <a:gd name="connsiteY659" fmla="*/ 274730 h 992562"/>
              <a:gd name="connsiteX660" fmla="*/ 453823 w 1008862"/>
              <a:gd name="connsiteY660" fmla="*/ 280970 h 992562"/>
              <a:gd name="connsiteX661" fmla="*/ 449023 w 1008862"/>
              <a:gd name="connsiteY661" fmla="*/ 285610 h 992562"/>
              <a:gd name="connsiteX662" fmla="*/ 441343 w 1008862"/>
              <a:gd name="connsiteY662" fmla="*/ 296810 h 992562"/>
              <a:gd name="connsiteX663" fmla="*/ 429503 w 1008862"/>
              <a:gd name="connsiteY663" fmla="*/ 310890 h 992562"/>
              <a:gd name="connsiteX664" fmla="*/ 421663 w 1008862"/>
              <a:gd name="connsiteY664" fmla="*/ 320650 h 992562"/>
              <a:gd name="connsiteX665" fmla="*/ 417183 w 1008862"/>
              <a:gd name="connsiteY665" fmla="*/ 329610 h 992562"/>
              <a:gd name="connsiteX666" fmla="*/ 413503 w 1008862"/>
              <a:gd name="connsiteY666" fmla="*/ 331690 h 992562"/>
              <a:gd name="connsiteX667" fmla="*/ 411423 w 1008862"/>
              <a:gd name="connsiteY667" fmla="*/ 333290 h 992562"/>
              <a:gd name="connsiteX668" fmla="*/ 404383 w 1008862"/>
              <a:gd name="connsiteY668" fmla="*/ 338570 h 992562"/>
              <a:gd name="connsiteX669" fmla="*/ 406623 w 1008862"/>
              <a:gd name="connsiteY669" fmla="*/ 355050 h 992562"/>
              <a:gd name="connsiteX670" fmla="*/ 406943 w 1008862"/>
              <a:gd name="connsiteY670" fmla="*/ 355690 h 992562"/>
              <a:gd name="connsiteX671" fmla="*/ 406623 w 1008862"/>
              <a:gd name="connsiteY671" fmla="*/ 364010 h 992562"/>
              <a:gd name="connsiteX672" fmla="*/ 403903 w 1008862"/>
              <a:gd name="connsiteY672" fmla="*/ 383370 h 992562"/>
              <a:gd name="connsiteX673" fmla="*/ 399903 w 1008862"/>
              <a:gd name="connsiteY673" fmla="*/ 405770 h 992562"/>
              <a:gd name="connsiteX674" fmla="*/ 397183 w 1008862"/>
              <a:gd name="connsiteY674" fmla="*/ 433930 h 992562"/>
              <a:gd name="connsiteX675" fmla="*/ 392383 w 1008862"/>
              <a:gd name="connsiteY675" fmla="*/ 426890 h 992562"/>
              <a:gd name="connsiteX676" fmla="*/ 366783 w 1008862"/>
              <a:gd name="connsiteY676" fmla="*/ 400970 h 992562"/>
              <a:gd name="connsiteX677" fmla="*/ 367583 w 1008862"/>
              <a:gd name="connsiteY677" fmla="*/ 382890 h 992562"/>
              <a:gd name="connsiteX678" fmla="*/ 380863 w 1008862"/>
              <a:gd name="connsiteY678" fmla="*/ 335690 h 992562"/>
              <a:gd name="connsiteX679" fmla="*/ 427423 w 1008862"/>
              <a:gd name="connsiteY679" fmla="*/ 250890 h 992562"/>
              <a:gd name="connsiteX680" fmla="*/ 479583 w 1008862"/>
              <a:gd name="connsiteY680" fmla="*/ 173450 h 992562"/>
              <a:gd name="connsiteX681" fmla="*/ 488703 w 1008862"/>
              <a:gd name="connsiteY681" fmla="*/ 152650 h 992562"/>
              <a:gd name="connsiteX682" fmla="*/ 498143 w 1008862"/>
              <a:gd name="connsiteY682" fmla="*/ 131690 h 992562"/>
              <a:gd name="connsiteX683" fmla="*/ 501183 w 1008862"/>
              <a:gd name="connsiteY683" fmla="*/ 118570 h 992562"/>
              <a:gd name="connsiteX684" fmla="*/ 501983 w 1008862"/>
              <a:gd name="connsiteY684" fmla="*/ 107850 h 992562"/>
              <a:gd name="connsiteX685" fmla="*/ 505343 w 1008862"/>
              <a:gd name="connsiteY685" fmla="*/ 114890 h 992562"/>
              <a:gd name="connsiteX686" fmla="*/ 511903 w 1008862"/>
              <a:gd name="connsiteY686" fmla="*/ 129610 h 992562"/>
              <a:gd name="connsiteX687" fmla="*/ 512703 w 1008862"/>
              <a:gd name="connsiteY687" fmla="*/ 131690 h 992562"/>
              <a:gd name="connsiteX688" fmla="*/ 512383 w 1008862"/>
              <a:gd name="connsiteY688" fmla="*/ 134890 h 992562"/>
              <a:gd name="connsiteX689" fmla="*/ 496703 w 1008862"/>
              <a:gd name="connsiteY689" fmla="*/ 121610 h 992562"/>
              <a:gd name="connsiteX690" fmla="*/ 487263 w 1008862"/>
              <a:gd name="connsiteY690" fmla="*/ 145290 h 992562"/>
              <a:gd name="connsiteX691" fmla="*/ 476223 w 1008862"/>
              <a:gd name="connsiteY691" fmla="*/ 169450 h 992562"/>
              <a:gd name="connsiteX692" fmla="*/ 461503 w 1008862"/>
              <a:gd name="connsiteY692" fmla="*/ 191370 h 992562"/>
              <a:gd name="connsiteX693" fmla="*/ 448383 w 1008862"/>
              <a:gd name="connsiteY693" fmla="*/ 212010 h 992562"/>
              <a:gd name="connsiteX694" fmla="*/ 418303 w 1008862"/>
              <a:gd name="connsiteY694" fmla="*/ 256010 h 992562"/>
              <a:gd name="connsiteX695" fmla="*/ 390623 w 1008862"/>
              <a:gd name="connsiteY695" fmla="*/ 303530 h 992562"/>
              <a:gd name="connsiteX696" fmla="*/ 369983 w 1008862"/>
              <a:gd name="connsiteY696" fmla="*/ 350410 h 992562"/>
              <a:gd name="connsiteX697" fmla="*/ 363103 w 1008862"/>
              <a:gd name="connsiteY697" fmla="*/ 377130 h 992562"/>
              <a:gd name="connsiteX698" fmla="*/ 361983 w 1008862"/>
              <a:gd name="connsiteY698" fmla="*/ 391050 h 992562"/>
              <a:gd name="connsiteX699" fmla="*/ 361663 w 1008862"/>
              <a:gd name="connsiteY699" fmla="*/ 397130 h 992562"/>
              <a:gd name="connsiteX700" fmla="*/ 356863 w 1008862"/>
              <a:gd name="connsiteY700" fmla="*/ 394090 h 992562"/>
              <a:gd name="connsiteX701" fmla="*/ 358783 w 1008862"/>
              <a:gd name="connsiteY701" fmla="*/ 386410 h 992562"/>
              <a:gd name="connsiteX702" fmla="*/ 358463 w 1008862"/>
              <a:gd name="connsiteY702" fmla="*/ 360650 h 992562"/>
              <a:gd name="connsiteX703" fmla="*/ 358463 w 1008862"/>
              <a:gd name="connsiteY703" fmla="*/ 360490 h 992562"/>
              <a:gd name="connsiteX704" fmla="*/ 368383 w 1008862"/>
              <a:gd name="connsiteY704" fmla="*/ 305610 h 992562"/>
              <a:gd name="connsiteX705" fmla="*/ 383583 w 1008862"/>
              <a:gd name="connsiteY705" fmla="*/ 271370 h 992562"/>
              <a:gd name="connsiteX706" fmla="*/ 395263 w 1008862"/>
              <a:gd name="connsiteY706" fmla="*/ 256650 h 992562"/>
              <a:gd name="connsiteX707" fmla="*/ 405663 w 1008862"/>
              <a:gd name="connsiteY707" fmla="*/ 241770 h 992562"/>
              <a:gd name="connsiteX708" fmla="*/ 449023 w 1008862"/>
              <a:gd name="connsiteY708" fmla="*/ 182410 h 992562"/>
              <a:gd name="connsiteX709" fmla="*/ 458943 w 1008862"/>
              <a:gd name="connsiteY709" fmla="*/ 167690 h 992562"/>
              <a:gd name="connsiteX710" fmla="*/ 465983 w 1008862"/>
              <a:gd name="connsiteY710" fmla="*/ 154890 h 992562"/>
              <a:gd name="connsiteX711" fmla="*/ 476543 w 1008862"/>
              <a:gd name="connsiteY711" fmla="*/ 130890 h 992562"/>
              <a:gd name="connsiteX712" fmla="*/ 489503 w 1008862"/>
              <a:gd name="connsiteY712" fmla="*/ 118890 h 992562"/>
              <a:gd name="connsiteX713" fmla="*/ 498623 w 1008862"/>
              <a:gd name="connsiteY713" fmla="*/ 110410 h 992562"/>
              <a:gd name="connsiteX714" fmla="*/ 496703 w 1008862"/>
              <a:gd name="connsiteY714" fmla="*/ 121610 h 992562"/>
              <a:gd name="connsiteX715" fmla="*/ 443423 w 1008862"/>
              <a:gd name="connsiteY715" fmla="*/ 514410 h 992562"/>
              <a:gd name="connsiteX716" fmla="*/ 442783 w 1008862"/>
              <a:gd name="connsiteY716" fmla="*/ 512970 h 992562"/>
              <a:gd name="connsiteX717" fmla="*/ 434943 w 1008862"/>
              <a:gd name="connsiteY717" fmla="*/ 495850 h 992562"/>
              <a:gd name="connsiteX718" fmla="*/ 437023 w 1008862"/>
              <a:gd name="connsiteY718" fmla="*/ 495370 h 992562"/>
              <a:gd name="connsiteX719" fmla="*/ 442623 w 1008862"/>
              <a:gd name="connsiteY719" fmla="*/ 495050 h 992562"/>
              <a:gd name="connsiteX720" fmla="*/ 445343 w 1008862"/>
              <a:gd name="connsiteY720" fmla="*/ 495050 h 992562"/>
              <a:gd name="connsiteX721" fmla="*/ 454303 w 1008862"/>
              <a:gd name="connsiteY721" fmla="*/ 505610 h 992562"/>
              <a:gd name="connsiteX722" fmla="*/ 450143 w 1008862"/>
              <a:gd name="connsiteY722" fmla="*/ 508810 h 992562"/>
              <a:gd name="connsiteX723" fmla="*/ 444863 w 1008862"/>
              <a:gd name="connsiteY723" fmla="*/ 512810 h 992562"/>
              <a:gd name="connsiteX724" fmla="*/ 443423 w 1008862"/>
              <a:gd name="connsiteY724" fmla="*/ 514410 h 992562"/>
              <a:gd name="connsiteX725" fmla="*/ 445823 w 1008862"/>
              <a:gd name="connsiteY725" fmla="*/ 519370 h 992562"/>
              <a:gd name="connsiteX726" fmla="*/ 449663 w 1008862"/>
              <a:gd name="connsiteY726" fmla="*/ 514890 h 992562"/>
              <a:gd name="connsiteX727" fmla="*/ 452063 w 1008862"/>
              <a:gd name="connsiteY727" fmla="*/ 512810 h 992562"/>
              <a:gd name="connsiteX728" fmla="*/ 453343 w 1008862"/>
              <a:gd name="connsiteY728" fmla="*/ 511690 h 992562"/>
              <a:gd name="connsiteX729" fmla="*/ 457663 w 1008862"/>
              <a:gd name="connsiteY729" fmla="*/ 507850 h 992562"/>
              <a:gd name="connsiteX730" fmla="*/ 457663 w 1008862"/>
              <a:gd name="connsiteY730" fmla="*/ 507850 h 992562"/>
              <a:gd name="connsiteX731" fmla="*/ 465023 w 1008862"/>
              <a:gd name="connsiteY731" fmla="*/ 510570 h 992562"/>
              <a:gd name="connsiteX732" fmla="*/ 461823 w 1008862"/>
              <a:gd name="connsiteY732" fmla="*/ 516170 h 992562"/>
              <a:gd name="connsiteX733" fmla="*/ 454303 w 1008862"/>
              <a:gd name="connsiteY733" fmla="*/ 532490 h 992562"/>
              <a:gd name="connsiteX734" fmla="*/ 450943 w 1008862"/>
              <a:gd name="connsiteY734" fmla="*/ 542250 h 992562"/>
              <a:gd name="connsiteX735" fmla="*/ 450143 w 1008862"/>
              <a:gd name="connsiteY735" fmla="*/ 536650 h 992562"/>
              <a:gd name="connsiteX736" fmla="*/ 445343 w 1008862"/>
              <a:gd name="connsiteY736" fmla="*/ 519530 h 992562"/>
              <a:gd name="connsiteX737" fmla="*/ 445823 w 1008862"/>
              <a:gd name="connsiteY737" fmla="*/ 519370 h 992562"/>
              <a:gd name="connsiteX738" fmla="*/ 506623 w 1008862"/>
              <a:gd name="connsiteY738" fmla="*/ 544650 h 992562"/>
              <a:gd name="connsiteX739" fmla="*/ 509983 w 1008862"/>
              <a:gd name="connsiteY739" fmla="*/ 533610 h 992562"/>
              <a:gd name="connsiteX740" fmla="*/ 516063 w 1008862"/>
              <a:gd name="connsiteY740" fmla="*/ 523370 h 992562"/>
              <a:gd name="connsiteX741" fmla="*/ 529183 w 1008862"/>
              <a:gd name="connsiteY741" fmla="*/ 500330 h 992562"/>
              <a:gd name="connsiteX742" fmla="*/ 566943 w 1008862"/>
              <a:gd name="connsiteY742" fmla="*/ 456330 h 992562"/>
              <a:gd name="connsiteX743" fmla="*/ 568383 w 1008862"/>
              <a:gd name="connsiteY743" fmla="*/ 455050 h 992562"/>
              <a:gd name="connsiteX744" fmla="*/ 569183 w 1008862"/>
              <a:gd name="connsiteY744" fmla="*/ 454410 h 992562"/>
              <a:gd name="connsiteX745" fmla="*/ 569343 w 1008862"/>
              <a:gd name="connsiteY745" fmla="*/ 454250 h 992562"/>
              <a:gd name="connsiteX746" fmla="*/ 612863 w 1008862"/>
              <a:gd name="connsiteY746" fmla="*/ 425130 h 992562"/>
              <a:gd name="connsiteX747" fmla="*/ 636383 w 1008862"/>
              <a:gd name="connsiteY747" fmla="*/ 417450 h 992562"/>
              <a:gd name="connsiteX748" fmla="*/ 664223 w 1008862"/>
              <a:gd name="connsiteY748" fmla="*/ 413610 h 992562"/>
              <a:gd name="connsiteX749" fmla="*/ 679423 w 1008862"/>
              <a:gd name="connsiteY749" fmla="*/ 414410 h 992562"/>
              <a:gd name="connsiteX750" fmla="*/ 664543 w 1008862"/>
              <a:gd name="connsiteY750" fmla="*/ 419850 h 992562"/>
              <a:gd name="connsiteX751" fmla="*/ 632543 w 1008862"/>
              <a:gd name="connsiteY751" fmla="*/ 434090 h 992562"/>
              <a:gd name="connsiteX752" fmla="*/ 603103 w 1008862"/>
              <a:gd name="connsiteY752" fmla="*/ 451370 h 992562"/>
              <a:gd name="connsiteX753" fmla="*/ 573823 w 1008862"/>
              <a:gd name="connsiteY753" fmla="*/ 478570 h 992562"/>
              <a:gd name="connsiteX754" fmla="*/ 526143 w 1008862"/>
              <a:gd name="connsiteY754" fmla="*/ 536490 h 992562"/>
              <a:gd name="connsiteX755" fmla="*/ 507583 w 1008862"/>
              <a:gd name="connsiteY755" fmla="*/ 570570 h 992562"/>
              <a:gd name="connsiteX756" fmla="*/ 499903 w 1008862"/>
              <a:gd name="connsiteY756" fmla="*/ 586730 h 992562"/>
              <a:gd name="connsiteX757" fmla="*/ 497503 w 1008862"/>
              <a:gd name="connsiteY757" fmla="*/ 594890 h 992562"/>
              <a:gd name="connsiteX758" fmla="*/ 497023 w 1008862"/>
              <a:gd name="connsiteY758" fmla="*/ 594570 h 992562"/>
              <a:gd name="connsiteX759" fmla="*/ 506623 w 1008862"/>
              <a:gd name="connsiteY759" fmla="*/ 544650 h 992562"/>
              <a:gd name="connsiteX760" fmla="*/ 506623 w 1008862"/>
              <a:gd name="connsiteY760" fmla="*/ 583850 h 992562"/>
              <a:gd name="connsiteX761" fmla="*/ 523903 w 1008862"/>
              <a:gd name="connsiteY761" fmla="*/ 550570 h 992562"/>
              <a:gd name="connsiteX762" fmla="*/ 572223 w 1008862"/>
              <a:gd name="connsiteY762" fmla="*/ 488810 h 992562"/>
              <a:gd name="connsiteX763" fmla="*/ 598463 w 1008862"/>
              <a:gd name="connsiteY763" fmla="*/ 462890 h 992562"/>
              <a:gd name="connsiteX764" fmla="*/ 611423 w 1008862"/>
              <a:gd name="connsiteY764" fmla="*/ 451690 h 992562"/>
              <a:gd name="connsiteX765" fmla="*/ 629023 w 1008862"/>
              <a:gd name="connsiteY765" fmla="*/ 441930 h 992562"/>
              <a:gd name="connsiteX766" fmla="*/ 662463 w 1008862"/>
              <a:gd name="connsiteY766" fmla="*/ 426890 h 992562"/>
              <a:gd name="connsiteX767" fmla="*/ 679263 w 1008862"/>
              <a:gd name="connsiteY767" fmla="*/ 420970 h 992562"/>
              <a:gd name="connsiteX768" fmla="*/ 694143 w 1008862"/>
              <a:gd name="connsiteY768" fmla="*/ 417290 h 992562"/>
              <a:gd name="connsiteX769" fmla="*/ 695423 w 1008862"/>
              <a:gd name="connsiteY769" fmla="*/ 416970 h 992562"/>
              <a:gd name="connsiteX770" fmla="*/ 701343 w 1008862"/>
              <a:gd name="connsiteY770" fmla="*/ 417610 h 992562"/>
              <a:gd name="connsiteX771" fmla="*/ 716543 w 1008862"/>
              <a:gd name="connsiteY771" fmla="*/ 422090 h 992562"/>
              <a:gd name="connsiteX772" fmla="*/ 742143 w 1008862"/>
              <a:gd name="connsiteY772" fmla="*/ 430250 h 992562"/>
              <a:gd name="connsiteX773" fmla="*/ 741343 w 1008862"/>
              <a:gd name="connsiteY773" fmla="*/ 430570 h 992562"/>
              <a:gd name="connsiteX774" fmla="*/ 722623 w 1008862"/>
              <a:gd name="connsiteY774" fmla="*/ 439850 h 992562"/>
              <a:gd name="connsiteX775" fmla="*/ 687423 w 1008862"/>
              <a:gd name="connsiteY775" fmla="*/ 453770 h 992562"/>
              <a:gd name="connsiteX776" fmla="*/ 618143 w 1008862"/>
              <a:gd name="connsiteY776" fmla="*/ 492010 h 992562"/>
              <a:gd name="connsiteX777" fmla="*/ 588863 w 1008862"/>
              <a:gd name="connsiteY777" fmla="*/ 516970 h 992562"/>
              <a:gd name="connsiteX778" fmla="*/ 561343 w 1008862"/>
              <a:gd name="connsiteY778" fmla="*/ 543210 h 992562"/>
              <a:gd name="connsiteX779" fmla="*/ 534303 w 1008862"/>
              <a:gd name="connsiteY779" fmla="*/ 572650 h 992562"/>
              <a:gd name="connsiteX780" fmla="*/ 521823 w 1008862"/>
              <a:gd name="connsiteY780" fmla="*/ 587690 h 992562"/>
              <a:gd name="connsiteX781" fmla="*/ 509183 w 1008862"/>
              <a:gd name="connsiteY781" fmla="*/ 601290 h 992562"/>
              <a:gd name="connsiteX782" fmla="*/ 501183 w 1008862"/>
              <a:gd name="connsiteY782" fmla="*/ 596490 h 992562"/>
              <a:gd name="connsiteX783" fmla="*/ 506623 w 1008862"/>
              <a:gd name="connsiteY783" fmla="*/ 583850 h 992562"/>
              <a:gd name="connsiteX784" fmla="*/ 533983 w 1008862"/>
              <a:gd name="connsiteY784" fmla="*/ 581610 h 992562"/>
              <a:gd name="connsiteX785" fmla="*/ 561023 w 1008862"/>
              <a:gd name="connsiteY785" fmla="*/ 552170 h 992562"/>
              <a:gd name="connsiteX786" fmla="*/ 617983 w 1008862"/>
              <a:gd name="connsiteY786" fmla="*/ 500010 h 992562"/>
              <a:gd name="connsiteX787" fmla="*/ 685343 w 1008862"/>
              <a:gd name="connsiteY787" fmla="*/ 461290 h 992562"/>
              <a:gd name="connsiteX788" fmla="*/ 720383 w 1008862"/>
              <a:gd name="connsiteY788" fmla="*/ 447690 h 992562"/>
              <a:gd name="connsiteX789" fmla="*/ 753983 w 1008862"/>
              <a:gd name="connsiteY789" fmla="*/ 433930 h 992562"/>
              <a:gd name="connsiteX790" fmla="*/ 767903 w 1008862"/>
              <a:gd name="connsiteY790" fmla="*/ 438090 h 992562"/>
              <a:gd name="connsiteX791" fmla="*/ 784543 w 1008862"/>
              <a:gd name="connsiteY791" fmla="*/ 444010 h 992562"/>
              <a:gd name="connsiteX792" fmla="*/ 783583 w 1008862"/>
              <a:gd name="connsiteY792" fmla="*/ 444010 h 992562"/>
              <a:gd name="connsiteX793" fmla="*/ 763583 w 1008862"/>
              <a:gd name="connsiteY793" fmla="*/ 446890 h 992562"/>
              <a:gd name="connsiteX794" fmla="*/ 749023 w 1008862"/>
              <a:gd name="connsiteY794" fmla="*/ 452650 h 992562"/>
              <a:gd name="connsiteX795" fmla="*/ 729503 w 1008862"/>
              <a:gd name="connsiteY795" fmla="*/ 462250 h 992562"/>
              <a:gd name="connsiteX796" fmla="*/ 688863 w 1008862"/>
              <a:gd name="connsiteY796" fmla="*/ 484810 h 992562"/>
              <a:gd name="connsiteX797" fmla="*/ 671903 w 1008862"/>
              <a:gd name="connsiteY797" fmla="*/ 497130 h 992562"/>
              <a:gd name="connsiteX798" fmla="*/ 653183 w 1008862"/>
              <a:gd name="connsiteY798" fmla="*/ 510730 h 992562"/>
              <a:gd name="connsiteX799" fmla="*/ 581343 w 1008862"/>
              <a:gd name="connsiteY799" fmla="*/ 561130 h 992562"/>
              <a:gd name="connsiteX800" fmla="*/ 565023 w 1008862"/>
              <a:gd name="connsiteY800" fmla="*/ 573770 h 992562"/>
              <a:gd name="connsiteX801" fmla="*/ 546943 w 1008862"/>
              <a:gd name="connsiteY801" fmla="*/ 588970 h 992562"/>
              <a:gd name="connsiteX802" fmla="*/ 520063 w 1008862"/>
              <a:gd name="connsiteY802" fmla="*/ 608970 h 992562"/>
              <a:gd name="connsiteX803" fmla="*/ 513183 w 1008862"/>
              <a:gd name="connsiteY803" fmla="*/ 604010 h 992562"/>
              <a:gd name="connsiteX804" fmla="*/ 533983 w 1008862"/>
              <a:gd name="connsiteY804" fmla="*/ 581610 h 992562"/>
              <a:gd name="connsiteX805" fmla="*/ 543423 w 1008862"/>
              <a:gd name="connsiteY805" fmla="*/ 599050 h 992562"/>
              <a:gd name="connsiteX806" fmla="*/ 577663 w 1008862"/>
              <a:gd name="connsiteY806" fmla="*/ 571210 h 992562"/>
              <a:gd name="connsiteX807" fmla="*/ 613663 w 1008862"/>
              <a:gd name="connsiteY807" fmla="*/ 545130 h 992562"/>
              <a:gd name="connsiteX808" fmla="*/ 649983 w 1008862"/>
              <a:gd name="connsiteY808" fmla="*/ 520970 h 992562"/>
              <a:gd name="connsiteX809" fmla="*/ 683263 w 1008862"/>
              <a:gd name="connsiteY809" fmla="*/ 496490 h 992562"/>
              <a:gd name="connsiteX810" fmla="*/ 723743 w 1008862"/>
              <a:gd name="connsiteY810" fmla="*/ 472330 h 992562"/>
              <a:gd name="connsiteX811" fmla="*/ 761023 w 1008862"/>
              <a:gd name="connsiteY811" fmla="*/ 455050 h 992562"/>
              <a:gd name="connsiteX812" fmla="*/ 781823 w 1008862"/>
              <a:gd name="connsiteY812" fmla="*/ 451050 h 992562"/>
              <a:gd name="connsiteX813" fmla="*/ 791263 w 1008862"/>
              <a:gd name="connsiteY813" fmla="*/ 450570 h 992562"/>
              <a:gd name="connsiteX814" fmla="*/ 795743 w 1008862"/>
              <a:gd name="connsiteY814" fmla="*/ 450090 h 992562"/>
              <a:gd name="connsiteX815" fmla="*/ 816383 w 1008862"/>
              <a:gd name="connsiteY815" fmla="*/ 461450 h 992562"/>
              <a:gd name="connsiteX816" fmla="*/ 822143 w 1008862"/>
              <a:gd name="connsiteY816" fmla="*/ 463690 h 992562"/>
              <a:gd name="connsiteX817" fmla="*/ 819103 w 1008862"/>
              <a:gd name="connsiteY817" fmla="*/ 464170 h 992562"/>
              <a:gd name="connsiteX818" fmla="*/ 799903 w 1008862"/>
              <a:gd name="connsiteY818" fmla="*/ 469610 h 992562"/>
              <a:gd name="connsiteX819" fmla="*/ 782623 w 1008862"/>
              <a:gd name="connsiteY819" fmla="*/ 479050 h 992562"/>
              <a:gd name="connsiteX820" fmla="*/ 762303 w 1008862"/>
              <a:gd name="connsiteY820" fmla="*/ 490890 h 992562"/>
              <a:gd name="connsiteX821" fmla="*/ 745503 w 1008862"/>
              <a:gd name="connsiteY821" fmla="*/ 502410 h 992562"/>
              <a:gd name="connsiteX822" fmla="*/ 725183 w 1008862"/>
              <a:gd name="connsiteY822" fmla="*/ 515210 h 992562"/>
              <a:gd name="connsiteX823" fmla="*/ 707103 w 1008862"/>
              <a:gd name="connsiteY823" fmla="*/ 526890 h 992562"/>
              <a:gd name="connsiteX824" fmla="*/ 688863 w 1008862"/>
              <a:gd name="connsiteY824" fmla="*/ 540490 h 992562"/>
              <a:gd name="connsiteX825" fmla="*/ 672703 w 1008862"/>
              <a:gd name="connsiteY825" fmla="*/ 552810 h 992562"/>
              <a:gd name="connsiteX826" fmla="*/ 655423 w 1008862"/>
              <a:gd name="connsiteY826" fmla="*/ 567690 h 992562"/>
              <a:gd name="connsiteX827" fmla="*/ 612703 w 1008862"/>
              <a:gd name="connsiteY827" fmla="*/ 590890 h 992562"/>
              <a:gd name="connsiteX828" fmla="*/ 569983 w 1008862"/>
              <a:gd name="connsiteY828" fmla="*/ 604490 h 992562"/>
              <a:gd name="connsiteX829" fmla="*/ 548863 w 1008862"/>
              <a:gd name="connsiteY829" fmla="*/ 608810 h 992562"/>
              <a:gd name="connsiteX830" fmla="*/ 526463 w 1008862"/>
              <a:gd name="connsiteY830" fmla="*/ 614570 h 992562"/>
              <a:gd name="connsiteX831" fmla="*/ 523903 w 1008862"/>
              <a:gd name="connsiteY831" fmla="*/ 612490 h 992562"/>
              <a:gd name="connsiteX832" fmla="*/ 543423 w 1008862"/>
              <a:gd name="connsiteY832" fmla="*/ 599050 h 992562"/>
              <a:gd name="connsiteX833" fmla="*/ 544383 w 1008862"/>
              <a:gd name="connsiteY833" fmla="*/ 616650 h 992562"/>
              <a:gd name="connsiteX834" fmla="*/ 569023 w 1008862"/>
              <a:gd name="connsiteY834" fmla="*/ 610890 h 992562"/>
              <a:gd name="connsiteX835" fmla="*/ 612703 w 1008862"/>
              <a:gd name="connsiteY835" fmla="*/ 597610 h 992562"/>
              <a:gd name="connsiteX836" fmla="*/ 653183 w 1008862"/>
              <a:gd name="connsiteY836" fmla="*/ 576490 h 992562"/>
              <a:gd name="connsiteX837" fmla="*/ 688863 w 1008862"/>
              <a:gd name="connsiteY837" fmla="*/ 548170 h 992562"/>
              <a:gd name="connsiteX838" fmla="*/ 725183 w 1008862"/>
              <a:gd name="connsiteY838" fmla="*/ 522730 h 992562"/>
              <a:gd name="connsiteX839" fmla="*/ 764223 w 1008862"/>
              <a:gd name="connsiteY839" fmla="*/ 496970 h 992562"/>
              <a:gd name="connsiteX840" fmla="*/ 782463 w 1008862"/>
              <a:gd name="connsiteY840" fmla="*/ 485930 h 992562"/>
              <a:gd name="connsiteX841" fmla="*/ 803903 w 1008862"/>
              <a:gd name="connsiteY841" fmla="*/ 473930 h 992562"/>
              <a:gd name="connsiteX842" fmla="*/ 828063 w 1008862"/>
              <a:gd name="connsiteY842" fmla="*/ 468010 h 992562"/>
              <a:gd name="connsiteX843" fmla="*/ 832703 w 1008862"/>
              <a:gd name="connsiteY843" fmla="*/ 467530 h 992562"/>
              <a:gd name="connsiteX844" fmla="*/ 860543 w 1008862"/>
              <a:gd name="connsiteY844" fmla="*/ 480170 h 992562"/>
              <a:gd name="connsiteX845" fmla="*/ 878943 w 1008862"/>
              <a:gd name="connsiteY845" fmla="*/ 488170 h 992562"/>
              <a:gd name="connsiteX846" fmla="*/ 861503 w 1008862"/>
              <a:gd name="connsiteY846" fmla="*/ 496490 h 992562"/>
              <a:gd name="connsiteX847" fmla="*/ 822463 w 1008862"/>
              <a:gd name="connsiteY847" fmla="*/ 525450 h 992562"/>
              <a:gd name="connsiteX848" fmla="*/ 780863 w 1008862"/>
              <a:gd name="connsiteY848" fmla="*/ 554410 h 992562"/>
              <a:gd name="connsiteX849" fmla="*/ 733823 w 1008862"/>
              <a:gd name="connsiteY849" fmla="*/ 577770 h 992562"/>
              <a:gd name="connsiteX850" fmla="*/ 687263 w 1008862"/>
              <a:gd name="connsiteY850" fmla="*/ 596330 h 992562"/>
              <a:gd name="connsiteX851" fmla="*/ 634463 w 1008862"/>
              <a:gd name="connsiteY851" fmla="*/ 604170 h 992562"/>
              <a:gd name="connsiteX852" fmla="*/ 608543 w 1008862"/>
              <a:gd name="connsiteY852" fmla="*/ 609770 h 992562"/>
              <a:gd name="connsiteX853" fmla="*/ 583903 w 1008862"/>
              <a:gd name="connsiteY853" fmla="*/ 615370 h 992562"/>
              <a:gd name="connsiteX854" fmla="*/ 555423 w 1008862"/>
              <a:gd name="connsiteY854" fmla="*/ 617290 h 992562"/>
              <a:gd name="connsiteX855" fmla="*/ 550783 w 1008862"/>
              <a:gd name="connsiteY855" fmla="*/ 617450 h 992562"/>
              <a:gd name="connsiteX856" fmla="*/ 549183 w 1008862"/>
              <a:gd name="connsiteY856" fmla="*/ 617450 h 992562"/>
              <a:gd name="connsiteX857" fmla="*/ 545343 w 1008862"/>
              <a:gd name="connsiteY857" fmla="*/ 617610 h 992562"/>
              <a:gd name="connsiteX858" fmla="*/ 539743 w 1008862"/>
              <a:gd name="connsiteY858" fmla="*/ 617770 h 992562"/>
              <a:gd name="connsiteX859" fmla="*/ 544383 w 1008862"/>
              <a:gd name="connsiteY859" fmla="*/ 616650 h 992562"/>
              <a:gd name="connsiteX860" fmla="*/ 830783 w 1008862"/>
              <a:gd name="connsiteY860" fmla="*/ 454730 h 992562"/>
              <a:gd name="connsiteX861" fmla="*/ 852543 w 1008862"/>
              <a:gd name="connsiteY861" fmla="*/ 449450 h 992562"/>
              <a:gd name="connsiteX862" fmla="*/ 878783 w 1008862"/>
              <a:gd name="connsiteY862" fmla="*/ 437610 h 992562"/>
              <a:gd name="connsiteX863" fmla="*/ 886783 w 1008862"/>
              <a:gd name="connsiteY863" fmla="*/ 431370 h 992562"/>
              <a:gd name="connsiteX864" fmla="*/ 916223 w 1008862"/>
              <a:gd name="connsiteY864" fmla="*/ 428650 h 992562"/>
              <a:gd name="connsiteX865" fmla="*/ 911103 w 1008862"/>
              <a:gd name="connsiteY865" fmla="*/ 431530 h 992562"/>
              <a:gd name="connsiteX866" fmla="*/ 901823 w 1008862"/>
              <a:gd name="connsiteY866" fmla="*/ 437770 h 992562"/>
              <a:gd name="connsiteX867" fmla="*/ 889023 w 1008862"/>
              <a:gd name="connsiteY867" fmla="*/ 444330 h 992562"/>
              <a:gd name="connsiteX868" fmla="*/ 865343 w 1008862"/>
              <a:gd name="connsiteY868" fmla="*/ 457930 h 992562"/>
              <a:gd name="connsiteX869" fmla="*/ 847743 w 1008862"/>
              <a:gd name="connsiteY869" fmla="*/ 461770 h 992562"/>
              <a:gd name="connsiteX870" fmla="*/ 830783 w 1008862"/>
              <a:gd name="connsiteY870" fmla="*/ 454730 h 992562"/>
              <a:gd name="connsiteX871" fmla="*/ 872223 w 1008862"/>
              <a:gd name="connsiteY871" fmla="*/ 435370 h 992562"/>
              <a:gd name="connsiteX872" fmla="*/ 850783 w 1008862"/>
              <a:gd name="connsiteY872" fmla="*/ 444330 h 992562"/>
              <a:gd name="connsiteX873" fmla="*/ 829183 w 1008862"/>
              <a:gd name="connsiteY873" fmla="*/ 449290 h 992562"/>
              <a:gd name="connsiteX874" fmla="*/ 820543 w 1008862"/>
              <a:gd name="connsiteY874" fmla="*/ 450410 h 992562"/>
              <a:gd name="connsiteX875" fmla="*/ 806783 w 1008862"/>
              <a:gd name="connsiteY875" fmla="*/ 443210 h 992562"/>
              <a:gd name="connsiteX876" fmla="*/ 794943 w 1008862"/>
              <a:gd name="connsiteY876" fmla="*/ 436490 h 992562"/>
              <a:gd name="connsiteX877" fmla="*/ 799903 w 1008862"/>
              <a:gd name="connsiteY877" fmla="*/ 434570 h 992562"/>
              <a:gd name="connsiteX878" fmla="*/ 805183 w 1008862"/>
              <a:gd name="connsiteY878" fmla="*/ 434410 h 992562"/>
              <a:gd name="connsiteX879" fmla="*/ 826303 w 1008862"/>
              <a:gd name="connsiteY879" fmla="*/ 432490 h 992562"/>
              <a:gd name="connsiteX880" fmla="*/ 876863 w 1008862"/>
              <a:gd name="connsiteY880" fmla="*/ 431690 h 992562"/>
              <a:gd name="connsiteX881" fmla="*/ 878623 w 1008862"/>
              <a:gd name="connsiteY881" fmla="*/ 431690 h 992562"/>
              <a:gd name="connsiteX882" fmla="*/ 872223 w 1008862"/>
              <a:gd name="connsiteY882" fmla="*/ 435370 h 992562"/>
              <a:gd name="connsiteX883" fmla="*/ 829983 w 1008862"/>
              <a:gd name="connsiteY883" fmla="*/ 422890 h 992562"/>
              <a:gd name="connsiteX884" fmla="*/ 808543 w 1008862"/>
              <a:gd name="connsiteY884" fmla="*/ 425450 h 992562"/>
              <a:gd name="connsiteX885" fmla="*/ 787583 w 1008862"/>
              <a:gd name="connsiteY885" fmla="*/ 430890 h 992562"/>
              <a:gd name="connsiteX886" fmla="*/ 784703 w 1008862"/>
              <a:gd name="connsiteY886" fmla="*/ 431690 h 992562"/>
              <a:gd name="connsiteX887" fmla="*/ 777983 w 1008862"/>
              <a:gd name="connsiteY887" fmla="*/ 429290 h 992562"/>
              <a:gd name="connsiteX888" fmla="*/ 787903 w 1008862"/>
              <a:gd name="connsiteY888" fmla="*/ 419370 h 992562"/>
              <a:gd name="connsiteX889" fmla="*/ 806303 w 1008862"/>
              <a:gd name="connsiteY889" fmla="*/ 401450 h 992562"/>
              <a:gd name="connsiteX890" fmla="*/ 829183 w 1008862"/>
              <a:gd name="connsiteY890" fmla="*/ 383370 h 992562"/>
              <a:gd name="connsiteX891" fmla="*/ 839903 w 1008862"/>
              <a:gd name="connsiteY891" fmla="*/ 375850 h 992562"/>
              <a:gd name="connsiteX892" fmla="*/ 847903 w 1008862"/>
              <a:gd name="connsiteY892" fmla="*/ 370730 h 992562"/>
              <a:gd name="connsiteX893" fmla="*/ 881503 w 1008862"/>
              <a:gd name="connsiteY893" fmla="*/ 380490 h 992562"/>
              <a:gd name="connsiteX894" fmla="*/ 874303 w 1008862"/>
              <a:gd name="connsiteY894" fmla="*/ 383690 h 992562"/>
              <a:gd name="connsiteX895" fmla="*/ 857183 w 1008862"/>
              <a:gd name="connsiteY895" fmla="*/ 395690 h 992562"/>
              <a:gd name="connsiteX896" fmla="*/ 841823 w 1008862"/>
              <a:gd name="connsiteY896" fmla="*/ 409290 h 992562"/>
              <a:gd name="connsiteX897" fmla="*/ 834783 w 1008862"/>
              <a:gd name="connsiteY897" fmla="*/ 416490 h 992562"/>
              <a:gd name="connsiteX898" fmla="*/ 829983 w 1008862"/>
              <a:gd name="connsiteY898" fmla="*/ 422890 h 992562"/>
              <a:gd name="connsiteX899" fmla="*/ 833823 w 1008862"/>
              <a:gd name="connsiteY899" fmla="*/ 374570 h 992562"/>
              <a:gd name="connsiteX900" fmla="*/ 809503 w 1008862"/>
              <a:gd name="connsiteY900" fmla="*/ 391370 h 992562"/>
              <a:gd name="connsiteX901" fmla="*/ 788543 w 1008862"/>
              <a:gd name="connsiteY901" fmla="*/ 409610 h 992562"/>
              <a:gd name="connsiteX902" fmla="*/ 770783 w 1008862"/>
              <a:gd name="connsiteY902" fmla="*/ 426570 h 992562"/>
              <a:gd name="connsiteX903" fmla="*/ 770303 w 1008862"/>
              <a:gd name="connsiteY903" fmla="*/ 426890 h 992562"/>
              <a:gd name="connsiteX904" fmla="*/ 769983 w 1008862"/>
              <a:gd name="connsiteY904" fmla="*/ 427050 h 992562"/>
              <a:gd name="connsiteX905" fmla="*/ 757183 w 1008862"/>
              <a:gd name="connsiteY905" fmla="*/ 423530 h 992562"/>
              <a:gd name="connsiteX906" fmla="*/ 754943 w 1008862"/>
              <a:gd name="connsiteY906" fmla="*/ 422890 h 992562"/>
              <a:gd name="connsiteX907" fmla="*/ 757343 w 1008862"/>
              <a:gd name="connsiteY907" fmla="*/ 416170 h 992562"/>
              <a:gd name="connsiteX908" fmla="*/ 759583 w 1008862"/>
              <a:gd name="connsiteY908" fmla="*/ 406890 h 992562"/>
              <a:gd name="connsiteX909" fmla="*/ 761503 w 1008862"/>
              <a:gd name="connsiteY909" fmla="*/ 404170 h 992562"/>
              <a:gd name="connsiteX910" fmla="*/ 765023 w 1008862"/>
              <a:gd name="connsiteY910" fmla="*/ 397930 h 992562"/>
              <a:gd name="connsiteX911" fmla="*/ 772863 w 1008862"/>
              <a:gd name="connsiteY911" fmla="*/ 388490 h 992562"/>
              <a:gd name="connsiteX912" fmla="*/ 795903 w 1008862"/>
              <a:gd name="connsiteY912" fmla="*/ 367850 h 992562"/>
              <a:gd name="connsiteX913" fmla="*/ 816063 w 1008862"/>
              <a:gd name="connsiteY913" fmla="*/ 366570 h 992562"/>
              <a:gd name="connsiteX914" fmla="*/ 827423 w 1008862"/>
              <a:gd name="connsiteY914" fmla="*/ 368010 h 992562"/>
              <a:gd name="connsiteX915" fmla="*/ 829983 w 1008862"/>
              <a:gd name="connsiteY915" fmla="*/ 368330 h 992562"/>
              <a:gd name="connsiteX916" fmla="*/ 836063 w 1008862"/>
              <a:gd name="connsiteY916" fmla="*/ 369130 h 992562"/>
              <a:gd name="connsiteX917" fmla="*/ 841823 w 1008862"/>
              <a:gd name="connsiteY917" fmla="*/ 369930 h 992562"/>
              <a:gd name="connsiteX918" fmla="*/ 833823 w 1008862"/>
              <a:gd name="connsiteY918" fmla="*/ 374570 h 992562"/>
              <a:gd name="connsiteX919" fmla="*/ 915583 w 1008862"/>
              <a:gd name="connsiteY919" fmla="*/ 243530 h 992562"/>
              <a:gd name="connsiteX920" fmla="*/ 948703 w 1008862"/>
              <a:gd name="connsiteY920" fmla="*/ 250570 h 992562"/>
              <a:gd name="connsiteX921" fmla="*/ 944703 w 1008862"/>
              <a:gd name="connsiteY921" fmla="*/ 251690 h 992562"/>
              <a:gd name="connsiteX922" fmla="*/ 917343 w 1008862"/>
              <a:gd name="connsiteY922" fmla="*/ 262890 h 992562"/>
              <a:gd name="connsiteX923" fmla="*/ 863263 w 1008862"/>
              <a:gd name="connsiteY923" fmla="*/ 291050 h 992562"/>
              <a:gd name="connsiteX924" fmla="*/ 853503 w 1008862"/>
              <a:gd name="connsiteY924" fmla="*/ 296810 h 992562"/>
              <a:gd name="connsiteX925" fmla="*/ 841503 w 1008862"/>
              <a:gd name="connsiteY925" fmla="*/ 302410 h 992562"/>
              <a:gd name="connsiteX926" fmla="*/ 818143 w 1008862"/>
              <a:gd name="connsiteY926" fmla="*/ 320490 h 992562"/>
              <a:gd name="connsiteX927" fmla="*/ 797343 w 1008862"/>
              <a:gd name="connsiteY927" fmla="*/ 332170 h 992562"/>
              <a:gd name="connsiteX928" fmla="*/ 804703 w 1008862"/>
              <a:gd name="connsiteY928" fmla="*/ 314890 h 992562"/>
              <a:gd name="connsiteX929" fmla="*/ 806303 w 1008862"/>
              <a:gd name="connsiteY929" fmla="*/ 309930 h 992562"/>
              <a:gd name="connsiteX930" fmla="*/ 808703 w 1008862"/>
              <a:gd name="connsiteY930" fmla="*/ 304970 h 992562"/>
              <a:gd name="connsiteX931" fmla="*/ 826463 w 1008862"/>
              <a:gd name="connsiteY931" fmla="*/ 287530 h 992562"/>
              <a:gd name="connsiteX932" fmla="*/ 854303 w 1008862"/>
              <a:gd name="connsiteY932" fmla="*/ 266090 h 992562"/>
              <a:gd name="connsiteX933" fmla="*/ 886783 w 1008862"/>
              <a:gd name="connsiteY933" fmla="*/ 250570 h 992562"/>
              <a:gd name="connsiteX934" fmla="*/ 915583 w 1008862"/>
              <a:gd name="connsiteY934" fmla="*/ 243530 h 992562"/>
              <a:gd name="connsiteX935" fmla="*/ 827743 w 1008862"/>
              <a:gd name="connsiteY935" fmla="*/ 235530 h 992562"/>
              <a:gd name="connsiteX936" fmla="*/ 855903 w 1008862"/>
              <a:gd name="connsiteY936" fmla="*/ 234730 h 992562"/>
              <a:gd name="connsiteX937" fmla="*/ 842463 w 1008862"/>
              <a:gd name="connsiteY937" fmla="*/ 241770 h 992562"/>
              <a:gd name="connsiteX938" fmla="*/ 825023 w 1008862"/>
              <a:gd name="connsiteY938" fmla="*/ 256010 h 992562"/>
              <a:gd name="connsiteX939" fmla="*/ 827743 w 1008862"/>
              <a:gd name="connsiteY939" fmla="*/ 235530 h 992562"/>
              <a:gd name="connsiteX940" fmla="*/ 823103 w 1008862"/>
              <a:gd name="connsiteY940" fmla="*/ 265930 h 992562"/>
              <a:gd name="connsiteX941" fmla="*/ 829183 w 1008862"/>
              <a:gd name="connsiteY941" fmla="*/ 258410 h 992562"/>
              <a:gd name="connsiteX942" fmla="*/ 845503 w 1008862"/>
              <a:gd name="connsiteY942" fmla="*/ 246410 h 992562"/>
              <a:gd name="connsiteX943" fmla="*/ 862303 w 1008862"/>
              <a:gd name="connsiteY943" fmla="*/ 238250 h 992562"/>
              <a:gd name="connsiteX944" fmla="*/ 868703 w 1008862"/>
              <a:gd name="connsiteY944" fmla="*/ 236490 h 992562"/>
              <a:gd name="connsiteX945" fmla="*/ 887263 w 1008862"/>
              <a:gd name="connsiteY945" fmla="*/ 239530 h 992562"/>
              <a:gd name="connsiteX946" fmla="*/ 899263 w 1008862"/>
              <a:gd name="connsiteY946" fmla="*/ 240650 h 992562"/>
              <a:gd name="connsiteX947" fmla="*/ 854623 w 1008862"/>
              <a:gd name="connsiteY947" fmla="*/ 259050 h 992562"/>
              <a:gd name="connsiteX948" fmla="*/ 826783 w 1008862"/>
              <a:gd name="connsiteY948" fmla="*/ 279530 h 992562"/>
              <a:gd name="connsiteX949" fmla="*/ 814623 w 1008862"/>
              <a:gd name="connsiteY949" fmla="*/ 292170 h 992562"/>
              <a:gd name="connsiteX950" fmla="*/ 818303 w 1008862"/>
              <a:gd name="connsiteY950" fmla="*/ 282730 h 992562"/>
              <a:gd name="connsiteX951" fmla="*/ 823103 w 1008862"/>
              <a:gd name="connsiteY951" fmla="*/ 265930 h 992562"/>
              <a:gd name="connsiteX952" fmla="*/ 807743 w 1008862"/>
              <a:gd name="connsiteY952" fmla="*/ 112970 h 992562"/>
              <a:gd name="connsiteX953" fmla="*/ 808543 w 1008862"/>
              <a:gd name="connsiteY953" fmla="*/ 112650 h 992562"/>
              <a:gd name="connsiteX954" fmla="*/ 808703 w 1008862"/>
              <a:gd name="connsiteY954" fmla="*/ 113610 h 992562"/>
              <a:gd name="connsiteX955" fmla="*/ 809023 w 1008862"/>
              <a:gd name="connsiteY955" fmla="*/ 128170 h 992562"/>
              <a:gd name="connsiteX956" fmla="*/ 809823 w 1008862"/>
              <a:gd name="connsiteY956" fmla="*/ 148490 h 992562"/>
              <a:gd name="connsiteX957" fmla="*/ 809343 w 1008862"/>
              <a:gd name="connsiteY957" fmla="*/ 156330 h 992562"/>
              <a:gd name="connsiteX958" fmla="*/ 809983 w 1008862"/>
              <a:gd name="connsiteY958" fmla="*/ 173290 h 992562"/>
              <a:gd name="connsiteX959" fmla="*/ 810623 w 1008862"/>
              <a:gd name="connsiteY959" fmla="*/ 205770 h 992562"/>
              <a:gd name="connsiteX960" fmla="*/ 805023 w 1008862"/>
              <a:gd name="connsiteY960" fmla="*/ 228810 h 992562"/>
              <a:gd name="connsiteX961" fmla="*/ 783103 w 1008862"/>
              <a:gd name="connsiteY961" fmla="*/ 272170 h 992562"/>
              <a:gd name="connsiteX962" fmla="*/ 755423 w 1008862"/>
              <a:gd name="connsiteY962" fmla="*/ 312970 h 992562"/>
              <a:gd name="connsiteX963" fmla="*/ 740383 w 1008862"/>
              <a:gd name="connsiteY963" fmla="*/ 329930 h 992562"/>
              <a:gd name="connsiteX964" fmla="*/ 730783 w 1008862"/>
              <a:gd name="connsiteY964" fmla="*/ 335530 h 992562"/>
              <a:gd name="connsiteX965" fmla="*/ 726783 w 1008862"/>
              <a:gd name="connsiteY965" fmla="*/ 337450 h 992562"/>
              <a:gd name="connsiteX966" fmla="*/ 717663 w 1008862"/>
              <a:gd name="connsiteY966" fmla="*/ 340010 h 992562"/>
              <a:gd name="connsiteX967" fmla="*/ 705823 w 1008862"/>
              <a:gd name="connsiteY967" fmla="*/ 342570 h 992562"/>
              <a:gd name="connsiteX968" fmla="*/ 692543 w 1008862"/>
              <a:gd name="connsiteY968" fmla="*/ 346250 h 992562"/>
              <a:gd name="connsiteX969" fmla="*/ 681663 w 1008862"/>
              <a:gd name="connsiteY969" fmla="*/ 349450 h 992562"/>
              <a:gd name="connsiteX970" fmla="*/ 673023 w 1008862"/>
              <a:gd name="connsiteY970" fmla="*/ 352330 h 992562"/>
              <a:gd name="connsiteX971" fmla="*/ 682623 w 1008862"/>
              <a:gd name="connsiteY971" fmla="*/ 340170 h 992562"/>
              <a:gd name="connsiteX972" fmla="*/ 696223 w 1008862"/>
              <a:gd name="connsiteY972" fmla="*/ 322090 h 992562"/>
              <a:gd name="connsiteX973" fmla="*/ 717983 w 1008862"/>
              <a:gd name="connsiteY973" fmla="*/ 288170 h 992562"/>
              <a:gd name="connsiteX974" fmla="*/ 742943 w 1008862"/>
              <a:gd name="connsiteY974" fmla="*/ 253450 h 992562"/>
              <a:gd name="connsiteX975" fmla="*/ 787423 w 1008862"/>
              <a:gd name="connsiteY975" fmla="*/ 180010 h 992562"/>
              <a:gd name="connsiteX976" fmla="*/ 802623 w 1008862"/>
              <a:gd name="connsiteY976" fmla="*/ 144650 h 992562"/>
              <a:gd name="connsiteX977" fmla="*/ 806783 w 1008862"/>
              <a:gd name="connsiteY977" fmla="*/ 126410 h 992562"/>
              <a:gd name="connsiteX978" fmla="*/ 807743 w 1008862"/>
              <a:gd name="connsiteY978" fmla="*/ 112970 h 992562"/>
              <a:gd name="connsiteX979" fmla="*/ 748383 w 1008862"/>
              <a:gd name="connsiteY979" fmla="*/ 134730 h 992562"/>
              <a:gd name="connsiteX980" fmla="*/ 751423 w 1008862"/>
              <a:gd name="connsiteY980" fmla="*/ 129770 h 992562"/>
              <a:gd name="connsiteX981" fmla="*/ 782143 w 1008862"/>
              <a:gd name="connsiteY981" fmla="*/ 119690 h 992562"/>
              <a:gd name="connsiteX982" fmla="*/ 801983 w 1008862"/>
              <a:gd name="connsiteY982" fmla="*/ 114410 h 992562"/>
              <a:gd name="connsiteX983" fmla="*/ 805343 w 1008862"/>
              <a:gd name="connsiteY983" fmla="*/ 113770 h 992562"/>
              <a:gd name="connsiteX984" fmla="*/ 803743 w 1008862"/>
              <a:gd name="connsiteY984" fmla="*/ 121290 h 992562"/>
              <a:gd name="connsiteX985" fmla="*/ 798943 w 1008862"/>
              <a:gd name="connsiteY985" fmla="*/ 139850 h 992562"/>
              <a:gd name="connsiteX986" fmla="*/ 782943 w 1008862"/>
              <a:gd name="connsiteY986" fmla="*/ 175210 h 992562"/>
              <a:gd name="connsiteX987" fmla="*/ 739103 w 1008862"/>
              <a:gd name="connsiteY987" fmla="*/ 247210 h 992562"/>
              <a:gd name="connsiteX988" fmla="*/ 694943 w 1008862"/>
              <a:gd name="connsiteY988" fmla="*/ 310890 h 992562"/>
              <a:gd name="connsiteX989" fmla="*/ 683103 w 1008862"/>
              <a:gd name="connsiteY989" fmla="*/ 327050 h 992562"/>
              <a:gd name="connsiteX990" fmla="*/ 671583 w 1008862"/>
              <a:gd name="connsiteY990" fmla="*/ 343050 h 992562"/>
              <a:gd name="connsiteX991" fmla="*/ 658783 w 1008862"/>
              <a:gd name="connsiteY991" fmla="*/ 356810 h 992562"/>
              <a:gd name="connsiteX992" fmla="*/ 655423 w 1008862"/>
              <a:gd name="connsiteY992" fmla="*/ 359530 h 992562"/>
              <a:gd name="connsiteX993" fmla="*/ 620383 w 1008862"/>
              <a:gd name="connsiteY993" fmla="*/ 378090 h 992562"/>
              <a:gd name="connsiteX994" fmla="*/ 601023 w 1008862"/>
              <a:gd name="connsiteY994" fmla="*/ 386250 h 992562"/>
              <a:gd name="connsiteX995" fmla="*/ 601663 w 1008862"/>
              <a:gd name="connsiteY995" fmla="*/ 378090 h 992562"/>
              <a:gd name="connsiteX996" fmla="*/ 625823 w 1008862"/>
              <a:gd name="connsiteY996" fmla="*/ 356010 h 992562"/>
              <a:gd name="connsiteX997" fmla="*/ 652703 w 1008862"/>
              <a:gd name="connsiteY997" fmla="*/ 325930 h 992562"/>
              <a:gd name="connsiteX998" fmla="*/ 674463 w 1008862"/>
              <a:gd name="connsiteY998" fmla="*/ 295370 h 992562"/>
              <a:gd name="connsiteX999" fmla="*/ 692543 w 1008862"/>
              <a:gd name="connsiteY999" fmla="*/ 259210 h 992562"/>
              <a:gd name="connsiteX1000" fmla="*/ 709503 w 1008862"/>
              <a:gd name="connsiteY1000" fmla="*/ 228170 h 992562"/>
              <a:gd name="connsiteX1001" fmla="*/ 722463 w 1008862"/>
              <a:gd name="connsiteY1001" fmla="*/ 194570 h 992562"/>
              <a:gd name="connsiteX1002" fmla="*/ 728863 w 1008862"/>
              <a:gd name="connsiteY1002" fmla="*/ 177770 h 992562"/>
              <a:gd name="connsiteX1003" fmla="*/ 736063 w 1008862"/>
              <a:gd name="connsiteY1003" fmla="*/ 160810 h 992562"/>
              <a:gd name="connsiteX1004" fmla="*/ 743263 w 1008862"/>
              <a:gd name="connsiteY1004" fmla="*/ 142410 h 992562"/>
              <a:gd name="connsiteX1005" fmla="*/ 748383 w 1008862"/>
              <a:gd name="connsiteY1005" fmla="*/ 134730 h 992562"/>
              <a:gd name="connsiteX1006" fmla="*/ 681183 w 1008862"/>
              <a:gd name="connsiteY1006" fmla="*/ 167690 h 992562"/>
              <a:gd name="connsiteX1007" fmla="*/ 699423 w 1008862"/>
              <a:gd name="connsiteY1007" fmla="*/ 155370 h 992562"/>
              <a:gd name="connsiteX1008" fmla="*/ 738303 w 1008862"/>
              <a:gd name="connsiteY1008" fmla="*/ 134890 h 992562"/>
              <a:gd name="connsiteX1009" fmla="*/ 741823 w 1008862"/>
              <a:gd name="connsiteY1009" fmla="*/ 133290 h 992562"/>
              <a:gd name="connsiteX1010" fmla="*/ 735583 w 1008862"/>
              <a:gd name="connsiteY1010" fmla="*/ 145450 h 992562"/>
              <a:gd name="connsiteX1011" fmla="*/ 729663 w 1008862"/>
              <a:gd name="connsiteY1011" fmla="*/ 161770 h 992562"/>
              <a:gd name="connsiteX1012" fmla="*/ 721983 w 1008862"/>
              <a:gd name="connsiteY1012" fmla="*/ 179850 h 992562"/>
              <a:gd name="connsiteX1013" fmla="*/ 709183 w 1008862"/>
              <a:gd name="connsiteY1013" fmla="*/ 212170 h 992562"/>
              <a:gd name="connsiteX1014" fmla="*/ 693183 w 1008862"/>
              <a:gd name="connsiteY1014" fmla="*/ 247530 h 992562"/>
              <a:gd name="connsiteX1015" fmla="*/ 674623 w 1008862"/>
              <a:gd name="connsiteY1015" fmla="*/ 282570 h 992562"/>
              <a:gd name="connsiteX1016" fmla="*/ 651423 w 1008862"/>
              <a:gd name="connsiteY1016" fmla="*/ 318410 h 992562"/>
              <a:gd name="connsiteX1017" fmla="*/ 601183 w 1008862"/>
              <a:gd name="connsiteY1017" fmla="*/ 373930 h 992562"/>
              <a:gd name="connsiteX1018" fmla="*/ 600383 w 1008862"/>
              <a:gd name="connsiteY1018" fmla="*/ 370250 h 992562"/>
              <a:gd name="connsiteX1019" fmla="*/ 599903 w 1008862"/>
              <a:gd name="connsiteY1019" fmla="*/ 368330 h 992562"/>
              <a:gd name="connsiteX1020" fmla="*/ 608063 w 1008862"/>
              <a:gd name="connsiteY1020" fmla="*/ 349930 h 992562"/>
              <a:gd name="connsiteX1021" fmla="*/ 617663 w 1008862"/>
              <a:gd name="connsiteY1021" fmla="*/ 324490 h 992562"/>
              <a:gd name="connsiteX1022" fmla="*/ 642143 w 1008862"/>
              <a:gd name="connsiteY1022" fmla="*/ 270890 h 992562"/>
              <a:gd name="connsiteX1023" fmla="*/ 652863 w 1008862"/>
              <a:gd name="connsiteY1023" fmla="*/ 246090 h 992562"/>
              <a:gd name="connsiteX1024" fmla="*/ 663583 w 1008862"/>
              <a:gd name="connsiteY1024" fmla="*/ 219210 h 992562"/>
              <a:gd name="connsiteX1025" fmla="*/ 673183 w 1008862"/>
              <a:gd name="connsiteY1025" fmla="*/ 194570 h 992562"/>
              <a:gd name="connsiteX1026" fmla="*/ 677823 w 1008862"/>
              <a:gd name="connsiteY1026" fmla="*/ 180170 h 992562"/>
              <a:gd name="connsiteX1027" fmla="*/ 681183 w 1008862"/>
              <a:gd name="connsiteY1027" fmla="*/ 167690 h 992562"/>
              <a:gd name="connsiteX1028" fmla="*/ 657663 w 1008862"/>
              <a:gd name="connsiteY1028" fmla="*/ 182730 h 992562"/>
              <a:gd name="connsiteX1029" fmla="*/ 675583 w 1008862"/>
              <a:gd name="connsiteY1029" fmla="*/ 171530 h 992562"/>
              <a:gd name="connsiteX1030" fmla="*/ 670463 w 1008862"/>
              <a:gd name="connsiteY1030" fmla="*/ 186570 h 992562"/>
              <a:gd name="connsiteX1031" fmla="*/ 660543 w 1008862"/>
              <a:gd name="connsiteY1031" fmla="*/ 212810 h 992562"/>
              <a:gd name="connsiteX1032" fmla="*/ 649663 w 1008862"/>
              <a:gd name="connsiteY1032" fmla="*/ 236490 h 992562"/>
              <a:gd name="connsiteX1033" fmla="*/ 637823 w 1008862"/>
              <a:gd name="connsiteY1033" fmla="*/ 266090 h 992562"/>
              <a:gd name="connsiteX1034" fmla="*/ 613823 w 1008862"/>
              <a:gd name="connsiteY1034" fmla="*/ 317610 h 992562"/>
              <a:gd name="connsiteX1035" fmla="*/ 596863 w 1008862"/>
              <a:gd name="connsiteY1035" fmla="*/ 361450 h 992562"/>
              <a:gd name="connsiteX1036" fmla="*/ 579743 w 1008862"/>
              <a:gd name="connsiteY1036" fmla="*/ 346730 h 992562"/>
              <a:gd name="connsiteX1037" fmla="*/ 579583 w 1008862"/>
              <a:gd name="connsiteY1037" fmla="*/ 344170 h 992562"/>
              <a:gd name="connsiteX1038" fmla="*/ 581183 w 1008862"/>
              <a:gd name="connsiteY1038" fmla="*/ 333930 h 992562"/>
              <a:gd name="connsiteX1039" fmla="*/ 583263 w 1008862"/>
              <a:gd name="connsiteY1039" fmla="*/ 322410 h 992562"/>
              <a:gd name="connsiteX1040" fmla="*/ 599103 w 1008862"/>
              <a:gd name="connsiteY1040" fmla="*/ 277610 h 992562"/>
              <a:gd name="connsiteX1041" fmla="*/ 619583 w 1008862"/>
              <a:gd name="connsiteY1041" fmla="*/ 232330 h 992562"/>
              <a:gd name="connsiteX1042" fmla="*/ 630783 w 1008862"/>
              <a:gd name="connsiteY1042" fmla="*/ 209610 h 992562"/>
              <a:gd name="connsiteX1043" fmla="*/ 635583 w 1008862"/>
              <a:gd name="connsiteY1043" fmla="*/ 199690 h 992562"/>
              <a:gd name="connsiteX1044" fmla="*/ 639103 w 1008862"/>
              <a:gd name="connsiteY1044" fmla="*/ 192490 h 992562"/>
              <a:gd name="connsiteX1045" fmla="*/ 657663 w 1008862"/>
              <a:gd name="connsiteY1045" fmla="*/ 182730 h 992562"/>
              <a:gd name="connsiteX1046" fmla="*/ 632383 w 1008862"/>
              <a:gd name="connsiteY1046" fmla="*/ 157450 h 992562"/>
              <a:gd name="connsiteX1047" fmla="*/ 636703 w 1008862"/>
              <a:gd name="connsiteY1047" fmla="*/ 160170 h 992562"/>
              <a:gd name="connsiteX1048" fmla="*/ 652863 w 1008862"/>
              <a:gd name="connsiteY1048" fmla="*/ 174410 h 992562"/>
              <a:gd name="connsiteX1049" fmla="*/ 645023 w 1008862"/>
              <a:gd name="connsiteY1049" fmla="*/ 178570 h 992562"/>
              <a:gd name="connsiteX1050" fmla="*/ 633023 w 1008862"/>
              <a:gd name="connsiteY1050" fmla="*/ 185450 h 992562"/>
              <a:gd name="connsiteX1051" fmla="*/ 634143 w 1008862"/>
              <a:gd name="connsiteY1051" fmla="*/ 173290 h 992562"/>
              <a:gd name="connsiteX1052" fmla="*/ 632383 w 1008862"/>
              <a:gd name="connsiteY1052" fmla="*/ 157450 h 992562"/>
              <a:gd name="connsiteX1053" fmla="*/ 621343 w 1008862"/>
              <a:gd name="connsiteY1053" fmla="*/ 149130 h 992562"/>
              <a:gd name="connsiteX1054" fmla="*/ 621343 w 1008862"/>
              <a:gd name="connsiteY1054" fmla="*/ 149130 h 992562"/>
              <a:gd name="connsiteX1055" fmla="*/ 622943 w 1008862"/>
              <a:gd name="connsiteY1055" fmla="*/ 149930 h 992562"/>
              <a:gd name="connsiteX1056" fmla="*/ 628383 w 1008862"/>
              <a:gd name="connsiteY1056" fmla="*/ 154890 h 992562"/>
              <a:gd name="connsiteX1057" fmla="*/ 629023 w 1008862"/>
              <a:gd name="connsiteY1057" fmla="*/ 174730 h 992562"/>
              <a:gd name="connsiteX1058" fmla="*/ 626463 w 1008862"/>
              <a:gd name="connsiteY1058" fmla="*/ 190090 h 992562"/>
              <a:gd name="connsiteX1059" fmla="*/ 609023 w 1008862"/>
              <a:gd name="connsiteY1059" fmla="*/ 207050 h 992562"/>
              <a:gd name="connsiteX1060" fmla="*/ 600383 w 1008862"/>
              <a:gd name="connsiteY1060" fmla="*/ 218250 h 992562"/>
              <a:gd name="connsiteX1061" fmla="*/ 600863 w 1008862"/>
              <a:gd name="connsiteY1061" fmla="*/ 205610 h 992562"/>
              <a:gd name="connsiteX1062" fmla="*/ 600543 w 1008862"/>
              <a:gd name="connsiteY1062" fmla="*/ 202410 h 992562"/>
              <a:gd name="connsiteX1063" fmla="*/ 600703 w 1008862"/>
              <a:gd name="connsiteY1063" fmla="*/ 199210 h 992562"/>
              <a:gd name="connsiteX1064" fmla="*/ 603423 w 1008862"/>
              <a:gd name="connsiteY1064" fmla="*/ 182250 h 992562"/>
              <a:gd name="connsiteX1065" fmla="*/ 609983 w 1008862"/>
              <a:gd name="connsiteY1065" fmla="*/ 165290 h 992562"/>
              <a:gd name="connsiteX1066" fmla="*/ 621343 w 1008862"/>
              <a:gd name="connsiteY1066" fmla="*/ 149130 h 992562"/>
              <a:gd name="connsiteX1067" fmla="*/ 606623 w 1008862"/>
              <a:gd name="connsiteY1067" fmla="*/ 155370 h 992562"/>
              <a:gd name="connsiteX1068" fmla="*/ 614623 w 1008862"/>
              <a:gd name="connsiteY1068" fmla="*/ 151690 h 992562"/>
              <a:gd name="connsiteX1069" fmla="*/ 600223 w 1008862"/>
              <a:gd name="connsiteY1069" fmla="*/ 176650 h 992562"/>
              <a:gd name="connsiteX1070" fmla="*/ 597503 w 1008862"/>
              <a:gd name="connsiteY1070" fmla="*/ 186570 h 992562"/>
              <a:gd name="connsiteX1071" fmla="*/ 595743 w 1008862"/>
              <a:gd name="connsiteY1071" fmla="*/ 176970 h 992562"/>
              <a:gd name="connsiteX1072" fmla="*/ 591583 w 1008862"/>
              <a:gd name="connsiteY1072" fmla="*/ 159530 h 992562"/>
              <a:gd name="connsiteX1073" fmla="*/ 606623 w 1008862"/>
              <a:gd name="connsiteY1073" fmla="*/ 155370 h 992562"/>
              <a:gd name="connsiteX1074" fmla="*/ 618623 w 1008862"/>
              <a:gd name="connsiteY1074" fmla="*/ 209930 h 992562"/>
              <a:gd name="connsiteX1075" fmla="*/ 632383 w 1008862"/>
              <a:gd name="connsiteY1075" fmla="*/ 197130 h 992562"/>
              <a:gd name="connsiteX1076" fmla="*/ 617823 w 1008862"/>
              <a:gd name="connsiteY1076" fmla="*/ 223530 h 992562"/>
              <a:gd name="connsiteX1077" fmla="*/ 596063 w 1008862"/>
              <a:gd name="connsiteY1077" fmla="*/ 270730 h 992562"/>
              <a:gd name="connsiteX1078" fmla="*/ 579903 w 1008862"/>
              <a:gd name="connsiteY1078" fmla="*/ 313290 h 992562"/>
              <a:gd name="connsiteX1079" fmla="*/ 575263 w 1008862"/>
              <a:gd name="connsiteY1079" fmla="*/ 334570 h 992562"/>
              <a:gd name="connsiteX1080" fmla="*/ 573823 w 1008862"/>
              <a:gd name="connsiteY1080" fmla="*/ 342730 h 992562"/>
              <a:gd name="connsiteX1081" fmla="*/ 573823 w 1008862"/>
              <a:gd name="connsiteY1081" fmla="*/ 343210 h 992562"/>
              <a:gd name="connsiteX1082" fmla="*/ 539743 w 1008862"/>
              <a:gd name="connsiteY1082" fmla="*/ 328330 h 992562"/>
              <a:gd name="connsiteX1083" fmla="*/ 541823 w 1008862"/>
              <a:gd name="connsiteY1083" fmla="*/ 318090 h 992562"/>
              <a:gd name="connsiteX1084" fmla="*/ 543103 w 1008862"/>
              <a:gd name="connsiteY1084" fmla="*/ 314890 h 992562"/>
              <a:gd name="connsiteX1085" fmla="*/ 547903 w 1008862"/>
              <a:gd name="connsiteY1085" fmla="*/ 307050 h 992562"/>
              <a:gd name="connsiteX1086" fmla="*/ 562143 w 1008862"/>
              <a:gd name="connsiteY1086" fmla="*/ 288170 h 992562"/>
              <a:gd name="connsiteX1087" fmla="*/ 586623 w 1008862"/>
              <a:gd name="connsiteY1087" fmla="*/ 253930 h 992562"/>
              <a:gd name="connsiteX1088" fmla="*/ 587103 w 1008862"/>
              <a:gd name="connsiteY1088" fmla="*/ 253610 h 992562"/>
              <a:gd name="connsiteX1089" fmla="*/ 590143 w 1008862"/>
              <a:gd name="connsiteY1089" fmla="*/ 248970 h 992562"/>
              <a:gd name="connsiteX1090" fmla="*/ 618623 w 1008862"/>
              <a:gd name="connsiteY1090" fmla="*/ 209930 h 992562"/>
              <a:gd name="connsiteX1091" fmla="*/ 558303 w 1008862"/>
              <a:gd name="connsiteY1091" fmla="*/ 113130 h 992562"/>
              <a:gd name="connsiteX1092" fmla="*/ 572543 w 1008862"/>
              <a:gd name="connsiteY1092" fmla="*/ 140170 h 992562"/>
              <a:gd name="connsiteX1093" fmla="*/ 583743 w 1008862"/>
              <a:gd name="connsiteY1093" fmla="*/ 168010 h 992562"/>
              <a:gd name="connsiteX1094" fmla="*/ 589663 w 1008862"/>
              <a:gd name="connsiteY1094" fmla="*/ 196650 h 992562"/>
              <a:gd name="connsiteX1095" fmla="*/ 591743 w 1008862"/>
              <a:gd name="connsiteY1095" fmla="*/ 213770 h 992562"/>
              <a:gd name="connsiteX1096" fmla="*/ 589663 w 1008862"/>
              <a:gd name="connsiteY1096" fmla="*/ 228170 h 992562"/>
              <a:gd name="connsiteX1097" fmla="*/ 587583 w 1008862"/>
              <a:gd name="connsiteY1097" fmla="*/ 236970 h 992562"/>
              <a:gd name="connsiteX1098" fmla="*/ 580063 w 1008862"/>
              <a:gd name="connsiteY1098" fmla="*/ 247690 h 992562"/>
              <a:gd name="connsiteX1099" fmla="*/ 550143 w 1008862"/>
              <a:gd name="connsiteY1099" fmla="*/ 289450 h 992562"/>
              <a:gd name="connsiteX1100" fmla="*/ 533663 w 1008862"/>
              <a:gd name="connsiteY1100" fmla="*/ 317290 h 992562"/>
              <a:gd name="connsiteX1101" fmla="*/ 533023 w 1008862"/>
              <a:gd name="connsiteY1101" fmla="*/ 318410 h 992562"/>
              <a:gd name="connsiteX1102" fmla="*/ 532863 w 1008862"/>
              <a:gd name="connsiteY1102" fmla="*/ 320650 h 992562"/>
              <a:gd name="connsiteX1103" fmla="*/ 532703 w 1008862"/>
              <a:gd name="connsiteY1103" fmla="*/ 321290 h 992562"/>
              <a:gd name="connsiteX1104" fmla="*/ 531423 w 1008862"/>
              <a:gd name="connsiteY1104" fmla="*/ 326090 h 992562"/>
              <a:gd name="connsiteX1105" fmla="*/ 531423 w 1008862"/>
              <a:gd name="connsiteY1105" fmla="*/ 326090 h 992562"/>
              <a:gd name="connsiteX1106" fmla="*/ 523423 w 1008862"/>
              <a:gd name="connsiteY1106" fmla="*/ 324170 h 992562"/>
              <a:gd name="connsiteX1107" fmla="*/ 528863 w 1008862"/>
              <a:gd name="connsiteY1107" fmla="*/ 317450 h 992562"/>
              <a:gd name="connsiteX1108" fmla="*/ 538623 w 1008862"/>
              <a:gd name="connsiteY1108" fmla="*/ 303210 h 992562"/>
              <a:gd name="connsiteX1109" fmla="*/ 550303 w 1008862"/>
              <a:gd name="connsiteY1109" fmla="*/ 268650 h 992562"/>
              <a:gd name="connsiteX1110" fmla="*/ 551903 w 1008862"/>
              <a:gd name="connsiteY1110" fmla="*/ 235370 h 992562"/>
              <a:gd name="connsiteX1111" fmla="*/ 552703 w 1008862"/>
              <a:gd name="connsiteY1111" fmla="*/ 200490 h 992562"/>
              <a:gd name="connsiteX1112" fmla="*/ 552223 w 1008862"/>
              <a:gd name="connsiteY1112" fmla="*/ 162890 h 992562"/>
              <a:gd name="connsiteX1113" fmla="*/ 548223 w 1008862"/>
              <a:gd name="connsiteY1113" fmla="*/ 120650 h 992562"/>
              <a:gd name="connsiteX1114" fmla="*/ 538143 w 1008862"/>
              <a:gd name="connsiteY1114" fmla="*/ 82570 h 992562"/>
              <a:gd name="connsiteX1115" fmla="*/ 537503 w 1008862"/>
              <a:gd name="connsiteY1115" fmla="*/ 80490 h 992562"/>
              <a:gd name="connsiteX1116" fmla="*/ 558303 w 1008862"/>
              <a:gd name="connsiteY1116" fmla="*/ 113130 h 992562"/>
              <a:gd name="connsiteX1117" fmla="*/ 525503 w 1008862"/>
              <a:gd name="connsiteY1117" fmla="*/ 66890 h 992562"/>
              <a:gd name="connsiteX1118" fmla="*/ 530783 w 1008862"/>
              <a:gd name="connsiteY1118" fmla="*/ 72170 h 992562"/>
              <a:gd name="connsiteX1119" fmla="*/ 534463 w 1008862"/>
              <a:gd name="connsiteY1119" fmla="*/ 88810 h 992562"/>
              <a:gd name="connsiteX1120" fmla="*/ 542303 w 1008862"/>
              <a:gd name="connsiteY1120" fmla="*/ 125610 h 992562"/>
              <a:gd name="connsiteX1121" fmla="*/ 545663 w 1008862"/>
              <a:gd name="connsiteY1121" fmla="*/ 163210 h 992562"/>
              <a:gd name="connsiteX1122" fmla="*/ 546143 w 1008862"/>
              <a:gd name="connsiteY1122" fmla="*/ 198890 h 992562"/>
              <a:gd name="connsiteX1123" fmla="*/ 546463 w 1008862"/>
              <a:gd name="connsiteY1123" fmla="*/ 212650 h 992562"/>
              <a:gd name="connsiteX1124" fmla="*/ 545663 w 1008862"/>
              <a:gd name="connsiteY1124" fmla="*/ 228490 h 992562"/>
              <a:gd name="connsiteX1125" fmla="*/ 544703 w 1008862"/>
              <a:gd name="connsiteY1125" fmla="*/ 261290 h 992562"/>
              <a:gd name="connsiteX1126" fmla="*/ 535903 w 1008862"/>
              <a:gd name="connsiteY1126" fmla="*/ 294730 h 992562"/>
              <a:gd name="connsiteX1127" fmla="*/ 526943 w 1008862"/>
              <a:gd name="connsiteY1127" fmla="*/ 309290 h 992562"/>
              <a:gd name="connsiteX1128" fmla="*/ 516543 w 1008862"/>
              <a:gd name="connsiteY1128" fmla="*/ 321610 h 992562"/>
              <a:gd name="connsiteX1129" fmla="*/ 515423 w 1008862"/>
              <a:gd name="connsiteY1129" fmla="*/ 322730 h 992562"/>
              <a:gd name="connsiteX1130" fmla="*/ 494623 w 1008862"/>
              <a:gd name="connsiteY1130" fmla="*/ 320490 h 992562"/>
              <a:gd name="connsiteX1131" fmla="*/ 490943 w 1008862"/>
              <a:gd name="connsiteY1131" fmla="*/ 320330 h 992562"/>
              <a:gd name="connsiteX1132" fmla="*/ 491263 w 1008862"/>
              <a:gd name="connsiteY1132" fmla="*/ 320010 h 992562"/>
              <a:gd name="connsiteX1133" fmla="*/ 495743 w 1008862"/>
              <a:gd name="connsiteY1133" fmla="*/ 314730 h 992562"/>
              <a:gd name="connsiteX1134" fmla="*/ 503263 w 1008862"/>
              <a:gd name="connsiteY1134" fmla="*/ 304490 h 992562"/>
              <a:gd name="connsiteX1135" fmla="*/ 510943 w 1008862"/>
              <a:gd name="connsiteY1135" fmla="*/ 291530 h 992562"/>
              <a:gd name="connsiteX1136" fmla="*/ 518623 w 1008862"/>
              <a:gd name="connsiteY1136" fmla="*/ 277290 h 992562"/>
              <a:gd name="connsiteX1137" fmla="*/ 524223 w 1008862"/>
              <a:gd name="connsiteY1137" fmla="*/ 259690 h 992562"/>
              <a:gd name="connsiteX1138" fmla="*/ 532223 w 1008862"/>
              <a:gd name="connsiteY1138" fmla="*/ 223530 h 992562"/>
              <a:gd name="connsiteX1139" fmla="*/ 533823 w 1008862"/>
              <a:gd name="connsiteY1139" fmla="*/ 188970 h 992562"/>
              <a:gd name="connsiteX1140" fmla="*/ 528383 w 1008862"/>
              <a:gd name="connsiteY1140" fmla="*/ 152330 h 992562"/>
              <a:gd name="connsiteX1141" fmla="*/ 519103 w 1008862"/>
              <a:gd name="connsiteY1141" fmla="*/ 123370 h 992562"/>
              <a:gd name="connsiteX1142" fmla="*/ 518463 w 1008862"/>
              <a:gd name="connsiteY1142" fmla="*/ 117770 h 992562"/>
              <a:gd name="connsiteX1143" fmla="*/ 514463 w 1008862"/>
              <a:gd name="connsiteY1143" fmla="*/ 91530 h 992562"/>
              <a:gd name="connsiteX1144" fmla="*/ 509343 w 1008862"/>
              <a:gd name="connsiteY1144" fmla="*/ 62890 h 992562"/>
              <a:gd name="connsiteX1145" fmla="*/ 506143 w 1008862"/>
              <a:gd name="connsiteY1145" fmla="*/ 49930 h 992562"/>
              <a:gd name="connsiteX1146" fmla="*/ 506143 w 1008862"/>
              <a:gd name="connsiteY1146" fmla="*/ 49770 h 992562"/>
              <a:gd name="connsiteX1147" fmla="*/ 525503 w 1008862"/>
              <a:gd name="connsiteY1147" fmla="*/ 66890 h 992562"/>
              <a:gd name="connsiteX1148" fmla="*/ 482943 w 1008862"/>
              <a:gd name="connsiteY1148" fmla="*/ 32810 h 992562"/>
              <a:gd name="connsiteX1149" fmla="*/ 499583 w 1008862"/>
              <a:gd name="connsiteY1149" fmla="*/ 44970 h 992562"/>
              <a:gd name="connsiteX1150" fmla="*/ 500223 w 1008862"/>
              <a:gd name="connsiteY1150" fmla="*/ 46890 h 992562"/>
              <a:gd name="connsiteX1151" fmla="*/ 503103 w 1008862"/>
              <a:gd name="connsiteY1151" fmla="*/ 62250 h 992562"/>
              <a:gd name="connsiteX1152" fmla="*/ 508543 w 1008862"/>
              <a:gd name="connsiteY1152" fmla="*/ 96490 h 992562"/>
              <a:gd name="connsiteX1153" fmla="*/ 510143 w 1008862"/>
              <a:gd name="connsiteY1153" fmla="*/ 106410 h 992562"/>
              <a:gd name="connsiteX1154" fmla="*/ 508863 w 1008862"/>
              <a:gd name="connsiteY1154" fmla="*/ 103050 h 992562"/>
              <a:gd name="connsiteX1155" fmla="*/ 500863 w 1008862"/>
              <a:gd name="connsiteY1155" fmla="*/ 96330 h 992562"/>
              <a:gd name="connsiteX1156" fmla="*/ 495743 w 1008862"/>
              <a:gd name="connsiteY1156" fmla="*/ 99690 h 992562"/>
              <a:gd name="connsiteX1157" fmla="*/ 490303 w 1008862"/>
              <a:gd name="connsiteY1157" fmla="*/ 106570 h 992562"/>
              <a:gd name="connsiteX1158" fmla="*/ 476543 w 1008862"/>
              <a:gd name="connsiteY1158" fmla="*/ 119370 h 992562"/>
              <a:gd name="connsiteX1159" fmla="*/ 469023 w 1008862"/>
              <a:gd name="connsiteY1159" fmla="*/ 126090 h 992562"/>
              <a:gd name="connsiteX1160" fmla="*/ 471583 w 1008862"/>
              <a:gd name="connsiteY1160" fmla="*/ 117130 h 992562"/>
              <a:gd name="connsiteX1161" fmla="*/ 474943 w 1008862"/>
              <a:gd name="connsiteY1161" fmla="*/ 81130 h 992562"/>
              <a:gd name="connsiteX1162" fmla="*/ 473823 w 1008862"/>
              <a:gd name="connsiteY1162" fmla="*/ 41450 h 992562"/>
              <a:gd name="connsiteX1163" fmla="*/ 471583 w 1008862"/>
              <a:gd name="connsiteY1163" fmla="*/ 24330 h 992562"/>
              <a:gd name="connsiteX1164" fmla="*/ 482943 w 1008862"/>
              <a:gd name="connsiteY1164" fmla="*/ 32810 h 992562"/>
              <a:gd name="connsiteX1165" fmla="*/ 439903 w 1008862"/>
              <a:gd name="connsiteY1165" fmla="*/ 24010 h 992562"/>
              <a:gd name="connsiteX1166" fmla="*/ 440703 w 1008862"/>
              <a:gd name="connsiteY1166" fmla="*/ 23050 h 992562"/>
              <a:gd name="connsiteX1167" fmla="*/ 445823 w 1008862"/>
              <a:gd name="connsiteY1167" fmla="*/ 14730 h 992562"/>
              <a:gd name="connsiteX1168" fmla="*/ 448543 w 1008862"/>
              <a:gd name="connsiteY1168" fmla="*/ 10890 h 992562"/>
              <a:gd name="connsiteX1169" fmla="*/ 449823 w 1008862"/>
              <a:gd name="connsiteY1169" fmla="*/ 8490 h 992562"/>
              <a:gd name="connsiteX1170" fmla="*/ 450303 w 1008862"/>
              <a:gd name="connsiteY1170" fmla="*/ 9130 h 992562"/>
              <a:gd name="connsiteX1171" fmla="*/ 458943 w 1008862"/>
              <a:gd name="connsiteY1171" fmla="*/ 16010 h 992562"/>
              <a:gd name="connsiteX1172" fmla="*/ 465503 w 1008862"/>
              <a:gd name="connsiteY1172" fmla="*/ 20330 h 992562"/>
              <a:gd name="connsiteX1173" fmla="*/ 468703 w 1008862"/>
              <a:gd name="connsiteY1173" fmla="*/ 46090 h 992562"/>
              <a:gd name="connsiteX1174" fmla="*/ 468703 w 1008862"/>
              <a:gd name="connsiteY1174" fmla="*/ 81450 h 992562"/>
              <a:gd name="connsiteX1175" fmla="*/ 466463 w 1008862"/>
              <a:gd name="connsiteY1175" fmla="*/ 111690 h 992562"/>
              <a:gd name="connsiteX1176" fmla="*/ 461183 w 1008862"/>
              <a:gd name="connsiteY1176" fmla="*/ 129290 h 992562"/>
              <a:gd name="connsiteX1177" fmla="*/ 456863 w 1008862"/>
              <a:gd name="connsiteY1177" fmla="*/ 136330 h 992562"/>
              <a:gd name="connsiteX1178" fmla="*/ 446303 w 1008862"/>
              <a:gd name="connsiteY1178" fmla="*/ 144970 h 992562"/>
              <a:gd name="connsiteX1179" fmla="*/ 424703 w 1008862"/>
              <a:gd name="connsiteY1179" fmla="*/ 163370 h 992562"/>
              <a:gd name="connsiteX1180" fmla="*/ 423583 w 1008862"/>
              <a:gd name="connsiteY1180" fmla="*/ 131850 h 992562"/>
              <a:gd name="connsiteX1181" fmla="*/ 427263 w 1008862"/>
              <a:gd name="connsiteY1181" fmla="*/ 88970 h 992562"/>
              <a:gd name="connsiteX1182" fmla="*/ 431583 w 1008862"/>
              <a:gd name="connsiteY1182" fmla="*/ 52650 h 992562"/>
              <a:gd name="connsiteX1183" fmla="*/ 439903 w 1008862"/>
              <a:gd name="connsiteY1183" fmla="*/ 24010 h 992562"/>
              <a:gd name="connsiteX1184" fmla="*/ 403903 w 1008862"/>
              <a:gd name="connsiteY1184" fmla="*/ 65130 h 992562"/>
              <a:gd name="connsiteX1185" fmla="*/ 407263 w 1008862"/>
              <a:gd name="connsiteY1185" fmla="*/ 54570 h 992562"/>
              <a:gd name="connsiteX1186" fmla="*/ 416543 w 1008862"/>
              <a:gd name="connsiteY1186" fmla="*/ 46410 h 992562"/>
              <a:gd name="connsiteX1187" fmla="*/ 432383 w 1008862"/>
              <a:gd name="connsiteY1187" fmla="*/ 32490 h 992562"/>
              <a:gd name="connsiteX1188" fmla="*/ 421823 w 1008862"/>
              <a:gd name="connsiteY1188" fmla="*/ 87850 h 992562"/>
              <a:gd name="connsiteX1189" fmla="*/ 417663 w 1008862"/>
              <a:gd name="connsiteY1189" fmla="*/ 127690 h 992562"/>
              <a:gd name="connsiteX1190" fmla="*/ 418943 w 1008862"/>
              <a:gd name="connsiteY1190" fmla="*/ 168650 h 992562"/>
              <a:gd name="connsiteX1191" fmla="*/ 391423 w 1008862"/>
              <a:gd name="connsiteY1191" fmla="*/ 195530 h 992562"/>
              <a:gd name="connsiteX1192" fmla="*/ 384863 w 1008862"/>
              <a:gd name="connsiteY1192" fmla="*/ 202730 h 992562"/>
              <a:gd name="connsiteX1193" fmla="*/ 381823 w 1008862"/>
              <a:gd name="connsiteY1193" fmla="*/ 172010 h 992562"/>
              <a:gd name="connsiteX1194" fmla="*/ 385983 w 1008862"/>
              <a:gd name="connsiteY1194" fmla="*/ 128650 h 992562"/>
              <a:gd name="connsiteX1195" fmla="*/ 396863 w 1008862"/>
              <a:gd name="connsiteY1195" fmla="*/ 85770 h 992562"/>
              <a:gd name="connsiteX1196" fmla="*/ 403903 w 1008862"/>
              <a:gd name="connsiteY1196" fmla="*/ 65130 h 992562"/>
              <a:gd name="connsiteX1197" fmla="*/ 372703 w 1008862"/>
              <a:gd name="connsiteY1197" fmla="*/ 96810 h 992562"/>
              <a:gd name="connsiteX1198" fmla="*/ 376383 w 1008862"/>
              <a:gd name="connsiteY1198" fmla="*/ 87850 h 992562"/>
              <a:gd name="connsiteX1199" fmla="*/ 401663 w 1008862"/>
              <a:gd name="connsiteY1199" fmla="*/ 59850 h 992562"/>
              <a:gd name="connsiteX1200" fmla="*/ 398463 w 1008862"/>
              <a:gd name="connsiteY1200" fmla="*/ 67050 h 992562"/>
              <a:gd name="connsiteX1201" fmla="*/ 390783 w 1008862"/>
              <a:gd name="connsiteY1201" fmla="*/ 87690 h 992562"/>
              <a:gd name="connsiteX1202" fmla="*/ 380223 w 1008862"/>
              <a:gd name="connsiteY1202" fmla="*/ 129770 h 992562"/>
              <a:gd name="connsiteX1203" fmla="*/ 375903 w 1008862"/>
              <a:gd name="connsiteY1203" fmla="*/ 170250 h 992562"/>
              <a:gd name="connsiteX1204" fmla="*/ 377183 w 1008862"/>
              <a:gd name="connsiteY1204" fmla="*/ 191210 h 992562"/>
              <a:gd name="connsiteX1205" fmla="*/ 379583 w 1008862"/>
              <a:gd name="connsiteY1205" fmla="*/ 208970 h 992562"/>
              <a:gd name="connsiteX1206" fmla="*/ 368543 w 1008862"/>
              <a:gd name="connsiteY1206" fmla="*/ 223530 h 992562"/>
              <a:gd name="connsiteX1207" fmla="*/ 351903 w 1008862"/>
              <a:gd name="connsiteY1207" fmla="*/ 252330 h 992562"/>
              <a:gd name="connsiteX1208" fmla="*/ 349823 w 1008862"/>
              <a:gd name="connsiteY1208" fmla="*/ 237610 h 992562"/>
              <a:gd name="connsiteX1209" fmla="*/ 349023 w 1008862"/>
              <a:gd name="connsiteY1209" fmla="*/ 214730 h 992562"/>
              <a:gd name="connsiteX1210" fmla="*/ 351263 w 1008862"/>
              <a:gd name="connsiteY1210" fmla="*/ 164970 h 992562"/>
              <a:gd name="connsiteX1211" fmla="*/ 364063 w 1008862"/>
              <a:gd name="connsiteY1211" fmla="*/ 119850 h 992562"/>
              <a:gd name="connsiteX1212" fmla="*/ 372703 w 1008862"/>
              <a:gd name="connsiteY1212" fmla="*/ 96810 h 992562"/>
              <a:gd name="connsiteX1213" fmla="*/ 323583 w 1008862"/>
              <a:gd name="connsiteY1213" fmla="*/ 205130 h 992562"/>
              <a:gd name="connsiteX1214" fmla="*/ 329343 w 1008862"/>
              <a:gd name="connsiteY1214" fmla="*/ 176650 h 992562"/>
              <a:gd name="connsiteX1215" fmla="*/ 351583 w 1008862"/>
              <a:gd name="connsiteY1215" fmla="*/ 126250 h 992562"/>
              <a:gd name="connsiteX1216" fmla="*/ 364703 w 1008862"/>
              <a:gd name="connsiteY1216" fmla="*/ 103850 h 992562"/>
              <a:gd name="connsiteX1217" fmla="*/ 363583 w 1008862"/>
              <a:gd name="connsiteY1217" fmla="*/ 106410 h 992562"/>
              <a:gd name="connsiteX1218" fmla="*/ 346783 w 1008862"/>
              <a:gd name="connsiteY1218" fmla="*/ 156970 h 992562"/>
              <a:gd name="connsiteX1219" fmla="*/ 344063 w 1008862"/>
              <a:gd name="connsiteY1219" fmla="*/ 182410 h 992562"/>
              <a:gd name="connsiteX1220" fmla="*/ 343103 w 1008862"/>
              <a:gd name="connsiteY1220" fmla="*/ 210570 h 992562"/>
              <a:gd name="connsiteX1221" fmla="*/ 347583 w 1008862"/>
              <a:gd name="connsiteY1221" fmla="*/ 258090 h 992562"/>
              <a:gd name="connsiteX1222" fmla="*/ 348223 w 1008862"/>
              <a:gd name="connsiteY1222" fmla="*/ 259050 h 992562"/>
              <a:gd name="connsiteX1223" fmla="*/ 342943 w 1008862"/>
              <a:gd name="connsiteY1223" fmla="*/ 270730 h 992562"/>
              <a:gd name="connsiteX1224" fmla="*/ 337343 w 1008862"/>
              <a:gd name="connsiteY1224" fmla="*/ 250090 h 992562"/>
              <a:gd name="connsiteX1225" fmla="*/ 329663 w 1008862"/>
              <a:gd name="connsiteY1225" fmla="*/ 227050 h 992562"/>
              <a:gd name="connsiteX1226" fmla="*/ 323423 w 1008862"/>
              <a:gd name="connsiteY1226" fmla="*/ 217290 h 992562"/>
              <a:gd name="connsiteX1227" fmla="*/ 323583 w 1008862"/>
              <a:gd name="connsiteY1227" fmla="*/ 205130 h 992562"/>
              <a:gd name="connsiteX1228" fmla="*/ 322303 w 1008862"/>
              <a:gd name="connsiteY1228" fmla="*/ 229450 h 992562"/>
              <a:gd name="connsiteX1229" fmla="*/ 330463 w 1008862"/>
              <a:gd name="connsiteY1229" fmla="*/ 254410 h 992562"/>
              <a:gd name="connsiteX1230" fmla="*/ 335903 w 1008862"/>
              <a:gd name="connsiteY1230" fmla="*/ 275530 h 992562"/>
              <a:gd name="connsiteX1231" fmla="*/ 340383 w 1008862"/>
              <a:gd name="connsiteY1231" fmla="*/ 296650 h 992562"/>
              <a:gd name="connsiteX1232" fmla="*/ 345663 w 1008862"/>
              <a:gd name="connsiteY1232" fmla="*/ 317770 h 992562"/>
              <a:gd name="connsiteX1233" fmla="*/ 348063 w 1008862"/>
              <a:gd name="connsiteY1233" fmla="*/ 341610 h 992562"/>
              <a:gd name="connsiteX1234" fmla="*/ 349983 w 1008862"/>
              <a:gd name="connsiteY1234" fmla="*/ 354090 h 992562"/>
              <a:gd name="connsiteX1235" fmla="*/ 350783 w 1008862"/>
              <a:gd name="connsiteY1235" fmla="*/ 368650 h 992562"/>
              <a:gd name="connsiteX1236" fmla="*/ 351263 w 1008862"/>
              <a:gd name="connsiteY1236" fmla="*/ 382090 h 992562"/>
              <a:gd name="connsiteX1237" fmla="*/ 349503 w 1008862"/>
              <a:gd name="connsiteY1237" fmla="*/ 388330 h 992562"/>
              <a:gd name="connsiteX1238" fmla="*/ 349503 w 1008862"/>
              <a:gd name="connsiteY1238" fmla="*/ 390250 h 992562"/>
              <a:gd name="connsiteX1239" fmla="*/ 331423 w 1008862"/>
              <a:gd name="connsiteY1239" fmla="*/ 381770 h 992562"/>
              <a:gd name="connsiteX1240" fmla="*/ 329183 w 1008862"/>
              <a:gd name="connsiteY1240" fmla="*/ 375850 h 992562"/>
              <a:gd name="connsiteX1241" fmla="*/ 330143 w 1008862"/>
              <a:gd name="connsiteY1241" fmla="*/ 365290 h 992562"/>
              <a:gd name="connsiteX1242" fmla="*/ 328863 w 1008862"/>
              <a:gd name="connsiteY1242" fmla="*/ 340970 h 992562"/>
              <a:gd name="connsiteX1243" fmla="*/ 326623 w 1008862"/>
              <a:gd name="connsiteY1243" fmla="*/ 293610 h 992562"/>
              <a:gd name="connsiteX1244" fmla="*/ 322943 w 1008862"/>
              <a:gd name="connsiteY1244" fmla="*/ 268010 h 992562"/>
              <a:gd name="connsiteX1245" fmla="*/ 319743 w 1008862"/>
              <a:gd name="connsiteY1245" fmla="*/ 241930 h 992562"/>
              <a:gd name="connsiteX1246" fmla="*/ 314943 w 1008862"/>
              <a:gd name="connsiteY1246" fmla="*/ 219690 h 992562"/>
              <a:gd name="connsiteX1247" fmla="*/ 314623 w 1008862"/>
              <a:gd name="connsiteY1247" fmla="*/ 217930 h 992562"/>
              <a:gd name="connsiteX1248" fmla="*/ 322303 w 1008862"/>
              <a:gd name="connsiteY1248" fmla="*/ 229450 h 992562"/>
              <a:gd name="connsiteX1249" fmla="*/ 306143 w 1008862"/>
              <a:gd name="connsiteY1249" fmla="*/ 207050 h 992562"/>
              <a:gd name="connsiteX1250" fmla="*/ 306783 w 1008862"/>
              <a:gd name="connsiteY1250" fmla="*/ 208170 h 992562"/>
              <a:gd name="connsiteX1251" fmla="*/ 308223 w 1008862"/>
              <a:gd name="connsiteY1251" fmla="*/ 212650 h 992562"/>
              <a:gd name="connsiteX1252" fmla="*/ 313663 w 1008862"/>
              <a:gd name="connsiteY1252" fmla="*/ 239850 h 992562"/>
              <a:gd name="connsiteX1253" fmla="*/ 316703 w 1008862"/>
              <a:gd name="connsiteY1253" fmla="*/ 265930 h 992562"/>
              <a:gd name="connsiteX1254" fmla="*/ 320543 w 1008862"/>
              <a:gd name="connsiteY1254" fmla="*/ 293930 h 992562"/>
              <a:gd name="connsiteX1255" fmla="*/ 322303 w 1008862"/>
              <a:gd name="connsiteY1255" fmla="*/ 343210 h 992562"/>
              <a:gd name="connsiteX1256" fmla="*/ 323103 w 1008862"/>
              <a:gd name="connsiteY1256" fmla="*/ 368330 h 992562"/>
              <a:gd name="connsiteX1257" fmla="*/ 323903 w 1008862"/>
              <a:gd name="connsiteY1257" fmla="*/ 378890 h 992562"/>
              <a:gd name="connsiteX1258" fmla="*/ 304223 w 1008862"/>
              <a:gd name="connsiteY1258" fmla="*/ 373770 h 992562"/>
              <a:gd name="connsiteX1259" fmla="*/ 297023 w 1008862"/>
              <a:gd name="connsiteY1259" fmla="*/ 372810 h 992562"/>
              <a:gd name="connsiteX1260" fmla="*/ 295743 w 1008862"/>
              <a:gd name="connsiteY1260" fmla="*/ 368330 h 992562"/>
              <a:gd name="connsiteX1261" fmla="*/ 295103 w 1008862"/>
              <a:gd name="connsiteY1261" fmla="*/ 355850 h 992562"/>
              <a:gd name="connsiteX1262" fmla="*/ 297823 w 1008862"/>
              <a:gd name="connsiteY1262" fmla="*/ 327370 h 992562"/>
              <a:gd name="connsiteX1263" fmla="*/ 299743 w 1008862"/>
              <a:gd name="connsiteY1263" fmla="*/ 300170 h 992562"/>
              <a:gd name="connsiteX1264" fmla="*/ 303103 w 1008862"/>
              <a:gd name="connsiteY1264" fmla="*/ 271690 h 992562"/>
              <a:gd name="connsiteX1265" fmla="*/ 301983 w 1008862"/>
              <a:gd name="connsiteY1265" fmla="*/ 244010 h 992562"/>
              <a:gd name="connsiteX1266" fmla="*/ 297023 w 1008862"/>
              <a:gd name="connsiteY1266" fmla="*/ 216330 h 992562"/>
              <a:gd name="connsiteX1267" fmla="*/ 293983 w 1008862"/>
              <a:gd name="connsiteY1267" fmla="*/ 204650 h 992562"/>
              <a:gd name="connsiteX1268" fmla="*/ 291103 w 1008862"/>
              <a:gd name="connsiteY1268" fmla="*/ 192010 h 992562"/>
              <a:gd name="connsiteX1269" fmla="*/ 289663 w 1008862"/>
              <a:gd name="connsiteY1269" fmla="*/ 186890 h 992562"/>
              <a:gd name="connsiteX1270" fmla="*/ 292543 w 1008862"/>
              <a:gd name="connsiteY1270" fmla="*/ 189610 h 992562"/>
              <a:gd name="connsiteX1271" fmla="*/ 306143 w 1008862"/>
              <a:gd name="connsiteY1271" fmla="*/ 207050 h 992562"/>
              <a:gd name="connsiteX1272" fmla="*/ 211423 w 1008862"/>
              <a:gd name="connsiteY1272" fmla="*/ 93930 h 992562"/>
              <a:gd name="connsiteX1273" fmla="*/ 212383 w 1008862"/>
              <a:gd name="connsiteY1273" fmla="*/ 93130 h 992562"/>
              <a:gd name="connsiteX1274" fmla="*/ 225983 w 1008862"/>
              <a:gd name="connsiteY1274" fmla="*/ 95690 h 992562"/>
              <a:gd name="connsiteX1275" fmla="*/ 245343 w 1008862"/>
              <a:gd name="connsiteY1275" fmla="*/ 104490 h 992562"/>
              <a:gd name="connsiteX1276" fmla="*/ 273023 w 1008862"/>
              <a:gd name="connsiteY1276" fmla="*/ 135850 h 992562"/>
              <a:gd name="connsiteX1277" fmla="*/ 280863 w 1008862"/>
              <a:gd name="connsiteY1277" fmla="*/ 157130 h 992562"/>
              <a:gd name="connsiteX1278" fmla="*/ 292383 w 1008862"/>
              <a:gd name="connsiteY1278" fmla="*/ 177130 h 992562"/>
              <a:gd name="connsiteX1279" fmla="*/ 295423 w 1008862"/>
              <a:gd name="connsiteY1279" fmla="*/ 182730 h 992562"/>
              <a:gd name="connsiteX1280" fmla="*/ 267903 w 1008862"/>
              <a:gd name="connsiteY1280" fmla="*/ 155210 h 992562"/>
              <a:gd name="connsiteX1281" fmla="*/ 233823 w 1008862"/>
              <a:gd name="connsiteY1281" fmla="*/ 119370 h 992562"/>
              <a:gd name="connsiteX1282" fmla="*/ 211103 w 1008862"/>
              <a:gd name="connsiteY1282" fmla="*/ 93930 h 992562"/>
              <a:gd name="connsiteX1283" fmla="*/ 211423 w 1008862"/>
              <a:gd name="connsiteY1283" fmla="*/ 93930 h 992562"/>
              <a:gd name="connsiteX1284" fmla="*/ 217023 w 1008862"/>
              <a:gd name="connsiteY1284" fmla="*/ 204650 h 992562"/>
              <a:gd name="connsiteX1285" fmla="*/ 214783 w 1008862"/>
              <a:gd name="connsiteY1285" fmla="*/ 164970 h 992562"/>
              <a:gd name="connsiteX1286" fmla="*/ 213823 w 1008862"/>
              <a:gd name="connsiteY1286" fmla="*/ 128170 h 992562"/>
              <a:gd name="connsiteX1287" fmla="*/ 210783 w 1008862"/>
              <a:gd name="connsiteY1287" fmla="*/ 103050 h 992562"/>
              <a:gd name="connsiteX1288" fmla="*/ 213343 w 1008862"/>
              <a:gd name="connsiteY1288" fmla="*/ 106890 h 992562"/>
              <a:gd name="connsiteX1289" fmla="*/ 224383 w 1008862"/>
              <a:gd name="connsiteY1289" fmla="*/ 118570 h 992562"/>
              <a:gd name="connsiteX1290" fmla="*/ 224863 w 1008862"/>
              <a:gd name="connsiteY1290" fmla="*/ 119050 h 992562"/>
              <a:gd name="connsiteX1291" fmla="*/ 225023 w 1008862"/>
              <a:gd name="connsiteY1291" fmla="*/ 119050 h 992562"/>
              <a:gd name="connsiteX1292" fmla="*/ 225183 w 1008862"/>
              <a:gd name="connsiteY1292" fmla="*/ 119210 h 992562"/>
              <a:gd name="connsiteX1293" fmla="*/ 225983 w 1008862"/>
              <a:gd name="connsiteY1293" fmla="*/ 120010 h 992562"/>
              <a:gd name="connsiteX1294" fmla="*/ 228383 w 1008862"/>
              <a:gd name="connsiteY1294" fmla="*/ 129130 h 992562"/>
              <a:gd name="connsiteX1295" fmla="*/ 230623 w 1008862"/>
              <a:gd name="connsiteY1295" fmla="*/ 141130 h 992562"/>
              <a:gd name="connsiteX1296" fmla="*/ 233343 w 1008862"/>
              <a:gd name="connsiteY1296" fmla="*/ 159370 h 992562"/>
              <a:gd name="connsiteX1297" fmla="*/ 235743 w 1008862"/>
              <a:gd name="connsiteY1297" fmla="*/ 179370 h 992562"/>
              <a:gd name="connsiteX1298" fmla="*/ 236223 w 1008862"/>
              <a:gd name="connsiteY1298" fmla="*/ 217610 h 992562"/>
              <a:gd name="connsiteX1299" fmla="*/ 237503 w 1008862"/>
              <a:gd name="connsiteY1299" fmla="*/ 254890 h 992562"/>
              <a:gd name="connsiteX1300" fmla="*/ 235583 w 1008862"/>
              <a:gd name="connsiteY1300" fmla="*/ 291530 h 992562"/>
              <a:gd name="connsiteX1301" fmla="*/ 233663 w 1008862"/>
              <a:gd name="connsiteY1301" fmla="*/ 330250 h 992562"/>
              <a:gd name="connsiteX1302" fmla="*/ 233503 w 1008862"/>
              <a:gd name="connsiteY1302" fmla="*/ 360970 h 992562"/>
              <a:gd name="connsiteX1303" fmla="*/ 233663 w 1008862"/>
              <a:gd name="connsiteY1303" fmla="*/ 363210 h 992562"/>
              <a:gd name="connsiteX1304" fmla="*/ 229663 w 1008862"/>
              <a:gd name="connsiteY1304" fmla="*/ 347690 h 992562"/>
              <a:gd name="connsiteX1305" fmla="*/ 224543 w 1008862"/>
              <a:gd name="connsiteY1305" fmla="*/ 314090 h 992562"/>
              <a:gd name="connsiteX1306" fmla="*/ 220383 w 1008862"/>
              <a:gd name="connsiteY1306" fmla="*/ 280650 h 992562"/>
              <a:gd name="connsiteX1307" fmla="*/ 217023 w 1008862"/>
              <a:gd name="connsiteY1307" fmla="*/ 244010 h 992562"/>
              <a:gd name="connsiteX1308" fmla="*/ 217023 w 1008862"/>
              <a:gd name="connsiteY1308" fmla="*/ 204650 h 992562"/>
              <a:gd name="connsiteX1309" fmla="*/ 111583 w 1008862"/>
              <a:gd name="connsiteY1309" fmla="*/ 165130 h 992562"/>
              <a:gd name="connsiteX1310" fmla="*/ 134623 w 1008862"/>
              <a:gd name="connsiteY1310" fmla="*/ 167370 h 992562"/>
              <a:gd name="connsiteX1311" fmla="*/ 158943 w 1008862"/>
              <a:gd name="connsiteY1311" fmla="*/ 170890 h 992562"/>
              <a:gd name="connsiteX1312" fmla="*/ 171903 w 1008862"/>
              <a:gd name="connsiteY1312" fmla="*/ 172170 h 992562"/>
              <a:gd name="connsiteX1313" fmla="*/ 186303 w 1008862"/>
              <a:gd name="connsiteY1313" fmla="*/ 177770 h 992562"/>
              <a:gd name="connsiteX1314" fmla="*/ 195263 w 1008862"/>
              <a:gd name="connsiteY1314" fmla="*/ 181930 h 992562"/>
              <a:gd name="connsiteX1315" fmla="*/ 201503 w 1008862"/>
              <a:gd name="connsiteY1315" fmla="*/ 184490 h 992562"/>
              <a:gd name="connsiteX1316" fmla="*/ 204863 w 1008862"/>
              <a:gd name="connsiteY1316" fmla="*/ 188010 h 992562"/>
              <a:gd name="connsiteX1317" fmla="*/ 207263 w 1008862"/>
              <a:gd name="connsiteY1317" fmla="*/ 194090 h 992562"/>
              <a:gd name="connsiteX1318" fmla="*/ 208063 w 1008862"/>
              <a:gd name="connsiteY1318" fmla="*/ 209610 h 992562"/>
              <a:gd name="connsiteX1319" fmla="*/ 207743 w 1008862"/>
              <a:gd name="connsiteY1319" fmla="*/ 230250 h 992562"/>
              <a:gd name="connsiteX1320" fmla="*/ 208383 w 1008862"/>
              <a:gd name="connsiteY1320" fmla="*/ 253130 h 992562"/>
              <a:gd name="connsiteX1321" fmla="*/ 209183 w 1008862"/>
              <a:gd name="connsiteY1321" fmla="*/ 261770 h 992562"/>
              <a:gd name="connsiteX1322" fmla="*/ 197503 w 1008862"/>
              <a:gd name="connsiteY1322" fmla="*/ 244970 h 992562"/>
              <a:gd name="connsiteX1323" fmla="*/ 167583 w 1008862"/>
              <a:gd name="connsiteY1323" fmla="*/ 207210 h 992562"/>
              <a:gd name="connsiteX1324" fmla="*/ 148863 w 1008862"/>
              <a:gd name="connsiteY1324" fmla="*/ 190570 h 992562"/>
              <a:gd name="connsiteX1325" fmla="*/ 128703 w 1008862"/>
              <a:gd name="connsiteY1325" fmla="*/ 177290 h 992562"/>
              <a:gd name="connsiteX1326" fmla="*/ 105343 w 1008862"/>
              <a:gd name="connsiteY1326" fmla="*/ 165450 h 992562"/>
              <a:gd name="connsiteX1327" fmla="*/ 99583 w 1008862"/>
              <a:gd name="connsiteY1327" fmla="*/ 163050 h 992562"/>
              <a:gd name="connsiteX1328" fmla="*/ 111583 w 1008862"/>
              <a:gd name="connsiteY1328" fmla="*/ 165130 h 992562"/>
              <a:gd name="connsiteX1329" fmla="*/ 65983 w 1008862"/>
              <a:gd name="connsiteY1329" fmla="*/ 160810 h 992562"/>
              <a:gd name="connsiteX1330" fmla="*/ 83263 w 1008862"/>
              <a:gd name="connsiteY1330" fmla="*/ 161450 h 992562"/>
              <a:gd name="connsiteX1331" fmla="*/ 91263 w 1008862"/>
              <a:gd name="connsiteY1331" fmla="*/ 162250 h 992562"/>
              <a:gd name="connsiteX1332" fmla="*/ 93503 w 1008862"/>
              <a:gd name="connsiteY1332" fmla="*/ 164330 h 992562"/>
              <a:gd name="connsiteX1333" fmla="*/ 103423 w 1008862"/>
              <a:gd name="connsiteY1333" fmla="*/ 169290 h 992562"/>
              <a:gd name="connsiteX1334" fmla="*/ 124543 w 1008862"/>
              <a:gd name="connsiteY1334" fmla="*/ 180490 h 992562"/>
              <a:gd name="connsiteX1335" fmla="*/ 145183 w 1008862"/>
              <a:gd name="connsiteY1335" fmla="*/ 194570 h 992562"/>
              <a:gd name="connsiteX1336" fmla="*/ 163743 w 1008862"/>
              <a:gd name="connsiteY1336" fmla="*/ 211370 h 992562"/>
              <a:gd name="connsiteX1337" fmla="*/ 192383 w 1008862"/>
              <a:gd name="connsiteY1337" fmla="*/ 248170 h 992562"/>
              <a:gd name="connsiteX1338" fmla="*/ 204703 w 1008862"/>
              <a:gd name="connsiteY1338" fmla="*/ 265930 h 992562"/>
              <a:gd name="connsiteX1339" fmla="*/ 210623 w 1008862"/>
              <a:gd name="connsiteY1339" fmla="*/ 275850 h 992562"/>
              <a:gd name="connsiteX1340" fmla="*/ 211583 w 1008862"/>
              <a:gd name="connsiteY1340" fmla="*/ 290890 h 992562"/>
              <a:gd name="connsiteX1341" fmla="*/ 215903 w 1008862"/>
              <a:gd name="connsiteY1341" fmla="*/ 326890 h 992562"/>
              <a:gd name="connsiteX1342" fmla="*/ 216383 w 1008862"/>
              <a:gd name="connsiteY1342" fmla="*/ 331850 h 992562"/>
              <a:gd name="connsiteX1343" fmla="*/ 214783 w 1008862"/>
              <a:gd name="connsiteY1343" fmla="*/ 328970 h 992562"/>
              <a:gd name="connsiteX1344" fmla="*/ 196223 w 1008862"/>
              <a:gd name="connsiteY1344" fmla="*/ 299690 h 992562"/>
              <a:gd name="connsiteX1345" fmla="*/ 150463 w 1008862"/>
              <a:gd name="connsiteY1345" fmla="*/ 239050 h 992562"/>
              <a:gd name="connsiteX1346" fmla="*/ 124863 w 1008862"/>
              <a:gd name="connsiteY1346" fmla="*/ 215370 h 992562"/>
              <a:gd name="connsiteX1347" fmla="*/ 109823 w 1008862"/>
              <a:gd name="connsiteY1347" fmla="*/ 203050 h 992562"/>
              <a:gd name="connsiteX1348" fmla="*/ 95903 w 1008862"/>
              <a:gd name="connsiteY1348" fmla="*/ 191210 h 992562"/>
              <a:gd name="connsiteX1349" fmla="*/ 65343 w 1008862"/>
              <a:gd name="connsiteY1349" fmla="*/ 168330 h 992562"/>
              <a:gd name="connsiteX1350" fmla="*/ 55743 w 1008862"/>
              <a:gd name="connsiteY1350" fmla="*/ 161450 h 992562"/>
              <a:gd name="connsiteX1351" fmla="*/ 65983 w 1008862"/>
              <a:gd name="connsiteY1351" fmla="*/ 160810 h 992562"/>
              <a:gd name="connsiteX1352" fmla="*/ 46943 w 1008862"/>
              <a:gd name="connsiteY1352" fmla="*/ 161450 h 992562"/>
              <a:gd name="connsiteX1353" fmla="*/ 67743 w 1008862"/>
              <a:gd name="connsiteY1353" fmla="*/ 175850 h 992562"/>
              <a:gd name="connsiteX1354" fmla="*/ 95903 w 1008862"/>
              <a:gd name="connsiteY1354" fmla="*/ 197610 h 992562"/>
              <a:gd name="connsiteX1355" fmla="*/ 148223 w 1008862"/>
              <a:gd name="connsiteY1355" fmla="*/ 244810 h 992562"/>
              <a:gd name="connsiteX1356" fmla="*/ 172383 w 1008862"/>
              <a:gd name="connsiteY1356" fmla="*/ 276490 h 992562"/>
              <a:gd name="connsiteX1357" fmla="*/ 193663 w 1008862"/>
              <a:gd name="connsiteY1357" fmla="*/ 306570 h 992562"/>
              <a:gd name="connsiteX1358" fmla="*/ 210783 w 1008862"/>
              <a:gd name="connsiteY1358" fmla="*/ 334090 h 992562"/>
              <a:gd name="connsiteX1359" fmla="*/ 217823 w 1008862"/>
              <a:gd name="connsiteY1359" fmla="*/ 348490 h 992562"/>
              <a:gd name="connsiteX1360" fmla="*/ 221183 w 1008862"/>
              <a:gd name="connsiteY1360" fmla="*/ 355530 h 992562"/>
              <a:gd name="connsiteX1361" fmla="*/ 223103 w 1008862"/>
              <a:gd name="connsiteY1361" fmla="*/ 362410 h 992562"/>
              <a:gd name="connsiteX1362" fmla="*/ 229823 w 1008862"/>
              <a:gd name="connsiteY1362" fmla="*/ 373770 h 992562"/>
              <a:gd name="connsiteX1363" fmla="*/ 227103 w 1008862"/>
              <a:gd name="connsiteY1363" fmla="*/ 374890 h 992562"/>
              <a:gd name="connsiteX1364" fmla="*/ 223103 w 1008862"/>
              <a:gd name="connsiteY1364" fmla="*/ 374090 h 992562"/>
              <a:gd name="connsiteX1365" fmla="*/ 199583 w 1008862"/>
              <a:gd name="connsiteY1365" fmla="*/ 351050 h 992562"/>
              <a:gd name="connsiteX1366" fmla="*/ 191103 w 1008862"/>
              <a:gd name="connsiteY1366" fmla="*/ 338570 h 992562"/>
              <a:gd name="connsiteX1367" fmla="*/ 181503 w 1008862"/>
              <a:gd name="connsiteY1367" fmla="*/ 324810 h 992562"/>
              <a:gd name="connsiteX1368" fmla="*/ 158463 w 1008862"/>
              <a:gd name="connsiteY1368" fmla="*/ 291850 h 992562"/>
              <a:gd name="connsiteX1369" fmla="*/ 132383 w 1008862"/>
              <a:gd name="connsiteY1369" fmla="*/ 260170 h 992562"/>
              <a:gd name="connsiteX1370" fmla="*/ 79743 w 1008862"/>
              <a:gd name="connsiteY1370" fmla="*/ 203370 h 992562"/>
              <a:gd name="connsiteX1371" fmla="*/ 51583 w 1008862"/>
              <a:gd name="connsiteY1371" fmla="*/ 177930 h 992562"/>
              <a:gd name="connsiteX1372" fmla="*/ 38303 w 1008862"/>
              <a:gd name="connsiteY1372" fmla="*/ 167530 h 992562"/>
              <a:gd name="connsiteX1373" fmla="*/ 34143 w 1008862"/>
              <a:gd name="connsiteY1373" fmla="*/ 165610 h 992562"/>
              <a:gd name="connsiteX1374" fmla="*/ 28223 w 1008862"/>
              <a:gd name="connsiteY1374" fmla="*/ 161770 h 992562"/>
              <a:gd name="connsiteX1375" fmla="*/ 26943 w 1008862"/>
              <a:gd name="connsiteY1375" fmla="*/ 160970 h 992562"/>
              <a:gd name="connsiteX1376" fmla="*/ 46943 w 1008862"/>
              <a:gd name="connsiteY1376" fmla="*/ 161450 h 992562"/>
              <a:gd name="connsiteX1377" fmla="*/ 121343 w 1008862"/>
              <a:gd name="connsiteY1377" fmla="*/ 368650 h 992562"/>
              <a:gd name="connsiteX1378" fmla="*/ 124543 w 1008862"/>
              <a:gd name="connsiteY1378" fmla="*/ 380970 h 992562"/>
              <a:gd name="connsiteX1379" fmla="*/ 124543 w 1008862"/>
              <a:gd name="connsiteY1379" fmla="*/ 385290 h 992562"/>
              <a:gd name="connsiteX1380" fmla="*/ 124703 w 1008862"/>
              <a:gd name="connsiteY1380" fmla="*/ 389290 h 992562"/>
              <a:gd name="connsiteX1381" fmla="*/ 122463 w 1008862"/>
              <a:gd name="connsiteY1381" fmla="*/ 386410 h 992562"/>
              <a:gd name="connsiteX1382" fmla="*/ 115103 w 1008862"/>
              <a:gd name="connsiteY1382" fmla="*/ 375690 h 992562"/>
              <a:gd name="connsiteX1383" fmla="*/ 101823 w 1008862"/>
              <a:gd name="connsiteY1383" fmla="*/ 353770 h 992562"/>
              <a:gd name="connsiteX1384" fmla="*/ 89503 w 1008862"/>
              <a:gd name="connsiteY1384" fmla="*/ 331530 h 992562"/>
              <a:gd name="connsiteX1385" fmla="*/ 78463 w 1008862"/>
              <a:gd name="connsiteY1385" fmla="*/ 306730 h 992562"/>
              <a:gd name="connsiteX1386" fmla="*/ 56063 w 1008862"/>
              <a:gd name="connsiteY1386" fmla="*/ 256330 h 992562"/>
              <a:gd name="connsiteX1387" fmla="*/ 44543 w 1008862"/>
              <a:gd name="connsiteY1387" fmla="*/ 231370 h 992562"/>
              <a:gd name="connsiteX1388" fmla="*/ 42303 w 1008862"/>
              <a:gd name="connsiteY1388" fmla="*/ 225770 h 992562"/>
              <a:gd name="connsiteX1389" fmla="*/ 46303 w 1008862"/>
              <a:gd name="connsiteY1389" fmla="*/ 228810 h 992562"/>
              <a:gd name="connsiteX1390" fmla="*/ 64223 w 1008862"/>
              <a:gd name="connsiteY1390" fmla="*/ 243050 h 992562"/>
              <a:gd name="connsiteX1391" fmla="*/ 72543 w 1008862"/>
              <a:gd name="connsiteY1391" fmla="*/ 249130 h 992562"/>
              <a:gd name="connsiteX1392" fmla="*/ 103423 w 1008862"/>
              <a:gd name="connsiteY1392" fmla="*/ 308330 h 992562"/>
              <a:gd name="connsiteX1393" fmla="*/ 122303 w 1008862"/>
              <a:gd name="connsiteY1393" fmla="*/ 343850 h 992562"/>
              <a:gd name="connsiteX1394" fmla="*/ 131903 w 1008862"/>
              <a:gd name="connsiteY1394" fmla="*/ 366250 h 992562"/>
              <a:gd name="connsiteX1395" fmla="*/ 129983 w 1008862"/>
              <a:gd name="connsiteY1395" fmla="*/ 365770 h 992562"/>
              <a:gd name="connsiteX1396" fmla="*/ 128703 w 1008862"/>
              <a:gd name="connsiteY1396" fmla="*/ 365450 h 992562"/>
              <a:gd name="connsiteX1397" fmla="*/ 126463 w 1008862"/>
              <a:gd name="connsiteY1397" fmla="*/ 364650 h 992562"/>
              <a:gd name="connsiteX1398" fmla="*/ 124223 w 1008862"/>
              <a:gd name="connsiteY1398" fmla="*/ 365770 h 992562"/>
              <a:gd name="connsiteX1399" fmla="*/ 121343 w 1008862"/>
              <a:gd name="connsiteY1399" fmla="*/ 368650 h 992562"/>
              <a:gd name="connsiteX1400" fmla="*/ 129503 w 1008862"/>
              <a:gd name="connsiteY1400" fmla="*/ 375370 h 992562"/>
              <a:gd name="connsiteX1401" fmla="*/ 131103 w 1008862"/>
              <a:gd name="connsiteY1401" fmla="*/ 379370 h 992562"/>
              <a:gd name="connsiteX1402" fmla="*/ 136863 w 1008862"/>
              <a:gd name="connsiteY1402" fmla="*/ 398250 h 992562"/>
              <a:gd name="connsiteX1403" fmla="*/ 143263 w 1008862"/>
              <a:gd name="connsiteY1403" fmla="*/ 417930 h 992562"/>
              <a:gd name="connsiteX1404" fmla="*/ 151103 w 1008862"/>
              <a:gd name="connsiteY1404" fmla="*/ 435850 h 992562"/>
              <a:gd name="connsiteX1405" fmla="*/ 168543 w 1008862"/>
              <a:gd name="connsiteY1405" fmla="*/ 468490 h 992562"/>
              <a:gd name="connsiteX1406" fmla="*/ 193663 w 1008862"/>
              <a:gd name="connsiteY1406" fmla="*/ 503210 h 992562"/>
              <a:gd name="connsiteX1407" fmla="*/ 221823 w 1008862"/>
              <a:gd name="connsiteY1407" fmla="*/ 531370 h 992562"/>
              <a:gd name="connsiteX1408" fmla="*/ 252863 w 1008862"/>
              <a:gd name="connsiteY1408" fmla="*/ 556010 h 992562"/>
              <a:gd name="connsiteX1409" fmla="*/ 239103 w 1008862"/>
              <a:gd name="connsiteY1409" fmla="*/ 549290 h 992562"/>
              <a:gd name="connsiteX1410" fmla="*/ 217343 w 1008862"/>
              <a:gd name="connsiteY1410" fmla="*/ 536650 h 992562"/>
              <a:gd name="connsiteX1411" fmla="*/ 196383 w 1008862"/>
              <a:gd name="connsiteY1411" fmla="*/ 519210 h 992562"/>
              <a:gd name="connsiteX1412" fmla="*/ 181663 w 1008862"/>
              <a:gd name="connsiteY1412" fmla="*/ 502570 h 992562"/>
              <a:gd name="connsiteX1413" fmla="*/ 165503 w 1008862"/>
              <a:gd name="connsiteY1413" fmla="*/ 480490 h 992562"/>
              <a:gd name="connsiteX1414" fmla="*/ 154303 w 1008862"/>
              <a:gd name="connsiteY1414" fmla="*/ 459210 h 992562"/>
              <a:gd name="connsiteX1415" fmla="*/ 147103 w 1008862"/>
              <a:gd name="connsiteY1415" fmla="*/ 448650 h 992562"/>
              <a:gd name="connsiteX1416" fmla="*/ 140063 w 1008862"/>
              <a:gd name="connsiteY1416" fmla="*/ 433450 h 992562"/>
              <a:gd name="connsiteX1417" fmla="*/ 132543 w 1008862"/>
              <a:gd name="connsiteY1417" fmla="*/ 406250 h 992562"/>
              <a:gd name="connsiteX1418" fmla="*/ 130303 w 1008862"/>
              <a:gd name="connsiteY1418" fmla="*/ 387370 h 992562"/>
              <a:gd name="connsiteX1419" fmla="*/ 129503 w 1008862"/>
              <a:gd name="connsiteY1419" fmla="*/ 375370 h 992562"/>
              <a:gd name="connsiteX1420" fmla="*/ 225023 w 1008862"/>
              <a:gd name="connsiteY1420" fmla="*/ 527850 h 992562"/>
              <a:gd name="connsiteX1421" fmla="*/ 195263 w 1008862"/>
              <a:gd name="connsiteY1421" fmla="*/ 497450 h 992562"/>
              <a:gd name="connsiteX1422" fmla="*/ 172383 w 1008862"/>
              <a:gd name="connsiteY1422" fmla="*/ 466090 h 992562"/>
              <a:gd name="connsiteX1423" fmla="*/ 154783 w 1008862"/>
              <a:gd name="connsiteY1423" fmla="*/ 432810 h 992562"/>
              <a:gd name="connsiteX1424" fmla="*/ 147263 w 1008862"/>
              <a:gd name="connsiteY1424" fmla="*/ 416650 h 992562"/>
              <a:gd name="connsiteX1425" fmla="*/ 141183 w 1008862"/>
              <a:gd name="connsiteY1425" fmla="*/ 399050 h 992562"/>
              <a:gd name="connsiteX1426" fmla="*/ 135583 w 1008862"/>
              <a:gd name="connsiteY1426" fmla="*/ 381930 h 992562"/>
              <a:gd name="connsiteX1427" fmla="*/ 129983 w 1008862"/>
              <a:gd name="connsiteY1427" fmla="*/ 371370 h 992562"/>
              <a:gd name="connsiteX1428" fmla="*/ 130783 w 1008862"/>
              <a:gd name="connsiteY1428" fmla="*/ 371530 h 992562"/>
              <a:gd name="connsiteX1429" fmla="*/ 132223 w 1008862"/>
              <a:gd name="connsiteY1429" fmla="*/ 371850 h 992562"/>
              <a:gd name="connsiteX1430" fmla="*/ 132383 w 1008862"/>
              <a:gd name="connsiteY1430" fmla="*/ 372490 h 992562"/>
              <a:gd name="connsiteX1431" fmla="*/ 137023 w 1008862"/>
              <a:gd name="connsiteY1431" fmla="*/ 375370 h 992562"/>
              <a:gd name="connsiteX1432" fmla="*/ 142463 w 1008862"/>
              <a:gd name="connsiteY1432" fmla="*/ 383050 h 992562"/>
              <a:gd name="connsiteX1433" fmla="*/ 155743 w 1008862"/>
              <a:gd name="connsiteY1433" fmla="*/ 397770 h 992562"/>
              <a:gd name="connsiteX1434" fmla="*/ 167423 w 1008862"/>
              <a:gd name="connsiteY1434" fmla="*/ 416330 h 992562"/>
              <a:gd name="connsiteX1435" fmla="*/ 179263 w 1008862"/>
              <a:gd name="connsiteY1435" fmla="*/ 436010 h 992562"/>
              <a:gd name="connsiteX1436" fmla="*/ 235423 w 1008862"/>
              <a:gd name="connsiteY1436" fmla="*/ 505130 h 992562"/>
              <a:gd name="connsiteX1437" fmla="*/ 304063 w 1008862"/>
              <a:gd name="connsiteY1437" fmla="*/ 567690 h 992562"/>
              <a:gd name="connsiteX1438" fmla="*/ 337983 w 1008862"/>
              <a:gd name="connsiteY1438" fmla="*/ 588010 h 992562"/>
              <a:gd name="connsiteX1439" fmla="*/ 326783 w 1008862"/>
              <a:gd name="connsiteY1439" fmla="*/ 586570 h 992562"/>
              <a:gd name="connsiteX1440" fmla="*/ 321023 w 1008862"/>
              <a:gd name="connsiteY1440" fmla="*/ 585130 h 992562"/>
              <a:gd name="connsiteX1441" fmla="*/ 320223 w 1008862"/>
              <a:gd name="connsiteY1441" fmla="*/ 584650 h 992562"/>
              <a:gd name="connsiteX1442" fmla="*/ 318623 w 1008862"/>
              <a:gd name="connsiteY1442" fmla="*/ 584330 h 992562"/>
              <a:gd name="connsiteX1443" fmla="*/ 312383 w 1008862"/>
              <a:gd name="connsiteY1443" fmla="*/ 581770 h 992562"/>
              <a:gd name="connsiteX1444" fmla="*/ 305983 w 1008862"/>
              <a:gd name="connsiteY1444" fmla="*/ 579370 h 992562"/>
              <a:gd name="connsiteX1445" fmla="*/ 302463 w 1008862"/>
              <a:gd name="connsiteY1445" fmla="*/ 577770 h 992562"/>
              <a:gd name="connsiteX1446" fmla="*/ 285663 w 1008862"/>
              <a:gd name="connsiteY1446" fmla="*/ 570090 h 992562"/>
              <a:gd name="connsiteX1447" fmla="*/ 268703 w 1008862"/>
              <a:gd name="connsiteY1447" fmla="*/ 561290 h 992562"/>
              <a:gd name="connsiteX1448" fmla="*/ 255423 w 1008862"/>
              <a:gd name="connsiteY1448" fmla="*/ 552170 h 992562"/>
              <a:gd name="connsiteX1449" fmla="*/ 225023 w 1008862"/>
              <a:gd name="connsiteY1449" fmla="*/ 527850 h 992562"/>
              <a:gd name="connsiteX1450" fmla="*/ 127743 w 1008862"/>
              <a:gd name="connsiteY1450" fmla="*/ 343050 h 992562"/>
              <a:gd name="connsiteX1451" fmla="*/ 108543 w 1008862"/>
              <a:gd name="connsiteY1451" fmla="*/ 307690 h 992562"/>
              <a:gd name="connsiteX1452" fmla="*/ 90303 w 1008862"/>
              <a:gd name="connsiteY1452" fmla="*/ 275370 h 992562"/>
              <a:gd name="connsiteX1453" fmla="*/ 76543 w 1008862"/>
              <a:gd name="connsiteY1453" fmla="*/ 252490 h 992562"/>
              <a:gd name="connsiteX1454" fmla="*/ 101183 w 1008862"/>
              <a:gd name="connsiteY1454" fmla="*/ 269930 h 992562"/>
              <a:gd name="connsiteX1455" fmla="*/ 118623 w 1008862"/>
              <a:gd name="connsiteY1455" fmla="*/ 283370 h 992562"/>
              <a:gd name="connsiteX1456" fmla="*/ 127103 w 1008862"/>
              <a:gd name="connsiteY1456" fmla="*/ 299050 h 992562"/>
              <a:gd name="connsiteX1457" fmla="*/ 139423 w 1008862"/>
              <a:gd name="connsiteY1457" fmla="*/ 325290 h 992562"/>
              <a:gd name="connsiteX1458" fmla="*/ 149663 w 1008862"/>
              <a:gd name="connsiteY1458" fmla="*/ 351530 h 992562"/>
              <a:gd name="connsiteX1459" fmla="*/ 157983 w 1008862"/>
              <a:gd name="connsiteY1459" fmla="*/ 370890 h 992562"/>
              <a:gd name="connsiteX1460" fmla="*/ 141183 w 1008862"/>
              <a:gd name="connsiteY1460" fmla="*/ 368010 h 992562"/>
              <a:gd name="connsiteX1461" fmla="*/ 138623 w 1008862"/>
              <a:gd name="connsiteY1461" fmla="*/ 367530 h 992562"/>
              <a:gd name="connsiteX1462" fmla="*/ 127743 w 1008862"/>
              <a:gd name="connsiteY1462" fmla="*/ 343050 h 992562"/>
              <a:gd name="connsiteX1463" fmla="*/ 156063 w 1008862"/>
              <a:gd name="connsiteY1463" fmla="*/ 352330 h 992562"/>
              <a:gd name="connsiteX1464" fmla="*/ 144383 w 1008862"/>
              <a:gd name="connsiteY1464" fmla="*/ 323690 h 992562"/>
              <a:gd name="connsiteX1465" fmla="*/ 130623 w 1008862"/>
              <a:gd name="connsiteY1465" fmla="*/ 295690 h 992562"/>
              <a:gd name="connsiteX1466" fmla="*/ 128543 w 1008862"/>
              <a:gd name="connsiteY1466" fmla="*/ 291530 h 992562"/>
              <a:gd name="connsiteX1467" fmla="*/ 163743 w 1008862"/>
              <a:gd name="connsiteY1467" fmla="*/ 328810 h 992562"/>
              <a:gd name="connsiteX1468" fmla="*/ 188223 w 1008862"/>
              <a:gd name="connsiteY1468" fmla="*/ 362730 h 992562"/>
              <a:gd name="connsiteX1469" fmla="*/ 199103 w 1008862"/>
              <a:gd name="connsiteY1469" fmla="*/ 378090 h 992562"/>
              <a:gd name="connsiteX1470" fmla="*/ 200383 w 1008862"/>
              <a:gd name="connsiteY1470" fmla="*/ 379530 h 992562"/>
              <a:gd name="connsiteX1471" fmla="*/ 196383 w 1008862"/>
              <a:gd name="connsiteY1471" fmla="*/ 379690 h 992562"/>
              <a:gd name="connsiteX1472" fmla="*/ 193823 w 1008862"/>
              <a:gd name="connsiteY1472" fmla="*/ 377610 h 992562"/>
              <a:gd name="connsiteX1473" fmla="*/ 175423 w 1008862"/>
              <a:gd name="connsiteY1473" fmla="*/ 374890 h 992562"/>
              <a:gd name="connsiteX1474" fmla="*/ 164063 w 1008862"/>
              <a:gd name="connsiteY1474" fmla="*/ 372170 h 992562"/>
              <a:gd name="connsiteX1475" fmla="*/ 161823 w 1008862"/>
              <a:gd name="connsiteY1475" fmla="*/ 364810 h 992562"/>
              <a:gd name="connsiteX1476" fmla="*/ 158303 w 1008862"/>
              <a:gd name="connsiteY1476" fmla="*/ 358570 h 992562"/>
              <a:gd name="connsiteX1477" fmla="*/ 156063 w 1008862"/>
              <a:gd name="connsiteY1477" fmla="*/ 352330 h 992562"/>
              <a:gd name="connsiteX1478" fmla="*/ 206783 w 1008862"/>
              <a:gd name="connsiteY1478" fmla="*/ 386570 h 992562"/>
              <a:gd name="connsiteX1479" fmla="*/ 206943 w 1008862"/>
              <a:gd name="connsiteY1479" fmla="*/ 386730 h 992562"/>
              <a:gd name="connsiteX1480" fmla="*/ 211103 w 1008862"/>
              <a:gd name="connsiteY1480" fmla="*/ 386410 h 992562"/>
              <a:gd name="connsiteX1481" fmla="*/ 213503 w 1008862"/>
              <a:gd name="connsiteY1481" fmla="*/ 386250 h 992562"/>
              <a:gd name="connsiteX1482" fmla="*/ 222943 w 1008862"/>
              <a:gd name="connsiteY1482" fmla="*/ 384970 h 992562"/>
              <a:gd name="connsiteX1483" fmla="*/ 233663 w 1008862"/>
              <a:gd name="connsiteY1483" fmla="*/ 388810 h 992562"/>
              <a:gd name="connsiteX1484" fmla="*/ 269983 w 1008862"/>
              <a:gd name="connsiteY1484" fmla="*/ 412490 h 992562"/>
              <a:gd name="connsiteX1485" fmla="*/ 302623 w 1008862"/>
              <a:gd name="connsiteY1485" fmla="*/ 439210 h 992562"/>
              <a:gd name="connsiteX1486" fmla="*/ 332063 w 1008862"/>
              <a:gd name="connsiteY1486" fmla="*/ 471210 h 992562"/>
              <a:gd name="connsiteX1487" fmla="*/ 344223 w 1008862"/>
              <a:gd name="connsiteY1487" fmla="*/ 484970 h 992562"/>
              <a:gd name="connsiteX1488" fmla="*/ 357503 w 1008862"/>
              <a:gd name="connsiteY1488" fmla="*/ 504170 h 992562"/>
              <a:gd name="connsiteX1489" fmla="*/ 367263 w 1008862"/>
              <a:gd name="connsiteY1489" fmla="*/ 520650 h 992562"/>
              <a:gd name="connsiteX1490" fmla="*/ 377183 w 1008862"/>
              <a:gd name="connsiteY1490" fmla="*/ 539210 h 992562"/>
              <a:gd name="connsiteX1491" fmla="*/ 397343 w 1008862"/>
              <a:gd name="connsiteY1491" fmla="*/ 572970 h 992562"/>
              <a:gd name="connsiteX1492" fmla="*/ 405023 w 1008862"/>
              <a:gd name="connsiteY1492" fmla="*/ 586890 h 992562"/>
              <a:gd name="connsiteX1493" fmla="*/ 391583 w 1008862"/>
              <a:gd name="connsiteY1493" fmla="*/ 572970 h 992562"/>
              <a:gd name="connsiteX1494" fmla="*/ 364383 w 1008862"/>
              <a:gd name="connsiteY1494" fmla="*/ 540330 h 992562"/>
              <a:gd name="connsiteX1495" fmla="*/ 340383 w 1008862"/>
              <a:gd name="connsiteY1495" fmla="*/ 508810 h 992562"/>
              <a:gd name="connsiteX1496" fmla="*/ 328703 w 1008862"/>
              <a:gd name="connsiteY1496" fmla="*/ 496170 h 992562"/>
              <a:gd name="connsiteX1497" fmla="*/ 320703 w 1008862"/>
              <a:gd name="connsiteY1497" fmla="*/ 488810 h 992562"/>
              <a:gd name="connsiteX1498" fmla="*/ 315103 w 1008862"/>
              <a:gd name="connsiteY1498" fmla="*/ 482250 h 992562"/>
              <a:gd name="connsiteX1499" fmla="*/ 253183 w 1008862"/>
              <a:gd name="connsiteY1499" fmla="*/ 422410 h 992562"/>
              <a:gd name="connsiteX1500" fmla="*/ 220863 w 1008862"/>
              <a:gd name="connsiteY1500" fmla="*/ 400170 h 992562"/>
              <a:gd name="connsiteX1501" fmla="*/ 201983 w 1008862"/>
              <a:gd name="connsiteY1501" fmla="*/ 387850 h 992562"/>
              <a:gd name="connsiteX1502" fmla="*/ 199583 w 1008862"/>
              <a:gd name="connsiteY1502" fmla="*/ 386730 h 992562"/>
              <a:gd name="connsiteX1503" fmla="*/ 206783 w 1008862"/>
              <a:gd name="connsiteY1503" fmla="*/ 386570 h 992562"/>
              <a:gd name="connsiteX1504" fmla="*/ 18143 w 1008862"/>
              <a:gd name="connsiteY1504" fmla="*/ 161130 h 992562"/>
              <a:gd name="connsiteX1505" fmla="*/ 22303 w 1008862"/>
              <a:gd name="connsiteY1505" fmla="*/ 162090 h 992562"/>
              <a:gd name="connsiteX1506" fmla="*/ 28223 w 1008862"/>
              <a:gd name="connsiteY1506" fmla="*/ 166730 h 992562"/>
              <a:gd name="connsiteX1507" fmla="*/ 34783 w 1008862"/>
              <a:gd name="connsiteY1507" fmla="*/ 170410 h 992562"/>
              <a:gd name="connsiteX1508" fmla="*/ 43583 w 1008862"/>
              <a:gd name="connsiteY1508" fmla="*/ 177130 h 992562"/>
              <a:gd name="connsiteX1509" fmla="*/ 73343 w 1008862"/>
              <a:gd name="connsiteY1509" fmla="*/ 204330 h 992562"/>
              <a:gd name="connsiteX1510" fmla="*/ 86143 w 1008862"/>
              <a:gd name="connsiteY1510" fmla="*/ 218410 h 992562"/>
              <a:gd name="connsiteX1511" fmla="*/ 100223 w 1008862"/>
              <a:gd name="connsiteY1511" fmla="*/ 232970 h 992562"/>
              <a:gd name="connsiteX1512" fmla="*/ 128703 w 1008862"/>
              <a:gd name="connsiteY1512" fmla="*/ 264330 h 992562"/>
              <a:gd name="connsiteX1513" fmla="*/ 155903 w 1008862"/>
              <a:gd name="connsiteY1513" fmla="*/ 298410 h 992562"/>
              <a:gd name="connsiteX1514" fmla="*/ 167103 w 1008862"/>
              <a:gd name="connsiteY1514" fmla="*/ 315050 h 992562"/>
              <a:gd name="connsiteX1515" fmla="*/ 180543 w 1008862"/>
              <a:gd name="connsiteY1515" fmla="*/ 334410 h 992562"/>
              <a:gd name="connsiteX1516" fmla="*/ 188383 w 1008862"/>
              <a:gd name="connsiteY1516" fmla="*/ 344170 h 992562"/>
              <a:gd name="connsiteX1517" fmla="*/ 198463 w 1008862"/>
              <a:gd name="connsiteY1517" fmla="*/ 359370 h 992562"/>
              <a:gd name="connsiteX1518" fmla="*/ 211423 w 1008862"/>
              <a:gd name="connsiteY1518" fmla="*/ 373450 h 992562"/>
              <a:gd name="connsiteX1519" fmla="*/ 217183 w 1008862"/>
              <a:gd name="connsiteY1519" fmla="*/ 377450 h 992562"/>
              <a:gd name="connsiteX1520" fmla="*/ 211423 w 1008862"/>
              <a:gd name="connsiteY1520" fmla="*/ 378250 h 992562"/>
              <a:gd name="connsiteX1521" fmla="*/ 211263 w 1008862"/>
              <a:gd name="connsiteY1521" fmla="*/ 378250 h 992562"/>
              <a:gd name="connsiteX1522" fmla="*/ 208223 w 1008862"/>
              <a:gd name="connsiteY1522" fmla="*/ 374090 h 992562"/>
              <a:gd name="connsiteX1523" fmla="*/ 203743 w 1008862"/>
              <a:gd name="connsiteY1523" fmla="*/ 368810 h 992562"/>
              <a:gd name="connsiteX1524" fmla="*/ 193183 w 1008862"/>
              <a:gd name="connsiteY1524" fmla="*/ 353770 h 992562"/>
              <a:gd name="connsiteX1525" fmla="*/ 169823 w 1008862"/>
              <a:gd name="connsiteY1525" fmla="*/ 322250 h 992562"/>
              <a:gd name="connsiteX1526" fmla="*/ 129343 w 1008862"/>
              <a:gd name="connsiteY1526" fmla="*/ 281450 h 992562"/>
              <a:gd name="connsiteX1527" fmla="*/ 128383 w 1008862"/>
              <a:gd name="connsiteY1527" fmla="*/ 280650 h 992562"/>
              <a:gd name="connsiteX1528" fmla="*/ 110143 w 1008862"/>
              <a:gd name="connsiteY1528" fmla="*/ 264970 h 992562"/>
              <a:gd name="connsiteX1529" fmla="*/ 91903 w 1008862"/>
              <a:gd name="connsiteY1529" fmla="*/ 249290 h 992562"/>
              <a:gd name="connsiteX1530" fmla="*/ 73503 w 1008862"/>
              <a:gd name="connsiteY1530" fmla="*/ 233930 h 992562"/>
              <a:gd name="connsiteX1531" fmla="*/ 56223 w 1008862"/>
              <a:gd name="connsiteY1531" fmla="*/ 214410 h 992562"/>
              <a:gd name="connsiteX1532" fmla="*/ 40543 w 1008862"/>
              <a:gd name="connsiteY1532" fmla="*/ 197770 h 992562"/>
              <a:gd name="connsiteX1533" fmla="*/ 22943 w 1008862"/>
              <a:gd name="connsiteY1533" fmla="*/ 178890 h 992562"/>
              <a:gd name="connsiteX1534" fmla="*/ 12063 w 1008862"/>
              <a:gd name="connsiteY1534" fmla="*/ 162410 h 992562"/>
              <a:gd name="connsiteX1535" fmla="*/ 18143 w 1008862"/>
              <a:gd name="connsiteY1535" fmla="*/ 161130 h 992562"/>
              <a:gd name="connsiteX1536" fmla="*/ 6783 w 1008862"/>
              <a:gd name="connsiteY1536" fmla="*/ 164970 h 992562"/>
              <a:gd name="connsiteX1537" fmla="*/ 7263 w 1008862"/>
              <a:gd name="connsiteY1537" fmla="*/ 164650 h 992562"/>
              <a:gd name="connsiteX1538" fmla="*/ 9663 w 1008862"/>
              <a:gd name="connsiteY1538" fmla="*/ 163210 h 992562"/>
              <a:gd name="connsiteX1539" fmla="*/ 31423 w 1008862"/>
              <a:gd name="connsiteY1539" fmla="*/ 194730 h 992562"/>
              <a:gd name="connsiteX1540" fmla="*/ 49503 w 1008862"/>
              <a:gd name="connsiteY1540" fmla="*/ 213770 h 992562"/>
              <a:gd name="connsiteX1541" fmla="*/ 65503 w 1008862"/>
              <a:gd name="connsiteY1541" fmla="*/ 233290 h 992562"/>
              <a:gd name="connsiteX1542" fmla="*/ 68863 w 1008862"/>
              <a:gd name="connsiteY1542" fmla="*/ 236650 h 992562"/>
              <a:gd name="connsiteX1543" fmla="*/ 49343 w 1008862"/>
              <a:gd name="connsiteY1543" fmla="*/ 222090 h 992562"/>
              <a:gd name="connsiteX1544" fmla="*/ 21183 w 1008862"/>
              <a:gd name="connsiteY1544" fmla="*/ 194730 h 992562"/>
              <a:gd name="connsiteX1545" fmla="*/ 11583 w 1008862"/>
              <a:gd name="connsiteY1545" fmla="*/ 181290 h 992562"/>
              <a:gd name="connsiteX1546" fmla="*/ 8703 w 1008862"/>
              <a:gd name="connsiteY1546" fmla="*/ 177130 h 992562"/>
              <a:gd name="connsiteX1547" fmla="*/ 6783 w 1008862"/>
              <a:gd name="connsiteY1547" fmla="*/ 164970 h 992562"/>
              <a:gd name="connsiteX1548" fmla="*/ 87103 w 1008862"/>
              <a:gd name="connsiteY1548" fmla="*/ 356010 h 992562"/>
              <a:gd name="connsiteX1549" fmla="*/ 80223 w 1008862"/>
              <a:gd name="connsiteY1549" fmla="*/ 342090 h 992562"/>
              <a:gd name="connsiteX1550" fmla="*/ 71263 w 1008862"/>
              <a:gd name="connsiteY1550" fmla="*/ 328170 h 992562"/>
              <a:gd name="connsiteX1551" fmla="*/ 66143 w 1008862"/>
              <a:gd name="connsiteY1551" fmla="*/ 314570 h 992562"/>
              <a:gd name="connsiteX1552" fmla="*/ 41823 w 1008862"/>
              <a:gd name="connsiteY1552" fmla="*/ 265450 h 992562"/>
              <a:gd name="connsiteX1553" fmla="*/ 29503 w 1008862"/>
              <a:gd name="connsiteY1553" fmla="*/ 240490 h 992562"/>
              <a:gd name="connsiteX1554" fmla="*/ 22783 w 1008862"/>
              <a:gd name="connsiteY1554" fmla="*/ 228170 h 992562"/>
              <a:gd name="connsiteX1555" fmla="*/ 17663 w 1008862"/>
              <a:gd name="connsiteY1555" fmla="*/ 214090 h 992562"/>
              <a:gd name="connsiteX1556" fmla="*/ 16223 w 1008862"/>
              <a:gd name="connsiteY1556" fmla="*/ 209610 h 992562"/>
              <a:gd name="connsiteX1557" fmla="*/ 13023 w 1008862"/>
              <a:gd name="connsiteY1557" fmla="*/ 197610 h 992562"/>
              <a:gd name="connsiteX1558" fmla="*/ 12063 w 1008862"/>
              <a:gd name="connsiteY1558" fmla="*/ 194090 h 992562"/>
              <a:gd name="connsiteX1559" fmla="*/ 11743 w 1008862"/>
              <a:gd name="connsiteY1559" fmla="*/ 192970 h 992562"/>
              <a:gd name="connsiteX1560" fmla="*/ 17823 w 1008862"/>
              <a:gd name="connsiteY1560" fmla="*/ 201770 h 992562"/>
              <a:gd name="connsiteX1561" fmla="*/ 30623 w 1008862"/>
              <a:gd name="connsiteY1561" fmla="*/ 216650 h 992562"/>
              <a:gd name="connsiteX1562" fmla="*/ 36223 w 1008862"/>
              <a:gd name="connsiteY1562" fmla="*/ 221610 h 992562"/>
              <a:gd name="connsiteX1563" fmla="*/ 37023 w 1008862"/>
              <a:gd name="connsiteY1563" fmla="*/ 224810 h 992562"/>
              <a:gd name="connsiteX1564" fmla="*/ 41823 w 1008862"/>
              <a:gd name="connsiteY1564" fmla="*/ 236650 h 992562"/>
              <a:gd name="connsiteX1565" fmla="*/ 52703 w 1008862"/>
              <a:gd name="connsiteY1565" fmla="*/ 260970 h 992562"/>
              <a:gd name="connsiteX1566" fmla="*/ 65183 w 1008862"/>
              <a:gd name="connsiteY1566" fmla="*/ 289610 h 992562"/>
              <a:gd name="connsiteX1567" fmla="*/ 77343 w 1008862"/>
              <a:gd name="connsiteY1567" fmla="*/ 317450 h 992562"/>
              <a:gd name="connsiteX1568" fmla="*/ 87583 w 1008862"/>
              <a:gd name="connsiteY1568" fmla="*/ 340330 h 992562"/>
              <a:gd name="connsiteX1569" fmla="*/ 101023 w 1008862"/>
              <a:gd name="connsiteY1569" fmla="*/ 364330 h 992562"/>
              <a:gd name="connsiteX1570" fmla="*/ 107903 w 1008862"/>
              <a:gd name="connsiteY1570" fmla="*/ 375050 h 992562"/>
              <a:gd name="connsiteX1571" fmla="*/ 115423 w 1008862"/>
              <a:gd name="connsiteY1571" fmla="*/ 387370 h 992562"/>
              <a:gd name="connsiteX1572" fmla="*/ 124543 w 1008862"/>
              <a:gd name="connsiteY1572" fmla="*/ 396650 h 992562"/>
              <a:gd name="connsiteX1573" fmla="*/ 124703 w 1008862"/>
              <a:gd name="connsiteY1573" fmla="*/ 401290 h 992562"/>
              <a:gd name="connsiteX1574" fmla="*/ 87103 w 1008862"/>
              <a:gd name="connsiteY1574" fmla="*/ 356010 h 992562"/>
              <a:gd name="connsiteX1575" fmla="*/ 40543 w 1008862"/>
              <a:gd name="connsiteY1575" fmla="*/ 423530 h 992562"/>
              <a:gd name="connsiteX1576" fmla="*/ 52383 w 1008862"/>
              <a:gd name="connsiteY1576" fmla="*/ 415370 h 992562"/>
              <a:gd name="connsiteX1577" fmla="*/ 67743 w 1008862"/>
              <a:gd name="connsiteY1577" fmla="*/ 411850 h 992562"/>
              <a:gd name="connsiteX1578" fmla="*/ 82783 w 1008862"/>
              <a:gd name="connsiteY1578" fmla="*/ 408650 h 992562"/>
              <a:gd name="connsiteX1579" fmla="*/ 98143 w 1008862"/>
              <a:gd name="connsiteY1579" fmla="*/ 408970 h 992562"/>
              <a:gd name="connsiteX1580" fmla="*/ 113503 w 1008862"/>
              <a:gd name="connsiteY1580" fmla="*/ 411370 h 992562"/>
              <a:gd name="connsiteX1581" fmla="*/ 125503 w 1008862"/>
              <a:gd name="connsiteY1581" fmla="*/ 415210 h 992562"/>
              <a:gd name="connsiteX1582" fmla="*/ 126143 w 1008862"/>
              <a:gd name="connsiteY1582" fmla="*/ 415210 h 992562"/>
              <a:gd name="connsiteX1583" fmla="*/ 133343 w 1008862"/>
              <a:gd name="connsiteY1583" fmla="*/ 437930 h 992562"/>
              <a:gd name="connsiteX1584" fmla="*/ 136863 w 1008862"/>
              <a:gd name="connsiteY1584" fmla="*/ 445930 h 992562"/>
              <a:gd name="connsiteX1585" fmla="*/ 117983 w 1008862"/>
              <a:gd name="connsiteY1585" fmla="*/ 436810 h 992562"/>
              <a:gd name="connsiteX1586" fmla="*/ 98143 w 1008862"/>
              <a:gd name="connsiteY1586" fmla="*/ 428490 h 992562"/>
              <a:gd name="connsiteX1587" fmla="*/ 54463 w 1008862"/>
              <a:gd name="connsiteY1587" fmla="*/ 422570 h 992562"/>
              <a:gd name="connsiteX1588" fmla="*/ 40383 w 1008862"/>
              <a:gd name="connsiteY1588" fmla="*/ 423370 h 992562"/>
              <a:gd name="connsiteX1589" fmla="*/ 40543 w 1008862"/>
              <a:gd name="connsiteY1589" fmla="*/ 423530 h 992562"/>
              <a:gd name="connsiteX1590" fmla="*/ 39423 w 1008862"/>
              <a:gd name="connsiteY1590" fmla="*/ 428330 h 992562"/>
              <a:gd name="connsiteX1591" fmla="*/ 59743 w 1008862"/>
              <a:gd name="connsiteY1591" fmla="*/ 428170 h 992562"/>
              <a:gd name="connsiteX1592" fmla="*/ 77023 w 1008862"/>
              <a:gd name="connsiteY1592" fmla="*/ 429130 h 992562"/>
              <a:gd name="connsiteX1593" fmla="*/ 98303 w 1008862"/>
              <a:gd name="connsiteY1593" fmla="*/ 434090 h 992562"/>
              <a:gd name="connsiteX1594" fmla="*/ 132383 w 1008862"/>
              <a:gd name="connsiteY1594" fmla="*/ 449450 h 992562"/>
              <a:gd name="connsiteX1595" fmla="*/ 143103 w 1008862"/>
              <a:gd name="connsiteY1595" fmla="*/ 458090 h 992562"/>
              <a:gd name="connsiteX1596" fmla="*/ 144703 w 1008862"/>
              <a:gd name="connsiteY1596" fmla="*/ 459530 h 992562"/>
              <a:gd name="connsiteX1597" fmla="*/ 146463 w 1008862"/>
              <a:gd name="connsiteY1597" fmla="*/ 462090 h 992562"/>
              <a:gd name="connsiteX1598" fmla="*/ 157663 w 1008862"/>
              <a:gd name="connsiteY1598" fmla="*/ 483370 h 992562"/>
              <a:gd name="connsiteX1599" fmla="*/ 173343 w 1008862"/>
              <a:gd name="connsiteY1599" fmla="*/ 505610 h 992562"/>
              <a:gd name="connsiteX1600" fmla="*/ 186623 w 1008862"/>
              <a:gd name="connsiteY1600" fmla="*/ 521770 h 992562"/>
              <a:gd name="connsiteX1601" fmla="*/ 206623 w 1008862"/>
              <a:gd name="connsiteY1601" fmla="*/ 538890 h 992562"/>
              <a:gd name="connsiteX1602" fmla="*/ 208383 w 1008862"/>
              <a:gd name="connsiteY1602" fmla="*/ 540170 h 992562"/>
              <a:gd name="connsiteX1603" fmla="*/ 192063 w 1008862"/>
              <a:gd name="connsiteY1603" fmla="*/ 528330 h 992562"/>
              <a:gd name="connsiteX1604" fmla="*/ 169023 w 1008862"/>
              <a:gd name="connsiteY1604" fmla="*/ 508490 h 992562"/>
              <a:gd name="connsiteX1605" fmla="*/ 139423 w 1008862"/>
              <a:gd name="connsiteY1605" fmla="*/ 482410 h 992562"/>
              <a:gd name="connsiteX1606" fmla="*/ 85983 w 1008862"/>
              <a:gd name="connsiteY1606" fmla="*/ 444010 h 992562"/>
              <a:gd name="connsiteX1607" fmla="*/ 72383 w 1008862"/>
              <a:gd name="connsiteY1607" fmla="*/ 438570 h 992562"/>
              <a:gd name="connsiteX1608" fmla="*/ 55743 w 1008862"/>
              <a:gd name="connsiteY1608" fmla="*/ 433290 h 992562"/>
              <a:gd name="connsiteX1609" fmla="*/ 40703 w 1008862"/>
              <a:gd name="connsiteY1609" fmla="*/ 431690 h 992562"/>
              <a:gd name="connsiteX1610" fmla="*/ 32863 w 1008862"/>
              <a:gd name="connsiteY1610" fmla="*/ 431210 h 992562"/>
              <a:gd name="connsiteX1611" fmla="*/ 39423 w 1008862"/>
              <a:gd name="connsiteY1611" fmla="*/ 428330 h 992562"/>
              <a:gd name="connsiteX1612" fmla="*/ 27263 w 1008862"/>
              <a:gd name="connsiteY1612" fmla="*/ 435210 h 992562"/>
              <a:gd name="connsiteX1613" fmla="*/ 26943 w 1008862"/>
              <a:gd name="connsiteY1613" fmla="*/ 434730 h 992562"/>
              <a:gd name="connsiteX1614" fmla="*/ 27903 w 1008862"/>
              <a:gd name="connsiteY1614" fmla="*/ 434090 h 992562"/>
              <a:gd name="connsiteX1615" fmla="*/ 46143 w 1008862"/>
              <a:gd name="connsiteY1615" fmla="*/ 436330 h 992562"/>
              <a:gd name="connsiteX1616" fmla="*/ 82143 w 1008862"/>
              <a:gd name="connsiteY1616" fmla="*/ 447690 h 992562"/>
              <a:gd name="connsiteX1617" fmla="*/ 87903 w 1008862"/>
              <a:gd name="connsiteY1617" fmla="*/ 451850 h 992562"/>
              <a:gd name="connsiteX1618" fmla="*/ 93983 w 1008862"/>
              <a:gd name="connsiteY1618" fmla="*/ 454730 h 992562"/>
              <a:gd name="connsiteX1619" fmla="*/ 109183 w 1008862"/>
              <a:gd name="connsiteY1619" fmla="*/ 465450 h 992562"/>
              <a:gd name="connsiteX1620" fmla="*/ 123743 w 1008862"/>
              <a:gd name="connsiteY1620" fmla="*/ 475210 h 992562"/>
              <a:gd name="connsiteX1621" fmla="*/ 137023 w 1008862"/>
              <a:gd name="connsiteY1621" fmla="*/ 487850 h 992562"/>
              <a:gd name="connsiteX1622" fmla="*/ 163903 w 1008862"/>
              <a:gd name="connsiteY1622" fmla="*/ 511850 h 992562"/>
              <a:gd name="connsiteX1623" fmla="*/ 189343 w 1008862"/>
              <a:gd name="connsiteY1623" fmla="*/ 533930 h 992562"/>
              <a:gd name="connsiteX1624" fmla="*/ 216543 w 1008862"/>
              <a:gd name="connsiteY1624" fmla="*/ 550410 h 992562"/>
              <a:gd name="connsiteX1625" fmla="*/ 238783 w 1008862"/>
              <a:gd name="connsiteY1625" fmla="*/ 558410 h 992562"/>
              <a:gd name="connsiteX1626" fmla="*/ 251743 w 1008862"/>
              <a:gd name="connsiteY1626" fmla="*/ 564330 h 992562"/>
              <a:gd name="connsiteX1627" fmla="*/ 275263 w 1008862"/>
              <a:gd name="connsiteY1627" fmla="*/ 575370 h 992562"/>
              <a:gd name="connsiteX1628" fmla="*/ 298303 w 1008862"/>
              <a:gd name="connsiteY1628" fmla="*/ 584970 h 992562"/>
              <a:gd name="connsiteX1629" fmla="*/ 322783 w 1008862"/>
              <a:gd name="connsiteY1629" fmla="*/ 594250 h 992562"/>
              <a:gd name="connsiteX1630" fmla="*/ 348703 w 1008862"/>
              <a:gd name="connsiteY1630" fmla="*/ 598890 h 992562"/>
              <a:gd name="connsiteX1631" fmla="*/ 298303 w 1008862"/>
              <a:gd name="connsiteY1631" fmla="*/ 593610 h 992562"/>
              <a:gd name="connsiteX1632" fmla="*/ 272383 w 1008862"/>
              <a:gd name="connsiteY1632" fmla="*/ 587370 h 992562"/>
              <a:gd name="connsiteX1633" fmla="*/ 246623 w 1008862"/>
              <a:gd name="connsiteY1633" fmla="*/ 579210 h 992562"/>
              <a:gd name="connsiteX1634" fmla="*/ 234303 w 1008862"/>
              <a:gd name="connsiteY1634" fmla="*/ 574730 h 992562"/>
              <a:gd name="connsiteX1635" fmla="*/ 222303 w 1008862"/>
              <a:gd name="connsiteY1635" fmla="*/ 569130 h 992562"/>
              <a:gd name="connsiteX1636" fmla="*/ 197663 w 1008862"/>
              <a:gd name="connsiteY1636" fmla="*/ 555210 h 992562"/>
              <a:gd name="connsiteX1637" fmla="*/ 151743 w 1008862"/>
              <a:gd name="connsiteY1637" fmla="*/ 525130 h 992562"/>
              <a:gd name="connsiteX1638" fmla="*/ 106623 w 1008862"/>
              <a:gd name="connsiteY1638" fmla="*/ 488170 h 992562"/>
              <a:gd name="connsiteX1639" fmla="*/ 64703 w 1008862"/>
              <a:gd name="connsiteY1639" fmla="*/ 454890 h 992562"/>
              <a:gd name="connsiteX1640" fmla="*/ 43103 w 1008862"/>
              <a:gd name="connsiteY1640" fmla="*/ 442570 h 992562"/>
              <a:gd name="connsiteX1641" fmla="*/ 27263 w 1008862"/>
              <a:gd name="connsiteY1641" fmla="*/ 435210 h 992562"/>
              <a:gd name="connsiteX1642" fmla="*/ 257343 w 1008862"/>
              <a:gd name="connsiteY1642" fmla="*/ 631210 h 992562"/>
              <a:gd name="connsiteX1643" fmla="*/ 202303 w 1008862"/>
              <a:gd name="connsiteY1643" fmla="*/ 626890 h 992562"/>
              <a:gd name="connsiteX1644" fmla="*/ 177503 w 1008862"/>
              <a:gd name="connsiteY1644" fmla="*/ 620010 h 992562"/>
              <a:gd name="connsiteX1645" fmla="*/ 166303 w 1008862"/>
              <a:gd name="connsiteY1645" fmla="*/ 615050 h 992562"/>
              <a:gd name="connsiteX1646" fmla="*/ 154143 w 1008862"/>
              <a:gd name="connsiteY1646" fmla="*/ 607050 h 992562"/>
              <a:gd name="connsiteX1647" fmla="*/ 119423 w 1008862"/>
              <a:gd name="connsiteY1647" fmla="*/ 569290 h 992562"/>
              <a:gd name="connsiteX1648" fmla="*/ 106783 w 1008862"/>
              <a:gd name="connsiteY1648" fmla="*/ 547690 h 992562"/>
              <a:gd name="connsiteX1649" fmla="*/ 106783 w 1008862"/>
              <a:gd name="connsiteY1649" fmla="*/ 547690 h 992562"/>
              <a:gd name="connsiteX1650" fmla="*/ 115103 w 1008862"/>
              <a:gd name="connsiteY1650" fmla="*/ 559850 h 992562"/>
              <a:gd name="connsiteX1651" fmla="*/ 125983 w 1008862"/>
              <a:gd name="connsiteY1651" fmla="*/ 572650 h 992562"/>
              <a:gd name="connsiteX1652" fmla="*/ 139743 w 1008862"/>
              <a:gd name="connsiteY1652" fmla="*/ 585610 h 992562"/>
              <a:gd name="connsiteX1653" fmla="*/ 171423 w 1008862"/>
              <a:gd name="connsiteY1653" fmla="*/ 606410 h 992562"/>
              <a:gd name="connsiteX1654" fmla="*/ 203583 w 1008862"/>
              <a:gd name="connsiteY1654" fmla="*/ 621930 h 992562"/>
              <a:gd name="connsiteX1655" fmla="*/ 238783 w 1008862"/>
              <a:gd name="connsiteY1655" fmla="*/ 628970 h 992562"/>
              <a:gd name="connsiteX1656" fmla="*/ 261183 w 1008862"/>
              <a:gd name="connsiteY1656" fmla="*/ 631210 h 992562"/>
              <a:gd name="connsiteX1657" fmla="*/ 257343 w 1008862"/>
              <a:gd name="connsiteY1657" fmla="*/ 631210 h 992562"/>
              <a:gd name="connsiteX1658" fmla="*/ 326783 w 1008862"/>
              <a:gd name="connsiteY1658" fmla="*/ 621290 h 992562"/>
              <a:gd name="connsiteX1659" fmla="*/ 311903 w 1008862"/>
              <a:gd name="connsiteY1659" fmla="*/ 625770 h 992562"/>
              <a:gd name="connsiteX1660" fmla="*/ 308863 w 1008862"/>
              <a:gd name="connsiteY1660" fmla="*/ 626250 h 992562"/>
              <a:gd name="connsiteX1661" fmla="*/ 308383 w 1008862"/>
              <a:gd name="connsiteY1661" fmla="*/ 626090 h 992562"/>
              <a:gd name="connsiteX1662" fmla="*/ 293023 w 1008862"/>
              <a:gd name="connsiteY1662" fmla="*/ 626090 h 992562"/>
              <a:gd name="connsiteX1663" fmla="*/ 276063 w 1008862"/>
              <a:gd name="connsiteY1663" fmla="*/ 625770 h 992562"/>
              <a:gd name="connsiteX1664" fmla="*/ 240223 w 1008862"/>
              <a:gd name="connsiteY1664" fmla="*/ 622730 h 992562"/>
              <a:gd name="connsiteX1665" fmla="*/ 206783 w 1008862"/>
              <a:gd name="connsiteY1665" fmla="*/ 616330 h 992562"/>
              <a:gd name="connsiteX1666" fmla="*/ 172223 w 1008862"/>
              <a:gd name="connsiteY1666" fmla="*/ 599850 h 992562"/>
              <a:gd name="connsiteX1667" fmla="*/ 140383 w 1008862"/>
              <a:gd name="connsiteY1667" fmla="*/ 578570 h 992562"/>
              <a:gd name="connsiteX1668" fmla="*/ 115263 w 1008862"/>
              <a:gd name="connsiteY1668" fmla="*/ 551050 h 992562"/>
              <a:gd name="connsiteX1669" fmla="*/ 93823 w 1008862"/>
              <a:gd name="connsiteY1669" fmla="*/ 520010 h 992562"/>
              <a:gd name="connsiteX1670" fmla="*/ 85503 w 1008862"/>
              <a:gd name="connsiteY1670" fmla="*/ 509130 h 992562"/>
              <a:gd name="connsiteX1671" fmla="*/ 66303 w 1008862"/>
              <a:gd name="connsiteY1671" fmla="*/ 479530 h 992562"/>
              <a:gd name="connsiteX1672" fmla="*/ 87583 w 1008862"/>
              <a:gd name="connsiteY1672" fmla="*/ 499370 h 992562"/>
              <a:gd name="connsiteX1673" fmla="*/ 123583 w 1008862"/>
              <a:gd name="connsiteY1673" fmla="*/ 536970 h 992562"/>
              <a:gd name="connsiteX1674" fmla="*/ 201343 w 1008862"/>
              <a:gd name="connsiteY1674" fmla="*/ 595210 h 992562"/>
              <a:gd name="connsiteX1675" fmla="*/ 219903 w 1008862"/>
              <a:gd name="connsiteY1675" fmla="*/ 603850 h 992562"/>
              <a:gd name="connsiteX1676" fmla="*/ 240863 w 1008862"/>
              <a:gd name="connsiteY1676" fmla="*/ 609450 h 992562"/>
              <a:gd name="connsiteX1677" fmla="*/ 295583 w 1008862"/>
              <a:gd name="connsiteY1677" fmla="*/ 618890 h 992562"/>
              <a:gd name="connsiteX1678" fmla="*/ 320703 w 1008862"/>
              <a:gd name="connsiteY1678" fmla="*/ 619690 h 992562"/>
              <a:gd name="connsiteX1679" fmla="*/ 335743 w 1008862"/>
              <a:gd name="connsiteY1679" fmla="*/ 619690 h 992562"/>
              <a:gd name="connsiteX1680" fmla="*/ 326783 w 1008862"/>
              <a:gd name="connsiteY1680" fmla="*/ 621290 h 992562"/>
              <a:gd name="connsiteX1681" fmla="*/ 374143 w 1008862"/>
              <a:gd name="connsiteY1681" fmla="*/ 609290 h 992562"/>
              <a:gd name="connsiteX1682" fmla="*/ 347583 w 1008862"/>
              <a:gd name="connsiteY1682" fmla="*/ 613290 h 992562"/>
              <a:gd name="connsiteX1683" fmla="*/ 324383 w 1008862"/>
              <a:gd name="connsiteY1683" fmla="*/ 613450 h 992562"/>
              <a:gd name="connsiteX1684" fmla="*/ 297023 w 1008862"/>
              <a:gd name="connsiteY1684" fmla="*/ 612970 h 992562"/>
              <a:gd name="connsiteX1685" fmla="*/ 244543 w 1008862"/>
              <a:gd name="connsiteY1685" fmla="*/ 604170 h 992562"/>
              <a:gd name="connsiteX1686" fmla="*/ 222943 w 1008862"/>
              <a:gd name="connsiteY1686" fmla="*/ 598570 h 992562"/>
              <a:gd name="connsiteX1687" fmla="*/ 214783 w 1008862"/>
              <a:gd name="connsiteY1687" fmla="*/ 594570 h 992562"/>
              <a:gd name="connsiteX1688" fmla="*/ 202463 w 1008862"/>
              <a:gd name="connsiteY1688" fmla="*/ 589130 h 992562"/>
              <a:gd name="connsiteX1689" fmla="*/ 161663 w 1008862"/>
              <a:gd name="connsiteY1689" fmla="*/ 562730 h 992562"/>
              <a:gd name="connsiteX1690" fmla="*/ 123903 w 1008862"/>
              <a:gd name="connsiteY1690" fmla="*/ 530250 h 992562"/>
              <a:gd name="connsiteX1691" fmla="*/ 89343 w 1008862"/>
              <a:gd name="connsiteY1691" fmla="*/ 494570 h 992562"/>
              <a:gd name="connsiteX1692" fmla="*/ 71583 w 1008862"/>
              <a:gd name="connsiteY1692" fmla="*/ 478730 h 992562"/>
              <a:gd name="connsiteX1693" fmla="*/ 60543 w 1008862"/>
              <a:gd name="connsiteY1693" fmla="*/ 471210 h 992562"/>
              <a:gd name="connsiteX1694" fmla="*/ 56863 w 1008862"/>
              <a:gd name="connsiteY1694" fmla="*/ 465290 h 992562"/>
              <a:gd name="connsiteX1695" fmla="*/ 44383 w 1008862"/>
              <a:gd name="connsiteY1695" fmla="*/ 450250 h 992562"/>
              <a:gd name="connsiteX1696" fmla="*/ 37983 w 1008862"/>
              <a:gd name="connsiteY1696" fmla="*/ 443690 h 992562"/>
              <a:gd name="connsiteX1697" fmla="*/ 45343 w 1008862"/>
              <a:gd name="connsiteY1697" fmla="*/ 448330 h 992562"/>
              <a:gd name="connsiteX1698" fmla="*/ 66783 w 1008862"/>
              <a:gd name="connsiteY1698" fmla="*/ 461450 h 992562"/>
              <a:gd name="connsiteX1699" fmla="*/ 88063 w 1008862"/>
              <a:gd name="connsiteY1699" fmla="*/ 478570 h 992562"/>
              <a:gd name="connsiteX1700" fmla="*/ 110783 w 1008862"/>
              <a:gd name="connsiteY1700" fmla="*/ 498090 h 992562"/>
              <a:gd name="connsiteX1701" fmla="*/ 153983 w 1008862"/>
              <a:gd name="connsiteY1701" fmla="*/ 533770 h 992562"/>
              <a:gd name="connsiteX1702" fmla="*/ 197343 w 1008862"/>
              <a:gd name="connsiteY1702" fmla="*/ 561610 h 992562"/>
              <a:gd name="connsiteX1703" fmla="*/ 243103 w 1008862"/>
              <a:gd name="connsiteY1703" fmla="*/ 584330 h 992562"/>
              <a:gd name="connsiteX1704" fmla="*/ 265663 w 1008862"/>
              <a:gd name="connsiteY1704" fmla="*/ 592170 h 992562"/>
              <a:gd name="connsiteX1705" fmla="*/ 293183 w 1008862"/>
              <a:gd name="connsiteY1705" fmla="*/ 598730 h 992562"/>
              <a:gd name="connsiteX1706" fmla="*/ 347903 w 1008862"/>
              <a:gd name="connsiteY1706" fmla="*/ 604810 h 992562"/>
              <a:gd name="connsiteX1707" fmla="*/ 374463 w 1008862"/>
              <a:gd name="connsiteY1707" fmla="*/ 604810 h 992562"/>
              <a:gd name="connsiteX1708" fmla="*/ 385663 w 1008862"/>
              <a:gd name="connsiteY1708" fmla="*/ 604970 h 992562"/>
              <a:gd name="connsiteX1709" fmla="*/ 374143 w 1008862"/>
              <a:gd name="connsiteY1709" fmla="*/ 609290 h 992562"/>
              <a:gd name="connsiteX1710" fmla="*/ 371583 w 1008862"/>
              <a:gd name="connsiteY1710" fmla="*/ 594250 h 992562"/>
              <a:gd name="connsiteX1711" fmla="*/ 370623 w 1008862"/>
              <a:gd name="connsiteY1711" fmla="*/ 593610 h 992562"/>
              <a:gd name="connsiteX1712" fmla="*/ 366463 w 1008862"/>
              <a:gd name="connsiteY1712" fmla="*/ 591370 h 992562"/>
              <a:gd name="connsiteX1713" fmla="*/ 359263 w 1008862"/>
              <a:gd name="connsiteY1713" fmla="*/ 589610 h 992562"/>
              <a:gd name="connsiteX1714" fmla="*/ 340703 w 1008862"/>
              <a:gd name="connsiteY1714" fmla="*/ 583050 h 992562"/>
              <a:gd name="connsiteX1715" fmla="*/ 304223 w 1008862"/>
              <a:gd name="connsiteY1715" fmla="*/ 560970 h 992562"/>
              <a:gd name="connsiteX1716" fmla="*/ 237343 w 1008862"/>
              <a:gd name="connsiteY1716" fmla="*/ 499530 h 992562"/>
              <a:gd name="connsiteX1717" fmla="*/ 180863 w 1008862"/>
              <a:gd name="connsiteY1717" fmla="*/ 429450 h 992562"/>
              <a:gd name="connsiteX1718" fmla="*/ 168383 w 1008862"/>
              <a:gd name="connsiteY1718" fmla="*/ 409930 h 992562"/>
              <a:gd name="connsiteX1719" fmla="*/ 156703 w 1008862"/>
              <a:gd name="connsiteY1719" fmla="*/ 392650 h 992562"/>
              <a:gd name="connsiteX1720" fmla="*/ 142783 w 1008862"/>
              <a:gd name="connsiteY1720" fmla="*/ 378250 h 992562"/>
              <a:gd name="connsiteX1721" fmla="*/ 140223 w 1008862"/>
              <a:gd name="connsiteY1721" fmla="*/ 375050 h 992562"/>
              <a:gd name="connsiteX1722" fmla="*/ 141343 w 1008862"/>
              <a:gd name="connsiteY1722" fmla="*/ 374250 h 992562"/>
              <a:gd name="connsiteX1723" fmla="*/ 150943 w 1008862"/>
              <a:gd name="connsiteY1723" fmla="*/ 376490 h 992562"/>
              <a:gd name="connsiteX1724" fmla="*/ 152383 w 1008862"/>
              <a:gd name="connsiteY1724" fmla="*/ 376810 h 992562"/>
              <a:gd name="connsiteX1725" fmla="*/ 162303 w 1008862"/>
              <a:gd name="connsiteY1725" fmla="*/ 384650 h 992562"/>
              <a:gd name="connsiteX1726" fmla="*/ 178463 w 1008862"/>
              <a:gd name="connsiteY1726" fmla="*/ 401130 h 992562"/>
              <a:gd name="connsiteX1727" fmla="*/ 213343 w 1008862"/>
              <a:gd name="connsiteY1727" fmla="*/ 437130 h 992562"/>
              <a:gd name="connsiteX1728" fmla="*/ 246463 w 1008862"/>
              <a:gd name="connsiteY1728" fmla="*/ 473610 h 992562"/>
              <a:gd name="connsiteX1729" fmla="*/ 262623 w 1008862"/>
              <a:gd name="connsiteY1729" fmla="*/ 493770 h 992562"/>
              <a:gd name="connsiteX1730" fmla="*/ 277983 w 1008862"/>
              <a:gd name="connsiteY1730" fmla="*/ 510090 h 992562"/>
              <a:gd name="connsiteX1731" fmla="*/ 346463 w 1008862"/>
              <a:gd name="connsiteY1731" fmla="*/ 570570 h 992562"/>
              <a:gd name="connsiteX1732" fmla="*/ 383903 w 1008862"/>
              <a:gd name="connsiteY1732" fmla="*/ 594250 h 992562"/>
              <a:gd name="connsiteX1733" fmla="*/ 388543 w 1008862"/>
              <a:gd name="connsiteY1733" fmla="*/ 596490 h 992562"/>
              <a:gd name="connsiteX1734" fmla="*/ 371583 w 1008862"/>
              <a:gd name="connsiteY1734" fmla="*/ 594250 h 992562"/>
              <a:gd name="connsiteX1735" fmla="*/ 381503 w 1008862"/>
              <a:gd name="connsiteY1735" fmla="*/ 586410 h 992562"/>
              <a:gd name="connsiteX1736" fmla="*/ 363743 w 1008862"/>
              <a:gd name="connsiteY1736" fmla="*/ 574410 h 992562"/>
              <a:gd name="connsiteX1737" fmla="*/ 345023 w 1008862"/>
              <a:gd name="connsiteY1737" fmla="*/ 562410 h 992562"/>
              <a:gd name="connsiteX1738" fmla="*/ 310623 w 1008862"/>
              <a:gd name="connsiteY1738" fmla="*/ 534090 h 992562"/>
              <a:gd name="connsiteX1739" fmla="*/ 277663 w 1008862"/>
              <a:gd name="connsiteY1739" fmla="*/ 501130 h 992562"/>
              <a:gd name="connsiteX1740" fmla="*/ 247423 w 1008862"/>
              <a:gd name="connsiteY1740" fmla="*/ 465930 h 992562"/>
              <a:gd name="connsiteX1741" fmla="*/ 213983 w 1008862"/>
              <a:gd name="connsiteY1741" fmla="*/ 429450 h 992562"/>
              <a:gd name="connsiteX1742" fmla="*/ 197663 w 1008862"/>
              <a:gd name="connsiteY1742" fmla="*/ 413450 h 992562"/>
              <a:gd name="connsiteX1743" fmla="*/ 180223 w 1008862"/>
              <a:gd name="connsiteY1743" fmla="*/ 395690 h 992562"/>
              <a:gd name="connsiteX1744" fmla="*/ 163903 w 1008862"/>
              <a:gd name="connsiteY1744" fmla="*/ 379850 h 992562"/>
              <a:gd name="connsiteX1745" fmla="*/ 162463 w 1008862"/>
              <a:gd name="connsiteY1745" fmla="*/ 378730 h 992562"/>
              <a:gd name="connsiteX1746" fmla="*/ 163103 w 1008862"/>
              <a:gd name="connsiteY1746" fmla="*/ 378730 h 992562"/>
              <a:gd name="connsiteX1747" fmla="*/ 185663 w 1008862"/>
              <a:gd name="connsiteY1747" fmla="*/ 383210 h 992562"/>
              <a:gd name="connsiteX1748" fmla="*/ 191583 w 1008862"/>
              <a:gd name="connsiteY1748" fmla="*/ 385450 h 992562"/>
              <a:gd name="connsiteX1749" fmla="*/ 192543 w 1008862"/>
              <a:gd name="connsiteY1749" fmla="*/ 385610 h 992562"/>
              <a:gd name="connsiteX1750" fmla="*/ 194143 w 1008862"/>
              <a:gd name="connsiteY1750" fmla="*/ 387050 h 992562"/>
              <a:gd name="connsiteX1751" fmla="*/ 207423 w 1008862"/>
              <a:gd name="connsiteY1751" fmla="*/ 396010 h 992562"/>
              <a:gd name="connsiteX1752" fmla="*/ 245183 w 1008862"/>
              <a:gd name="connsiteY1752" fmla="*/ 421930 h 992562"/>
              <a:gd name="connsiteX1753" fmla="*/ 277183 w 1008862"/>
              <a:gd name="connsiteY1753" fmla="*/ 451050 h 992562"/>
              <a:gd name="connsiteX1754" fmla="*/ 311743 w 1008862"/>
              <a:gd name="connsiteY1754" fmla="*/ 486090 h 992562"/>
              <a:gd name="connsiteX1755" fmla="*/ 317983 w 1008862"/>
              <a:gd name="connsiteY1755" fmla="*/ 493610 h 992562"/>
              <a:gd name="connsiteX1756" fmla="*/ 325183 w 1008862"/>
              <a:gd name="connsiteY1756" fmla="*/ 500010 h 992562"/>
              <a:gd name="connsiteX1757" fmla="*/ 339103 w 1008862"/>
              <a:gd name="connsiteY1757" fmla="*/ 515370 h 992562"/>
              <a:gd name="connsiteX1758" fmla="*/ 366303 w 1008862"/>
              <a:gd name="connsiteY1758" fmla="*/ 551850 h 992562"/>
              <a:gd name="connsiteX1759" fmla="*/ 394143 w 1008862"/>
              <a:gd name="connsiteY1759" fmla="*/ 583530 h 992562"/>
              <a:gd name="connsiteX1760" fmla="*/ 408223 w 1008862"/>
              <a:gd name="connsiteY1760" fmla="*/ 596650 h 992562"/>
              <a:gd name="connsiteX1761" fmla="*/ 381503 w 1008862"/>
              <a:gd name="connsiteY1761" fmla="*/ 586410 h 992562"/>
              <a:gd name="connsiteX1762" fmla="*/ 417663 w 1008862"/>
              <a:gd name="connsiteY1762" fmla="*/ 595690 h 992562"/>
              <a:gd name="connsiteX1763" fmla="*/ 413503 w 1008862"/>
              <a:gd name="connsiteY1763" fmla="*/ 590250 h 992562"/>
              <a:gd name="connsiteX1764" fmla="*/ 405023 w 1008862"/>
              <a:gd name="connsiteY1764" fmla="*/ 574890 h 992562"/>
              <a:gd name="connsiteX1765" fmla="*/ 395583 w 1008862"/>
              <a:gd name="connsiteY1765" fmla="*/ 558570 h 992562"/>
              <a:gd name="connsiteX1766" fmla="*/ 383583 w 1008862"/>
              <a:gd name="connsiteY1766" fmla="*/ 538890 h 992562"/>
              <a:gd name="connsiteX1767" fmla="*/ 376063 w 1008862"/>
              <a:gd name="connsiteY1767" fmla="*/ 524490 h 992562"/>
              <a:gd name="connsiteX1768" fmla="*/ 366143 w 1008862"/>
              <a:gd name="connsiteY1768" fmla="*/ 506090 h 992562"/>
              <a:gd name="connsiteX1769" fmla="*/ 342303 w 1008862"/>
              <a:gd name="connsiteY1769" fmla="*/ 474250 h 992562"/>
              <a:gd name="connsiteX1770" fmla="*/ 328703 w 1008862"/>
              <a:gd name="connsiteY1770" fmla="*/ 457450 h 992562"/>
              <a:gd name="connsiteX1771" fmla="*/ 314623 w 1008862"/>
              <a:gd name="connsiteY1771" fmla="*/ 442250 h 992562"/>
              <a:gd name="connsiteX1772" fmla="*/ 282303 w 1008862"/>
              <a:gd name="connsiteY1772" fmla="*/ 415210 h 992562"/>
              <a:gd name="connsiteX1773" fmla="*/ 250783 w 1008862"/>
              <a:gd name="connsiteY1773" fmla="*/ 391370 h 992562"/>
              <a:gd name="connsiteX1774" fmla="*/ 234783 w 1008862"/>
              <a:gd name="connsiteY1774" fmla="*/ 384330 h 992562"/>
              <a:gd name="connsiteX1775" fmla="*/ 229183 w 1008862"/>
              <a:gd name="connsiteY1775" fmla="*/ 383370 h 992562"/>
              <a:gd name="connsiteX1776" fmla="*/ 234303 w 1008862"/>
              <a:gd name="connsiteY1776" fmla="*/ 381610 h 992562"/>
              <a:gd name="connsiteX1777" fmla="*/ 245983 w 1008862"/>
              <a:gd name="connsiteY1777" fmla="*/ 379370 h 992562"/>
              <a:gd name="connsiteX1778" fmla="*/ 261983 w 1008862"/>
              <a:gd name="connsiteY1778" fmla="*/ 378410 h 992562"/>
              <a:gd name="connsiteX1779" fmla="*/ 263423 w 1008862"/>
              <a:gd name="connsiteY1779" fmla="*/ 378410 h 992562"/>
              <a:gd name="connsiteX1780" fmla="*/ 274463 w 1008862"/>
              <a:gd name="connsiteY1780" fmla="*/ 384330 h 992562"/>
              <a:gd name="connsiteX1781" fmla="*/ 289823 w 1008862"/>
              <a:gd name="connsiteY1781" fmla="*/ 393770 h 992562"/>
              <a:gd name="connsiteX1782" fmla="*/ 306143 w 1008862"/>
              <a:gd name="connsiteY1782" fmla="*/ 403690 h 992562"/>
              <a:gd name="connsiteX1783" fmla="*/ 335263 w 1008862"/>
              <a:gd name="connsiteY1783" fmla="*/ 425930 h 992562"/>
              <a:gd name="connsiteX1784" fmla="*/ 362143 w 1008862"/>
              <a:gd name="connsiteY1784" fmla="*/ 454090 h 992562"/>
              <a:gd name="connsiteX1785" fmla="*/ 384863 w 1008862"/>
              <a:gd name="connsiteY1785" fmla="*/ 486410 h 992562"/>
              <a:gd name="connsiteX1786" fmla="*/ 405983 w 1008862"/>
              <a:gd name="connsiteY1786" fmla="*/ 519210 h 992562"/>
              <a:gd name="connsiteX1787" fmla="*/ 416223 w 1008862"/>
              <a:gd name="connsiteY1787" fmla="*/ 538090 h 992562"/>
              <a:gd name="connsiteX1788" fmla="*/ 425183 w 1008862"/>
              <a:gd name="connsiteY1788" fmla="*/ 555210 h 992562"/>
              <a:gd name="connsiteX1789" fmla="*/ 433663 w 1008862"/>
              <a:gd name="connsiteY1789" fmla="*/ 592010 h 992562"/>
              <a:gd name="connsiteX1790" fmla="*/ 425343 w 1008862"/>
              <a:gd name="connsiteY1790" fmla="*/ 595530 h 992562"/>
              <a:gd name="connsiteX1791" fmla="*/ 420703 w 1008862"/>
              <a:gd name="connsiteY1791" fmla="*/ 596330 h 992562"/>
              <a:gd name="connsiteX1792" fmla="*/ 417663 w 1008862"/>
              <a:gd name="connsiteY1792" fmla="*/ 595690 h 992562"/>
              <a:gd name="connsiteX1793" fmla="*/ 424223 w 1008862"/>
              <a:gd name="connsiteY1793" fmla="*/ 612970 h 992562"/>
              <a:gd name="connsiteX1794" fmla="*/ 420863 w 1008862"/>
              <a:gd name="connsiteY1794" fmla="*/ 608810 h 992562"/>
              <a:gd name="connsiteX1795" fmla="*/ 442783 w 1008862"/>
              <a:gd name="connsiteY1795" fmla="*/ 598090 h 992562"/>
              <a:gd name="connsiteX1796" fmla="*/ 456703 w 1008862"/>
              <a:gd name="connsiteY1796" fmla="*/ 595210 h 992562"/>
              <a:gd name="connsiteX1797" fmla="*/ 471423 w 1008862"/>
              <a:gd name="connsiteY1797" fmla="*/ 596170 h 992562"/>
              <a:gd name="connsiteX1798" fmla="*/ 500223 w 1008862"/>
              <a:gd name="connsiteY1798" fmla="*/ 607210 h 992562"/>
              <a:gd name="connsiteX1799" fmla="*/ 503103 w 1008862"/>
              <a:gd name="connsiteY1799" fmla="*/ 608970 h 992562"/>
              <a:gd name="connsiteX1800" fmla="*/ 509983 w 1008862"/>
              <a:gd name="connsiteY1800" fmla="*/ 613290 h 992562"/>
              <a:gd name="connsiteX1801" fmla="*/ 513343 w 1008862"/>
              <a:gd name="connsiteY1801" fmla="*/ 616330 h 992562"/>
              <a:gd name="connsiteX1802" fmla="*/ 516703 w 1008862"/>
              <a:gd name="connsiteY1802" fmla="*/ 619050 h 992562"/>
              <a:gd name="connsiteX1803" fmla="*/ 494943 w 1008862"/>
              <a:gd name="connsiteY1803" fmla="*/ 612330 h 992562"/>
              <a:gd name="connsiteX1804" fmla="*/ 456543 w 1008862"/>
              <a:gd name="connsiteY1804" fmla="*/ 614250 h 992562"/>
              <a:gd name="connsiteX1805" fmla="*/ 439103 w 1008862"/>
              <a:gd name="connsiteY1805" fmla="*/ 617930 h 992562"/>
              <a:gd name="connsiteX1806" fmla="*/ 427263 w 1008862"/>
              <a:gd name="connsiteY1806" fmla="*/ 618730 h 992562"/>
              <a:gd name="connsiteX1807" fmla="*/ 424223 w 1008862"/>
              <a:gd name="connsiteY1807" fmla="*/ 612970 h 992562"/>
              <a:gd name="connsiteX1808" fmla="*/ 429343 w 1008862"/>
              <a:gd name="connsiteY1808" fmla="*/ 630570 h 992562"/>
              <a:gd name="connsiteX1809" fmla="*/ 428383 w 1008862"/>
              <a:gd name="connsiteY1809" fmla="*/ 622090 h 992562"/>
              <a:gd name="connsiteX1810" fmla="*/ 435423 w 1008862"/>
              <a:gd name="connsiteY1810" fmla="*/ 622410 h 992562"/>
              <a:gd name="connsiteX1811" fmla="*/ 475263 w 1008862"/>
              <a:gd name="connsiteY1811" fmla="*/ 616810 h 992562"/>
              <a:gd name="connsiteX1812" fmla="*/ 517983 w 1008862"/>
              <a:gd name="connsiteY1812" fmla="*/ 625930 h 992562"/>
              <a:gd name="connsiteX1813" fmla="*/ 530783 w 1008862"/>
              <a:gd name="connsiteY1813" fmla="*/ 632490 h 992562"/>
              <a:gd name="connsiteX1814" fmla="*/ 534623 w 1008862"/>
              <a:gd name="connsiteY1814" fmla="*/ 636970 h 992562"/>
              <a:gd name="connsiteX1815" fmla="*/ 532383 w 1008862"/>
              <a:gd name="connsiteY1815" fmla="*/ 636330 h 992562"/>
              <a:gd name="connsiteX1816" fmla="*/ 499263 w 1008862"/>
              <a:gd name="connsiteY1816" fmla="*/ 628970 h 992562"/>
              <a:gd name="connsiteX1817" fmla="*/ 462463 w 1008862"/>
              <a:gd name="connsiteY1817" fmla="*/ 629610 h 992562"/>
              <a:gd name="connsiteX1818" fmla="*/ 444543 w 1008862"/>
              <a:gd name="connsiteY1818" fmla="*/ 633130 h 992562"/>
              <a:gd name="connsiteX1819" fmla="*/ 429503 w 1008862"/>
              <a:gd name="connsiteY1819" fmla="*/ 632490 h 992562"/>
              <a:gd name="connsiteX1820" fmla="*/ 429343 w 1008862"/>
              <a:gd name="connsiteY1820" fmla="*/ 630570 h 992562"/>
              <a:gd name="connsiteX1821" fmla="*/ 612863 w 1008862"/>
              <a:gd name="connsiteY1821" fmla="*/ 731210 h 992562"/>
              <a:gd name="connsiteX1822" fmla="*/ 605343 w 1008862"/>
              <a:gd name="connsiteY1822" fmla="*/ 734730 h 992562"/>
              <a:gd name="connsiteX1823" fmla="*/ 583583 w 1008862"/>
              <a:gd name="connsiteY1823" fmla="*/ 740330 h 992562"/>
              <a:gd name="connsiteX1824" fmla="*/ 563103 w 1008862"/>
              <a:gd name="connsiteY1824" fmla="*/ 740970 h 992562"/>
              <a:gd name="connsiteX1825" fmla="*/ 539423 w 1008862"/>
              <a:gd name="connsiteY1825" fmla="*/ 739050 h 992562"/>
              <a:gd name="connsiteX1826" fmla="*/ 500223 w 1008862"/>
              <a:gd name="connsiteY1826" fmla="*/ 728970 h 992562"/>
              <a:gd name="connsiteX1827" fmla="*/ 473183 w 1008862"/>
              <a:gd name="connsiteY1827" fmla="*/ 714570 h 992562"/>
              <a:gd name="connsiteX1828" fmla="*/ 480703 w 1008862"/>
              <a:gd name="connsiteY1828" fmla="*/ 719050 h 992562"/>
              <a:gd name="connsiteX1829" fmla="*/ 530463 w 1008862"/>
              <a:gd name="connsiteY1829" fmla="*/ 732330 h 992562"/>
              <a:gd name="connsiteX1830" fmla="*/ 584063 w 1008862"/>
              <a:gd name="connsiteY1830" fmla="*/ 730730 h 992562"/>
              <a:gd name="connsiteX1831" fmla="*/ 609823 w 1008862"/>
              <a:gd name="connsiteY1831" fmla="*/ 720650 h 992562"/>
              <a:gd name="connsiteX1832" fmla="*/ 611263 w 1008862"/>
              <a:gd name="connsiteY1832" fmla="*/ 723690 h 992562"/>
              <a:gd name="connsiteX1833" fmla="*/ 612863 w 1008862"/>
              <a:gd name="connsiteY1833" fmla="*/ 731210 h 992562"/>
              <a:gd name="connsiteX1834" fmla="*/ 607103 w 1008862"/>
              <a:gd name="connsiteY1834" fmla="*/ 685770 h 992562"/>
              <a:gd name="connsiteX1835" fmla="*/ 609023 w 1008862"/>
              <a:gd name="connsiteY1835" fmla="*/ 687530 h 992562"/>
              <a:gd name="connsiteX1836" fmla="*/ 609503 w 1008862"/>
              <a:gd name="connsiteY1836" fmla="*/ 688810 h 992562"/>
              <a:gd name="connsiteX1837" fmla="*/ 610143 w 1008862"/>
              <a:gd name="connsiteY1837" fmla="*/ 690730 h 992562"/>
              <a:gd name="connsiteX1838" fmla="*/ 608703 w 1008862"/>
              <a:gd name="connsiteY1838" fmla="*/ 695530 h 992562"/>
              <a:gd name="connsiteX1839" fmla="*/ 607743 w 1008862"/>
              <a:gd name="connsiteY1839" fmla="*/ 704330 h 992562"/>
              <a:gd name="connsiteX1840" fmla="*/ 608063 w 1008862"/>
              <a:gd name="connsiteY1840" fmla="*/ 712650 h 992562"/>
              <a:gd name="connsiteX1841" fmla="*/ 606623 w 1008862"/>
              <a:gd name="connsiteY1841" fmla="*/ 714730 h 992562"/>
              <a:gd name="connsiteX1842" fmla="*/ 596543 w 1008862"/>
              <a:gd name="connsiteY1842" fmla="*/ 720650 h 992562"/>
              <a:gd name="connsiteX1843" fmla="*/ 575583 w 1008862"/>
              <a:gd name="connsiteY1843" fmla="*/ 725610 h 992562"/>
              <a:gd name="connsiteX1844" fmla="*/ 529663 w 1008862"/>
              <a:gd name="connsiteY1844" fmla="*/ 726410 h 992562"/>
              <a:gd name="connsiteX1845" fmla="*/ 486783 w 1008862"/>
              <a:gd name="connsiteY1845" fmla="*/ 716010 h 992562"/>
              <a:gd name="connsiteX1846" fmla="*/ 469343 w 1008862"/>
              <a:gd name="connsiteY1846" fmla="*/ 706090 h 992562"/>
              <a:gd name="connsiteX1847" fmla="*/ 459903 w 1008862"/>
              <a:gd name="connsiteY1847" fmla="*/ 700330 h 992562"/>
              <a:gd name="connsiteX1848" fmla="*/ 458943 w 1008862"/>
              <a:gd name="connsiteY1848" fmla="*/ 699690 h 992562"/>
              <a:gd name="connsiteX1849" fmla="*/ 457823 w 1008862"/>
              <a:gd name="connsiteY1849" fmla="*/ 698090 h 992562"/>
              <a:gd name="connsiteX1850" fmla="*/ 471903 w 1008862"/>
              <a:gd name="connsiteY1850" fmla="*/ 702570 h 992562"/>
              <a:gd name="connsiteX1851" fmla="*/ 520703 w 1008862"/>
              <a:gd name="connsiteY1851" fmla="*/ 707530 h 992562"/>
              <a:gd name="connsiteX1852" fmla="*/ 571103 w 1008862"/>
              <a:gd name="connsiteY1852" fmla="*/ 702890 h 992562"/>
              <a:gd name="connsiteX1853" fmla="*/ 593503 w 1008862"/>
              <a:gd name="connsiteY1853" fmla="*/ 695210 h 992562"/>
              <a:gd name="connsiteX1854" fmla="*/ 602303 w 1008862"/>
              <a:gd name="connsiteY1854" fmla="*/ 690890 h 992562"/>
              <a:gd name="connsiteX1855" fmla="*/ 607103 w 1008862"/>
              <a:gd name="connsiteY1855" fmla="*/ 685770 h 992562"/>
              <a:gd name="connsiteX1856" fmla="*/ 589983 w 1008862"/>
              <a:gd name="connsiteY1856" fmla="*/ 680490 h 992562"/>
              <a:gd name="connsiteX1857" fmla="*/ 597823 w 1008862"/>
              <a:gd name="connsiteY1857" fmla="*/ 683370 h 992562"/>
              <a:gd name="connsiteX1858" fmla="*/ 600063 w 1008862"/>
              <a:gd name="connsiteY1858" fmla="*/ 683850 h 992562"/>
              <a:gd name="connsiteX1859" fmla="*/ 595103 w 1008862"/>
              <a:gd name="connsiteY1859" fmla="*/ 688010 h 992562"/>
              <a:gd name="connsiteX1860" fmla="*/ 575423 w 1008862"/>
              <a:gd name="connsiteY1860" fmla="*/ 695530 h 992562"/>
              <a:gd name="connsiteX1861" fmla="*/ 529503 w 1008862"/>
              <a:gd name="connsiteY1861" fmla="*/ 701930 h 992562"/>
              <a:gd name="connsiteX1862" fmla="*/ 485663 w 1008862"/>
              <a:gd name="connsiteY1862" fmla="*/ 700170 h 992562"/>
              <a:gd name="connsiteX1863" fmla="*/ 464543 w 1008862"/>
              <a:gd name="connsiteY1863" fmla="*/ 696010 h 992562"/>
              <a:gd name="connsiteX1864" fmla="*/ 453823 w 1008862"/>
              <a:gd name="connsiteY1864" fmla="*/ 692490 h 992562"/>
              <a:gd name="connsiteX1865" fmla="*/ 448543 w 1008862"/>
              <a:gd name="connsiteY1865" fmla="*/ 683370 h 992562"/>
              <a:gd name="connsiteX1866" fmla="*/ 463583 w 1008862"/>
              <a:gd name="connsiteY1866" fmla="*/ 685130 h 992562"/>
              <a:gd name="connsiteX1867" fmla="*/ 506303 w 1008862"/>
              <a:gd name="connsiteY1867" fmla="*/ 685930 h 992562"/>
              <a:gd name="connsiteX1868" fmla="*/ 550623 w 1008862"/>
              <a:gd name="connsiteY1868" fmla="*/ 683370 h 992562"/>
              <a:gd name="connsiteX1869" fmla="*/ 573823 w 1008862"/>
              <a:gd name="connsiteY1869" fmla="*/ 681930 h 992562"/>
              <a:gd name="connsiteX1870" fmla="*/ 589983 w 1008862"/>
              <a:gd name="connsiteY1870" fmla="*/ 680490 h 992562"/>
              <a:gd name="connsiteX1871" fmla="*/ 562463 w 1008862"/>
              <a:gd name="connsiteY1871" fmla="*/ 669290 h 992562"/>
              <a:gd name="connsiteX1872" fmla="*/ 568863 w 1008862"/>
              <a:gd name="connsiteY1872" fmla="*/ 671370 h 992562"/>
              <a:gd name="connsiteX1873" fmla="*/ 569503 w 1008862"/>
              <a:gd name="connsiteY1873" fmla="*/ 671530 h 992562"/>
              <a:gd name="connsiteX1874" fmla="*/ 576543 w 1008862"/>
              <a:gd name="connsiteY1874" fmla="*/ 675210 h 992562"/>
              <a:gd name="connsiteX1875" fmla="*/ 557183 w 1008862"/>
              <a:gd name="connsiteY1875" fmla="*/ 676330 h 992562"/>
              <a:gd name="connsiteX1876" fmla="*/ 517823 w 1008862"/>
              <a:gd name="connsiteY1876" fmla="*/ 679690 h 992562"/>
              <a:gd name="connsiteX1877" fmla="*/ 478943 w 1008862"/>
              <a:gd name="connsiteY1877" fmla="*/ 680650 h 992562"/>
              <a:gd name="connsiteX1878" fmla="*/ 458783 w 1008862"/>
              <a:gd name="connsiteY1878" fmla="*/ 679850 h 992562"/>
              <a:gd name="connsiteX1879" fmla="*/ 445983 w 1008862"/>
              <a:gd name="connsiteY1879" fmla="*/ 678890 h 992562"/>
              <a:gd name="connsiteX1880" fmla="*/ 441823 w 1008862"/>
              <a:gd name="connsiteY1880" fmla="*/ 671530 h 992562"/>
              <a:gd name="connsiteX1881" fmla="*/ 432383 w 1008862"/>
              <a:gd name="connsiteY1881" fmla="*/ 649290 h 992562"/>
              <a:gd name="connsiteX1882" fmla="*/ 433823 w 1008862"/>
              <a:gd name="connsiteY1882" fmla="*/ 650410 h 992562"/>
              <a:gd name="connsiteX1883" fmla="*/ 476863 w 1008862"/>
              <a:gd name="connsiteY1883" fmla="*/ 666890 h 992562"/>
              <a:gd name="connsiteX1884" fmla="*/ 523903 w 1008862"/>
              <a:gd name="connsiteY1884" fmla="*/ 666890 h 992562"/>
              <a:gd name="connsiteX1885" fmla="*/ 549343 w 1008862"/>
              <a:gd name="connsiteY1885" fmla="*/ 668810 h 992562"/>
              <a:gd name="connsiteX1886" fmla="*/ 562463 w 1008862"/>
              <a:gd name="connsiteY1886" fmla="*/ 669290 h 992562"/>
              <a:gd name="connsiteX1887" fmla="*/ 552703 w 1008862"/>
              <a:gd name="connsiteY1887" fmla="*/ 657130 h 992562"/>
              <a:gd name="connsiteX1888" fmla="*/ 558623 w 1008862"/>
              <a:gd name="connsiteY1888" fmla="*/ 663530 h 992562"/>
              <a:gd name="connsiteX1889" fmla="*/ 558303 w 1008862"/>
              <a:gd name="connsiteY1889" fmla="*/ 663530 h 992562"/>
              <a:gd name="connsiteX1890" fmla="*/ 550623 w 1008862"/>
              <a:gd name="connsiteY1890" fmla="*/ 663210 h 992562"/>
              <a:gd name="connsiteX1891" fmla="*/ 541183 w 1008862"/>
              <a:gd name="connsiteY1891" fmla="*/ 662250 h 992562"/>
              <a:gd name="connsiteX1892" fmla="*/ 521503 w 1008862"/>
              <a:gd name="connsiteY1892" fmla="*/ 661290 h 992562"/>
              <a:gd name="connsiteX1893" fmla="*/ 501663 w 1008862"/>
              <a:gd name="connsiteY1893" fmla="*/ 662090 h 992562"/>
              <a:gd name="connsiteX1894" fmla="*/ 461023 w 1008862"/>
              <a:gd name="connsiteY1894" fmla="*/ 658730 h 992562"/>
              <a:gd name="connsiteX1895" fmla="*/ 441983 w 1008862"/>
              <a:gd name="connsiteY1895" fmla="*/ 650890 h 992562"/>
              <a:gd name="connsiteX1896" fmla="*/ 432703 w 1008862"/>
              <a:gd name="connsiteY1896" fmla="*/ 644810 h 992562"/>
              <a:gd name="connsiteX1897" fmla="*/ 430943 w 1008862"/>
              <a:gd name="connsiteY1897" fmla="*/ 643530 h 992562"/>
              <a:gd name="connsiteX1898" fmla="*/ 429823 w 1008862"/>
              <a:gd name="connsiteY1898" fmla="*/ 636490 h 992562"/>
              <a:gd name="connsiteX1899" fmla="*/ 444703 w 1008862"/>
              <a:gd name="connsiteY1899" fmla="*/ 637930 h 992562"/>
              <a:gd name="connsiteX1900" fmla="*/ 462623 w 1008862"/>
              <a:gd name="connsiteY1900" fmla="*/ 634890 h 992562"/>
              <a:gd name="connsiteX1901" fmla="*/ 483423 w 1008862"/>
              <a:gd name="connsiteY1901" fmla="*/ 633930 h 992562"/>
              <a:gd name="connsiteX1902" fmla="*/ 504543 w 1008862"/>
              <a:gd name="connsiteY1902" fmla="*/ 635850 h 992562"/>
              <a:gd name="connsiteX1903" fmla="*/ 525023 w 1008862"/>
              <a:gd name="connsiteY1903" fmla="*/ 641130 h 992562"/>
              <a:gd name="connsiteX1904" fmla="*/ 529983 w 1008862"/>
              <a:gd name="connsiteY1904" fmla="*/ 642250 h 992562"/>
              <a:gd name="connsiteX1905" fmla="*/ 538783 w 1008862"/>
              <a:gd name="connsiteY1905" fmla="*/ 645770 h 992562"/>
              <a:gd name="connsiteX1906" fmla="*/ 542943 w 1008862"/>
              <a:gd name="connsiteY1906" fmla="*/ 647530 h 992562"/>
              <a:gd name="connsiteX1907" fmla="*/ 544223 w 1008862"/>
              <a:gd name="connsiteY1907" fmla="*/ 648970 h 992562"/>
              <a:gd name="connsiteX1908" fmla="*/ 552703 w 1008862"/>
              <a:gd name="connsiteY1908" fmla="*/ 657130 h 992562"/>
              <a:gd name="connsiteX1909" fmla="*/ 607743 w 1008862"/>
              <a:gd name="connsiteY1909" fmla="*/ 644170 h 992562"/>
              <a:gd name="connsiteX1910" fmla="*/ 582623 w 1008862"/>
              <a:gd name="connsiteY1910" fmla="*/ 640330 h 992562"/>
              <a:gd name="connsiteX1911" fmla="*/ 558623 w 1008862"/>
              <a:gd name="connsiteY1911" fmla="*/ 634250 h 992562"/>
              <a:gd name="connsiteX1912" fmla="*/ 542943 w 1008862"/>
              <a:gd name="connsiteY1912" fmla="*/ 628970 h 992562"/>
              <a:gd name="connsiteX1913" fmla="*/ 571583 w 1008862"/>
              <a:gd name="connsiteY1913" fmla="*/ 631530 h 992562"/>
              <a:gd name="connsiteX1914" fmla="*/ 621183 w 1008862"/>
              <a:gd name="connsiteY1914" fmla="*/ 628810 h 992562"/>
              <a:gd name="connsiteX1915" fmla="*/ 719263 w 1008862"/>
              <a:gd name="connsiteY1915" fmla="*/ 619370 h 992562"/>
              <a:gd name="connsiteX1916" fmla="*/ 810143 w 1008862"/>
              <a:gd name="connsiteY1916" fmla="*/ 584490 h 992562"/>
              <a:gd name="connsiteX1917" fmla="*/ 829503 w 1008862"/>
              <a:gd name="connsiteY1917" fmla="*/ 571530 h 992562"/>
              <a:gd name="connsiteX1918" fmla="*/ 837983 w 1008862"/>
              <a:gd name="connsiteY1918" fmla="*/ 566090 h 992562"/>
              <a:gd name="connsiteX1919" fmla="*/ 839263 w 1008862"/>
              <a:gd name="connsiteY1919" fmla="*/ 565130 h 992562"/>
              <a:gd name="connsiteX1920" fmla="*/ 811903 w 1008862"/>
              <a:gd name="connsiteY1920" fmla="*/ 596810 h 992562"/>
              <a:gd name="connsiteX1921" fmla="*/ 790623 w 1008862"/>
              <a:gd name="connsiteY1921" fmla="*/ 608810 h 992562"/>
              <a:gd name="connsiteX1922" fmla="*/ 767583 w 1008862"/>
              <a:gd name="connsiteY1922" fmla="*/ 621450 h 992562"/>
              <a:gd name="connsiteX1923" fmla="*/ 717183 w 1008862"/>
              <a:gd name="connsiteY1923" fmla="*/ 636970 h 992562"/>
              <a:gd name="connsiteX1924" fmla="*/ 691423 w 1008862"/>
              <a:gd name="connsiteY1924" fmla="*/ 642730 h 992562"/>
              <a:gd name="connsiteX1925" fmla="*/ 661503 w 1008862"/>
              <a:gd name="connsiteY1925" fmla="*/ 646090 h 992562"/>
              <a:gd name="connsiteX1926" fmla="*/ 607743 w 1008862"/>
              <a:gd name="connsiteY1926" fmla="*/ 644170 h 992562"/>
              <a:gd name="connsiteX1927" fmla="*/ 783743 w 1008862"/>
              <a:gd name="connsiteY1927" fmla="*/ 642250 h 992562"/>
              <a:gd name="connsiteX1928" fmla="*/ 757343 w 1008862"/>
              <a:gd name="connsiteY1928" fmla="*/ 640970 h 992562"/>
              <a:gd name="connsiteX1929" fmla="*/ 743903 w 1008862"/>
              <a:gd name="connsiteY1929" fmla="*/ 640330 h 992562"/>
              <a:gd name="connsiteX1930" fmla="*/ 743423 w 1008862"/>
              <a:gd name="connsiteY1930" fmla="*/ 640330 h 992562"/>
              <a:gd name="connsiteX1931" fmla="*/ 763743 w 1008862"/>
              <a:gd name="connsiteY1931" fmla="*/ 633610 h 992562"/>
              <a:gd name="connsiteX1932" fmla="*/ 775103 w 1008862"/>
              <a:gd name="connsiteY1932" fmla="*/ 634250 h 992562"/>
              <a:gd name="connsiteX1933" fmla="*/ 795583 w 1008862"/>
              <a:gd name="connsiteY1933" fmla="*/ 639370 h 992562"/>
              <a:gd name="connsiteX1934" fmla="*/ 806463 w 1008862"/>
              <a:gd name="connsiteY1934" fmla="*/ 643370 h 992562"/>
              <a:gd name="connsiteX1935" fmla="*/ 783743 w 1008862"/>
              <a:gd name="connsiteY1935" fmla="*/ 642250 h 992562"/>
              <a:gd name="connsiteX1936" fmla="*/ 825823 w 1008862"/>
              <a:gd name="connsiteY1936" fmla="*/ 649930 h 992562"/>
              <a:gd name="connsiteX1937" fmla="*/ 837823 w 1008862"/>
              <a:gd name="connsiteY1937" fmla="*/ 653290 h 992562"/>
              <a:gd name="connsiteX1938" fmla="*/ 858303 w 1008862"/>
              <a:gd name="connsiteY1938" fmla="*/ 657450 h 992562"/>
              <a:gd name="connsiteX1939" fmla="*/ 837983 w 1008862"/>
              <a:gd name="connsiteY1939" fmla="*/ 661130 h 992562"/>
              <a:gd name="connsiteX1940" fmla="*/ 785663 w 1008862"/>
              <a:gd name="connsiteY1940" fmla="*/ 665290 h 992562"/>
              <a:gd name="connsiteX1941" fmla="*/ 729183 w 1008862"/>
              <a:gd name="connsiteY1941" fmla="*/ 663530 h 992562"/>
              <a:gd name="connsiteX1942" fmla="*/ 702943 w 1008862"/>
              <a:gd name="connsiteY1942" fmla="*/ 657290 h 992562"/>
              <a:gd name="connsiteX1943" fmla="*/ 690783 w 1008862"/>
              <a:gd name="connsiteY1943" fmla="*/ 652650 h 992562"/>
              <a:gd name="connsiteX1944" fmla="*/ 689663 w 1008862"/>
              <a:gd name="connsiteY1944" fmla="*/ 652170 h 992562"/>
              <a:gd name="connsiteX1945" fmla="*/ 726783 w 1008862"/>
              <a:gd name="connsiteY1945" fmla="*/ 644330 h 992562"/>
              <a:gd name="connsiteX1946" fmla="*/ 734463 w 1008862"/>
              <a:gd name="connsiteY1946" fmla="*/ 642730 h 992562"/>
              <a:gd name="connsiteX1947" fmla="*/ 743583 w 1008862"/>
              <a:gd name="connsiteY1947" fmla="*/ 644490 h 992562"/>
              <a:gd name="connsiteX1948" fmla="*/ 774303 w 1008862"/>
              <a:gd name="connsiteY1948" fmla="*/ 647050 h 992562"/>
              <a:gd name="connsiteX1949" fmla="*/ 825823 w 1008862"/>
              <a:gd name="connsiteY1949" fmla="*/ 649930 h 992562"/>
              <a:gd name="connsiteX1950" fmla="*/ 867903 w 1008862"/>
              <a:gd name="connsiteY1950" fmla="*/ 662250 h 992562"/>
              <a:gd name="connsiteX1951" fmla="*/ 815743 w 1008862"/>
              <a:gd name="connsiteY1951" fmla="*/ 679050 h 992562"/>
              <a:gd name="connsiteX1952" fmla="*/ 794623 w 1008862"/>
              <a:gd name="connsiteY1952" fmla="*/ 682730 h 992562"/>
              <a:gd name="connsiteX1953" fmla="*/ 770943 w 1008862"/>
              <a:gd name="connsiteY1953" fmla="*/ 684170 h 992562"/>
              <a:gd name="connsiteX1954" fmla="*/ 760703 w 1008862"/>
              <a:gd name="connsiteY1954" fmla="*/ 683690 h 992562"/>
              <a:gd name="connsiteX1955" fmla="*/ 747583 w 1008862"/>
              <a:gd name="connsiteY1955" fmla="*/ 684490 h 992562"/>
              <a:gd name="connsiteX1956" fmla="*/ 734623 w 1008862"/>
              <a:gd name="connsiteY1956" fmla="*/ 683210 h 992562"/>
              <a:gd name="connsiteX1957" fmla="*/ 721183 w 1008862"/>
              <a:gd name="connsiteY1957" fmla="*/ 680650 h 992562"/>
              <a:gd name="connsiteX1958" fmla="*/ 672383 w 1008862"/>
              <a:gd name="connsiteY1958" fmla="*/ 661770 h 992562"/>
              <a:gd name="connsiteX1959" fmla="*/ 660063 w 1008862"/>
              <a:gd name="connsiteY1959" fmla="*/ 655370 h 992562"/>
              <a:gd name="connsiteX1960" fmla="*/ 675583 w 1008862"/>
              <a:gd name="connsiteY1960" fmla="*/ 654250 h 992562"/>
              <a:gd name="connsiteX1961" fmla="*/ 684223 w 1008862"/>
              <a:gd name="connsiteY1961" fmla="*/ 653130 h 992562"/>
              <a:gd name="connsiteX1962" fmla="*/ 692383 w 1008862"/>
              <a:gd name="connsiteY1962" fmla="*/ 657930 h 992562"/>
              <a:gd name="connsiteX1963" fmla="*/ 717183 w 1008862"/>
              <a:gd name="connsiteY1963" fmla="*/ 666250 h 992562"/>
              <a:gd name="connsiteX1964" fmla="*/ 774783 w 1008862"/>
              <a:gd name="connsiteY1964" fmla="*/ 671370 h 992562"/>
              <a:gd name="connsiteX1965" fmla="*/ 870303 w 1008862"/>
              <a:gd name="connsiteY1965" fmla="*/ 661290 h 992562"/>
              <a:gd name="connsiteX1966" fmla="*/ 867903 w 1008862"/>
              <a:gd name="connsiteY1966" fmla="*/ 662250 h 992562"/>
              <a:gd name="connsiteX1967" fmla="*/ 973023 w 1008862"/>
              <a:gd name="connsiteY1967" fmla="*/ 612650 h 992562"/>
              <a:gd name="connsiteX1968" fmla="*/ 966623 w 1008862"/>
              <a:gd name="connsiteY1968" fmla="*/ 621450 h 992562"/>
              <a:gd name="connsiteX1969" fmla="*/ 959103 w 1008862"/>
              <a:gd name="connsiteY1969" fmla="*/ 629290 h 992562"/>
              <a:gd name="connsiteX1970" fmla="*/ 949823 w 1008862"/>
              <a:gd name="connsiteY1970" fmla="*/ 636010 h 992562"/>
              <a:gd name="connsiteX1971" fmla="*/ 938943 w 1008862"/>
              <a:gd name="connsiteY1971" fmla="*/ 642250 h 992562"/>
              <a:gd name="connsiteX1972" fmla="*/ 915263 w 1008862"/>
              <a:gd name="connsiteY1972" fmla="*/ 647850 h 992562"/>
              <a:gd name="connsiteX1973" fmla="*/ 910783 w 1008862"/>
              <a:gd name="connsiteY1973" fmla="*/ 648650 h 992562"/>
              <a:gd name="connsiteX1974" fmla="*/ 901823 w 1008862"/>
              <a:gd name="connsiteY1974" fmla="*/ 648970 h 992562"/>
              <a:gd name="connsiteX1975" fmla="*/ 881343 w 1008862"/>
              <a:gd name="connsiteY1975" fmla="*/ 649610 h 992562"/>
              <a:gd name="connsiteX1976" fmla="*/ 835103 w 1008862"/>
              <a:gd name="connsiteY1976" fmla="*/ 643370 h 992562"/>
              <a:gd name="connsiteX1977" fmla="*/ 803743 w 1008862"/>
              <a:gd name="connsiteY1977" fmla="*/ 633610 h 992562"/>
              <a:gd name="connsiteX1978" fmla="*/ 826463 w 1008862"/>
              <a:gd name="connsiteY1978" fmla="*/ 633290 h 992562"/>
              <a:gd name="connsiteX1979" fmla="*/ 885663 w 1008862"/>
              <a:gd name="connsiteY1979" fmla="*/ 626410 h 992562"/>
              <a:gd name="connsiteX1980" fmla="*/ 912383 w 1008862"/>
              <a:gd name="connsiteY1980" fmla="*/ 620010 h 992562"/>
              <a:gd name="connsiteX1981" fmla="*/ 943743 w 1008862"/>
              <a:gd name="connsiteY1981" fmla="*/ 614890 h 992562"/>
              <a:gd name="connsiteX1982" fmla="*/ 972703 w 1008862"/>
              <a:gd name="connsiteY1982" fmla="*/ 611210 h 992562"/>
              <a:gd name="connsiteX1983" fmla="*/ 973823 w 1008862"/>
              <a:gd name="connsiteY1983" fmla="*/ 611050 h 992562"/>
              <a:gd name="connsiteX1984" fmla="*/ 973023 w 1008862"/>
              <a:gd name="connsiteY1984" fmla="*/ 612650 h 992562"/>
              <a:gd name="connsiteX1985" fmla="*/ 980703 w 1008862"/>
              <a:gd name="connsiteY1985" fmla="*/ 603370 h 992562"/>
              <a:gd name="connsiteX1986" fmla="*/ 978783 w 1008862"/>
              <a:gd name="connsiteY1986" fmla="*/ 603690 h 992562"/>
              <a:gd name="connsiteX1987" fmla="*/ 951903 w 1008862"/>
              <a:gd name="connsiteY1987" fmla="*/ 606890 h 992562"/>
              <a:gd name="connsiteX1988" fmla="*/ 924863 w 1008862"/>
              <a:gd name="connsiteY1988" fmla="*/ 611050 h 992562"/>
              <a:gd name="connsiteX1989" fmla="*/ 895423 w 1008862"/>
              <a:gd name="connsiteY1989" fmla="*/ 618250 h 992562"/>
              <a:gd name="connsiteX1990" fmla="*/ 865663 w 1008862"/>
              <a:gd name="connsiteY1990" fmla="*/ 623050 h 992562"/>
              <a:gd name="connsiteX1991" fmla="*/ 836063 w 1008862"/>
              <a:gd name="connsiteY1991" fmla="*/ 627210 h 992562"/>
              <a:gd name="connsiteX1992" fmla="*/ 805503 w 1008862"/>
              <a:gd name="connsiteY1992" fmla="*/ 628650 h 992562"/>
              <a:gd name="connsiteX1993" fmla="*/ 777823 w 1008862"/>
              <a:gd name="connsiteY1993" fmla="*/ 627050 h 992562"/>
              <a:gd name="connsiteX1994" fmla="*/ 799103 w 1008862"/>
              <a:gd name="connsiteY1994" fmla="*/ 616010 h 992562"/>
              <a:gd name="connsiteX1995" fmla="*/ 816383 w 1008862"/>
              <a:gd name="connsiteY1995" fmla="*/ 605930 h 992562"/>
              <a:gd name="connsiteX1996" fmla="*/ 826143 w 1008862"/>
              <a:gd name="connsiteY1996" fmla="*/ 605450 h 992562"/>
              <a:gd name="connsiteX1997" fmla="*/ 848543 w 1008862"/>
              <a:gd name="connsiteY1997" fmla="*/ 602890 h 992562"/>
              <a:gd name="connsiteX1998" fmla="*/ 899903 w 1008862"/>
              <a:gd name="connsiteY1998" fmla="*/ 596170 h 992562"/>
              <a:gd name="connsiteX1999" fmla="*/ 949343 w 1008862"/>
              <a:gd name="connsiteY1999" fmla="*/ 596170 h 992562"/>
              <a:gd name="connsiteX2000" fmla="*/ 973823 w 1008862"/>
              <a:gd name="connsiteY2000" fmla="*/ 600490 h 992562"/>
              <a:gd name="connsiteX2001" fmla="*/ 980703 w 1008862"/>
              <a:gd name="connsiteY2001" fmla="*/ 603370 h 992562"/>
              <a:gd name="connsiteX2002" fmla="*/ 971743 w 1008862"/>
              <a:gd name="connsiteY2002" fmla="*/ 591850 h 992562"/>
              <a:gd name="connsiteX2003" fmla="*/ 973343 w 1008862"/>
              <a:gd name="connsiteY2003" fmla="*/ 593450 h 992562"/>
              <a:gd name="connsiteX2004" fmla="*/ 911423 w 1008862"/>
              <a:gd name="connsiteY2004" fmla="*/ 589610 h 992562"/>
              <a:gd name="connsiteX2005" fmla="*/ 861023 w 1008862"/>
              <a:gd name="connsiteY2005" fmla="*/ 595370 h 992562"/>
              <a:gd name="connsiteX2006" fmla="*/ 837983 w 1008862"/>
              <a:gd name="connsiteY2006" fmla="*/ 599050 h 992562"/>
              <a:gd name="connsiteX2007" fmla="*/ 827903 w 1008862"/>
              <a:gd name="connsiteY2007" fmla="*/ 600810 h 992562"/>
              <a:gd name="connsiteX2008" fmla="*/ 820703 w 1008862"/>
              <a:gd name="connsiteY2008" fmla="*/ 602410 h 992562"/>
              <a:gd name="connsiteX2009" fmla="*/ 838143 w 1008862"/>
              <a:gd name="connsiteY2009" fmla="*/ 583690 h 992562"/>
              <a:gd name="connsiteX2010" fmla="*/ 844543 w 1008862"/>
              <a:gd name="connsiteY2010" fmla="*/ 582250 h 992562"/>
              <a:gd name="connsiteX2011" fmla="*/ 864063 w 1008862"/>
              <a:gd name="connsiteY2011" fmla="*/ 576330 h 992562"/>
              <a:gd name="connsiteX2012" fmla="*/ 903263 w 1008862"/>
              <a:gd name="connsiteY2012" fmla="*/ 574250 h 992562"/>
              <a:gd name="connsiteX2013" fmla="*/ 944063 w 1008862"/>
              <a:gd name="connsiteY2013" fmla="*/ 579370 h 992562"/>
              <a:gd name="connsiteX2014" fmla="*/ 960383 w 1008862"/>
              <a:gd name="connsiteY2014" fmla="*/ 585130 h 992562"/>
              <a:gd name="connsiteX2015" fmla="*/ 971583 w 1008862"/>
              <a:gd name="connsiteY2015" fmla="*/ 591530 h 992562"/>
              <a:gd name="connsiteX2016" fmla="*/ 971743 w 1008862"/>
              <a:gd name="connsiteY2016" fmla="*/ 591850 h 992562"/>
              <a:gd name="connsiteX2017" fmla="*/ 947743 w 1008862"/>
              <a:gd name="connsiteY2017" fmla="*/ 565450 h 992562"/>
              <a:gd name="connsiteX2018" fmla="*/ 960063 w 1008862"/>
              <a:gd name="connsiteY2018" fmla="*/ 578570 h 992562"/>
              <a:gd name="connsiteX2019" fmla="*/ 950463 w 1008862"/>
              <a:gd name="connsiteY2019" fmla="*/ 575210 h 992562"/>
              <a:gd name="connsiteX2020" fmla="*/ 907743 w 1008862"/>
              <a:gd name="connsiteY2020" fmla="*/ 568970 h 992562"/>
              <a:gd name="connsiteX2021" fmla="*/ 868383 w 1008862"/>
              <a:gd name="connsiteY2021" fmla="*/ 570570 h 992562"/>
              <a:gd name="connsiteX2022" fmla="*/ 847583 w 1008862"/>
              <a:gd name="connsiteY2022" fmla="*/ 576810 h 992562"/>
              <a:gd name="connsiteX2023" fmla="*/ 842143 w 1008862"/>
              <a:gd name="connsiteY2023" fmla="*/ 578570 h 992562"/>
              <a:gd name="connsiteX2024" fmla="*/ 853343 w 1008862"/>
              <a:gd name="connsiteY2024" fmla="*/ 562730 h 992562"/>
              <a:gd name="connsiteX2025" fmla="*/ 866143 w 1008862"/>
              <a:gd name="connsiteY2025" fmla="*/ 546570 h 992562"/>
              <a:gd name="connsiteX2026" fmla="*/ 884063 w 1008862"/>
              <a:gd name="connsiteY2026" fmla="*/ 546570 h 992562"/>
              <a:gd name="connsiteX2027" fmla="*/ 911103 w 1008862"/>
              <a:gd name="connsiteY2027" fmla="*/ 550570 h 992562"/>
              <a:gd name="connsiteX2028" fmla="*/ 936703 w 1008862"/>
              <a:gd name="connsiteY2028" fmla="*/ 558730 h 992562"/>
              <a:gd name="connsiteX2029" fmla="*/ 947743 w 1008862"/>
              <a:gd name="connsiteY2029" fmla="*/ 565450 h 992562"/>
              <a:gd name="connsiteX2030" fmla="*/ 899743 w 1008862"/>
              <a:gd name="connsiteY2030" fmla="*/ 523690 h 992562"/>
              <a:gd name="connsiteX2031" fmla="*/ 908543 w 1008862"/>
              <a:gd name="connsiteY2031" fmla="*/ 530090 h 992562"/>
              <a:gd name="connsiteX2032" fmla="*/ 933823 w 1008862"/>
              <a:gd name="connsiteY2032" fmla="*/ 552490 h 992562"/>
              <a:gd name="connsiteX2033" fmla="*/ 913823 w 1008862"/>
              <a:gd name="connsiteY2033" fmla="*/ 546410 h 992562"/>
              <a:gd name="connsiteX2034" fmla="*/ 868543 w 1008862"/>
              <a:gd name="connsiteY2034" fmla="*/ 542730 h 992562"/>
              <a:gd name="connsiteX2035" fmla="*/ 869023 w 1008862"/>
              <a:gd name="connsiteY2035" fmla="*/ 542090 h 992562"/>
              <a:gd name="connsiteX2036" fmla="*/ 884863 w 1008862"/>
              <a:gd name="connsiteY2036" fmla="*/ 523530 h 992562"/>
              <a:gd name="connsiteX2037" fmla="*/ 889343 w 1008862"/>
              <a:gd name="connsiteY2037" fmla="*/ 518570 h 992562"/>
              <a:gd name="connsiteX2038" fmla="*/ 892863 w 1008862"/>
              <a:gd name="connsiteY2038" fmla="*/ 520490 h 992562"/>
              <a:gd name="connsiteX2039" fmla="*/ 899743 w 1008862"/>
              <a:gd name="connsiteY2039" fmla="*/ 523690 h 992562"/>
              <a:gd name="connsiteX2040" fmla="*/ 897823 w 1008862"/>
              <a:gd name="connsiteY2040" fmla="*/ 491210 h 992562"/>
              <a:gd name="connsiteX2041" fmla="*/ 892703 w 1008862"/>
              <a:gd name="connsiteY2041" fmla="*/ 499210 h 992562"/>
              <a:gd name="connsiteX2042" fmla="*/ 877823 w 1008862"/>
              <a:gd name="connsiteY2042" fmla="*/ 517130 h 992562"/>
              <a:gd name="connsiteX2043" fmla="*/ 863263 w 1008862"/>
              <a:gd name="connsiteY2043" fmla="*/ 533930 h 992562"/>
              <a:gd name="connsiteX2044" fmla="*/ 861503 w 1008862"/>
              <a:gd name="connsiteY2044" fmla="*/ 536330 h 992562"/>
              <a:gd name="connsiteX2045" fmla="*/ 859263 w 1008862"/>
              <a:gd name="connsiteY2045" fmla="*/ 538090 h 992562"/>
              <a:gd name="connsiteX2046" fmla="*/ 843263 w 1008862"/>
              <a:gd name="connsiteY2046" fmla="*/ 551050 h 992562"/>
              <a:gd name="connsiteX2047" fmla="*/ 809503 w 1008862"/>
              <a:gd name="connsiteY2047" fmla="*/ 575850 h 992562"/>
              <a:gd name="connsiteX2048" fmla="*/ 766623 w 1008862"/>
              <a:gd name="connsiteY2048" fmla="*/ 597450 h 992562"/>
              <a:gd name="connsiteX2049" fmla="*/ 721023 w 1008862"/>
              <a:gd name="connsiteY2049" fmla="*/ 611210 h 992562"/>
              <a:gd name="connsiteX2050" fmla="*/ 671263 w 1008862"/>
              <a:gd name="connsiteY2050" fmla="*/ 617290 h 992562"/>
              <a:gd name="connsiteX2051" fmla="*/ 625183 w 1008862"/>
              <a:gd name="connsiteY2051" fmla="*/ 621450 h 992562"/>
              <a:gd name="connsiteX2052" fmla="*/ 535583 w 1008862"/>
              <a:gd name="connsiteY2052" fmla="*/ 623210 h 992562"/>
              <a:gd name="connsiteX2053" fmla="*/ 535263 w 1008862"/>
              <a:gd name="connsiteY2053" fmla="*/ 622890 h 992562"/>
              <a:gd name="connsiteX2054" fmla="*/ 543423 w 1008862"/>
              <a:gd name="connsiteY2054" fmla="*/ 622410 h 992562"/>
              <a:gd name="connsiteX2055" fmla="*/ 560863 w 1008862"/>
              <a:gd name="connsiteY2055" fmla="*/ 622890 h 992562"/>
              <a:gd name="connsiteX2056" fmla="*/ 561663 w 1008862"/>
              <a:gd name="connsiteY2056" fmla="*/ 622410 h 992562"/>
              <a:gd name="connsiteX2057" fmla="*/ 580383 w 1008862"/>
              <a:gd name="connsiteY2057" fmla="*/ 621770 h 992562"/>
              <a:gd name="connsiteX2058" fmla="*/ 605023 w 1008862"/>
              <a:gd name="connsiteY2058" fmla="*/ 616810 h 992562"/>
              <a:gd name="connsiteX2059" fmla="*/ 629823 w 1008862"/>
              <a:gd name="connsiteY2059" fmla="*/ 612010 h 992562"/>
              <a:gd name="connsiteX2060" fmla="*/ 683903 w 1008862"/>
              <a:gd name="connsiteY2060" fmla="*/ 603850 h 992562"/>
              <a:gd name="connsiteX2061" fmla="*/ 730463 w 1008862"/>
              <a:gd name="connsiteY2061" fmla="*/ 587370 h 992562"/>
              <a:gd name="connsiteX2062" fmla="*/ 776063 w 1008862"/>
              <a:gd name="connsiteY2062" fmla="*/ 565450 h 992562"/>
              <a:gd name="connsiteX2063" fmla="*/ 817503 w 1008862"/>
              <a:gd name="connsiteY2063" fmla="*/ 538570 h 992562"/>
              <a:gd name="connsiteX2064" fmla="*/ 838143 w 1008862"/>
              <a:gd name="connsiteY2064" fmla="*/ 522090 h 992562"/>
              <a:gd name="connsiteX2065" fmla="*/ 857343 w 1008862"/>
              <a:gd name="connsiteY2065" fmla="*/ 508170 h 992562"/>
              <a:gd name="connsiteX2066" fmla="*/ 878463 w 1008862"/>
              <a:gd name="connsiteY2066" fmla="*/ 495530 h 992562"/>
              <a:gd name="connsiteX2067" fmla="*/ 897823 w 1008862"/>
              <a:gd name="connsiteY2067" fmla="*/ 491210 h 992562"/>
              <a:gd name="connsiteX2068" fmla="*/ 925343 w 1008862"/>
              <a:gd name="connsiteY2068" fmla="*/ 431850 h 992562"/>
              <a:gd name="connsiteX2069" fmla="*/ 911743 w 1008862"/>
              <a:gd name="connsiteY2069" fmla="*/ 444650 h 992562"/>
              <a:gd name="connsiteX2070" fmla="*/ 899263 w 1008862"/>
              <a:gd name="connsiteY2070" fmla="*/ 457770 h 992562"/>
              <a:gd name="connsiteX2071" fmla="*/ 865343 w 1008862"/>
              <a:gd name="connsiteY2071" fmla="*/ 469930 h 992562"/>
              <a:gd name="connsiteX2072" fmla="*/ 864863 w 1008862"/>
              <a:gd name="connsiteY2072" fmla="*/ 470090 h 992562"/>
              <a:gd name="connsiteX2073" fmla="*/ 856863 w 1008862"/>
              <a:gd name="connsiteY2073" fmla="*/ 465930 h 992562"/>
              <a:gd name="connsiteX2074" fmla="*/ 884383 w 1008862"/>
              <a:gd name="connsiteY2074" fmla="*/ 452650 h 992562"/>
              <a:gd name="connsiteX2075" fmla="*/ 910623 w 1008862"/>
              <a:gd name="connsiteY2075" fmla="*/ 437450 h 992562"/>
              <a:gd name="connsiteX2076" fmla="*/ 921343 w 1008862"/>
              <a:gd name="connsiteY2076" fmla="*/ 430090 h 992562"/>
              <a:gd name="connsiteX2077" fmla="*/ 926783 w 1008862"/>
              <a:gd name="connsiteY2077" fmla="*/ 426250 h 992562"/>
              <a:gd name="connsiteX2078" fmla="*/ 930143 w 1008862"/>
              <a:gd name="connsiteY2078" fmla="*/ 425290 h 992562"/>
              <a:gd name="connsiteX2079" fmla="*/ 925343 w 1008862"/>
              <a:gd name="connsiteY2079" fmla="*/ 431850 h 992562"/>
              <a:gd name="connsiteX2080" fmla="*/ 914303 w 1008862"/>
              <a:gd name="connsiteY2080" fmla="*/ 394890 h 992562"/>
              <a:gd name="connsiteX2081" fmla="*/ 927903 w 1008862"/>
              <a:gd name="connsiteY2081" fmla="*/ 401610 h 992562"/>
              <a:gd name="connsiteX2082" fmla="*/ 935583 w 1008862"/>
              <a:gd name="connsiteY2082" fmla="*/ 405290 h 992562"/>
              <a:gd name="connsiteX2083" fmla="*/ 941663 w 1008862"/>
              <a:gd name="connsiteY2083" fmla="*/ 407370 h 992562"/>
              <a:gd name="connsiteX2084" fmla="*/ 940703 w 1008862"/>
              <a:gd name="connsiteY2084" fmla="*/ 409450 h 992562"/>
              <a:gd name="connsiteX2085" fmla="*/ 940383 w 1008862"/>
              <a:gd name="connsiteY2085" fmla="*/ 410410 h 992562"/>
              <a:gd name="connsiteX2086" fmla="*/ 929663 w 1008862"/>
              <a:gd name="connsiteY2086" fmla="*/ 414410 h 992562"/>
              <a:gd name="connsiteX2087" fmla="*/ 906143 w 1008862"/>
              <a:gd name="connsiteY2087" fmla="*/ 419690 h 992562"/>
              <a:gd name="connsiteX2088" fmla="*/ 866303 w 1008862"/>
              <a:gd name="connsiteY2088" fmla="*/ 422410 h 992562"/>
              <a:gd name="connsiteX2089" fmla="*/ 875423 w 1008862"/>
              <a:gd name="connsiteY2089" fmla="*/ 416330 h 992562"/>
              <a:gd name="connsiteX2090" fmla="*/ 898783 w 1008862"/>
              <a:gd name="connsiteY2090" fmla="*/ 402090 h 992562"/>
              <a:gd name="connsiteX2091" fmla="*/ 911263 w 1008862"/>
              <a:gd name="connsiteY2091" fmla="*/ 396490 h 992562"/>
              <a:gd name="connsiteX2092" fmla="*/ 914303 w 1008862"/>
              <a:gd name="connsiteY2092" fmla="*/ 394890 h 992562"/>
              <a:gd name="connsiteX2093" fmla="*/ 909823 w 1008862"/>
              <a:gd name="connsiteY2093" fmla="*/ 392650 h 992562"/>
              <a:gd name="connsiteX2094" fmla="*/ 882303 w 1008862"/>
              <a:gd name="connsiteY2094" fmla="*/ 404650 h 992562"/>
              <a:gd name="connsiteX2095" fmla="*/ 865983 w 1008862"/>
              <a:gd name="connsiteY2095" fmla="*/ 415850 h 992562"/>
              <a:gd name="connsiteX2096" fmla="*/ 858143 w 1008862"/>
              <a:gd name="connsiteY2096" fmla="*/ 422410 h 992562"/>
              <a:gd name="connsiteX2097" fmla="*/ 856063 w 1008862"/>
              <a:gd name="connsiteY2097" fmla="*/ 422410 h 992562"/>
              <a:gd name="connsiteX2098" fmla="*/ 838463 w 1008862"/>
              <a:gd name="connsiteY2098" fmla="*/ 422570 h 992562"/>
              <a:gd name="connsiteX2099" fmla="*/ 841183 w 1008862"/>
              <a:gd name="connsiteY2099" fmla="*/ 419370 h 992562"/>
              <a:gd name="connsiteX2100" fmla="*/ 854783 w 1008862"/>
              <a:gd name="connsiteY2100" fmla="*/ 405930 h 992562"/>
              <a:gd name="connsiteX2101" fmla="*/ 871263 w 1008862"/>
              <a:gd name="connsiteY2101" fmla="*/ 392810 h 992562"/>
              <a:gd name="connsiteX2102" fmla="*/ 887583 w 1008862"/>
              <a:gd name="connsiteY2102" fmla="*/ 383050 h 992562"/>
              <a:gd name="connsiteX2103" fmla="*/ 909823 w 1008862"/>
              <a:gd name="connsiteY2103" fmla="*/ 392650 h 992562"/>
              <a:gd name="connsiteX2104" fmla="*/ 983743 w 1008862"/>
              <a:gd name="connsiteY2104" fmla="*/ 294570 h 992562"/>
              <a:gd name="connsiteX2105" fmla="*/ 971263 w 1008862"/>
              <a:gd name="connsiteY2105" fmla="*/ 318410 h 992562"/>
              <a:gd name="connsiteX2106" fmla="*/ 956063 w 1008862"/>
              <a:gd name="connsiteY2106" fmla="*/ 338890 h 992562"/>
              <a:gd name="connsiteX2107" fmla="*/ 938303 w 1008862"/>
              <a:gd name="connsiteY2107" fmla="*/ 357130 h 992562"/>
              <a:gd name="connsiteX2108" fmla="*/ 920223 w 1008862"/>
              <a:gd name="connsiteY2108" fmla="*/ 368970 h 992562"/>
              <a:gd name="connsiteX2109" fmla="*/ 901663 w 1008862"/>
              <a:gd name="connsiteY2109" fmla="*/ 372650 h 992562"/>
              <a:gd name="connsiteX2110" fmla="*/ 896223 w 1008862"/>
              <a:gd name="connsiteY2110" fmla="*/ 372650 h 992562"/>
              <a:gd name="connsiteX2111" fmla="*/ 887103 w 1008862"/>
              <a:gd name="connsiteY2111" fmla="*/ 372490 h 992562"/>
              <a:gd name="connsiteX2112" fmla="*/ 874303 w 1008862"/>
              <a:gd name="connsiteY2112" fmla="*/ 368170 h 992562"/>
              <a:gd name="connsiteX2113" fmla="*/ 874783 w 1008862"/>
              <a:gd name="connsiteY2113" fmla="*/ 368010 h 992562"/>
              <a:gd name="connsiteX2114" fmla="*/ 879743 w 1008862"/>
              <a:gd name="connsiteY2114" fmla="*/ 365930 h 992562"/>
              <a:gd name="connsiteX2115" fmla="*/ 886783 w 1008862"/>
              <a:gd name="connsiteY2115" fmla="*/ 362730 h 992562"/>
              <a:gd name="connsiteX2116" fmla="*/ 905343 w 1008862"/>
              <a:gd name="connsiteY2116" fmla="*/ 354730 h 992562"/>
              <a:gd name="connsiteX2117" fmla="*/ 927903 w 1008862"/>
              <a:gd name="connsiteY2117" fmla="*/ 340490 h 992562"/>
              <a:gd name="connsiteX2118" fmla="*/ 947263 w 1008862"/>
              <a:gd name="connsiteY2118" fmla="*/ 326410 h 992562"/>
              <a:gd name="connsiteX2119" fmla="*/ 983743 w 1008862"/>
              <a:gd name="connsiteY2119" fmla="*/ 292330 h 992562"/>
              <a:gd name="connsiteX2120" fmla="*/ 986303 w 1008862"/>
              <a:gd name="connsiteY2120" fmla="*/ 289130 h 992562"/>
              <a:gd name="connsiteX2121" fmla="*/ 983743 w 1008862"/>
              <a:gd name="connsiteY2121" fmla="*/ 294570 h 992562"/>
              <a:gd name="connsiteX2122" fmla="*/ 995743 w 1008862"/>
              <a:gd name="connsiteY2122" fmla="*/ 259690 h 992562"/>
              <a:gd name="connsiteX2123" fmla="*/ 994463 w 1008862"/>
              <a:gd name="connsiteY2123" fmla="*/ 266090 h 992562"/>
              <a:gd name="connsiteX2124" fmla="*/ 990623 w 1008862"/>
              <a:gd name="connsiteY2124" fmla="*/ 272650 h 992562"/>
              <a:gd name="connsiteX2125" fmla="*/ 977023 w 1008862"/>
              <a:gd name="connsiteY2125" fmla="*/ 291370 h 992562"/>
              <a:gd name="connsiteX2126" fmla="*/ 939423 w 1008862"/>
              <a:gd name="connsiteY2126" fmla="*/ 324970 h 992562"/>
              <a:gd name="connsiteX2127" fmla="*/ 921023 w 1008862"/>
              <a:gd name="connsiteY2127" fmla="*/ 337610 h 992562"/>
              <a:gd name="connsiteX2128" fmla="*/ 899903 w 1008862"/>
              <a:gd name="connsiteY2128" fmla="*/ 350570 h 992562"/>
              <a:gd name="connsiteX2129" fmla="*/ 873663 w 1008862"/>
              <a:gd name="connsiteY2129" fmla="*/ 361770 h 992562"/>
              <a:gd name="connsiteX2130" fmla="*/ 870783 w 1008862"/>
              <a:gd name="connsiteY2130" fmla="*/ 362570 h 992562"/>
              <a:gd name="connsiteX2131" fmla="*/ 857823 w 1008862"/>
              <a:gd name="connsiteY2131" fmla="*/ 363690 h 992562"/>
              <a:gd name="connsiteX2132" fmla="*/ 838943 w 1008862"/>
              <a:gd name="connsiteY2132" fmla="*/ 360330 h 992562"/>
              <a:gd name="connsiteX2133" fmla="*/ 850463 w 1008862"/>
              <a:gd name="connsiteY2133" fmla="*/ 351370 h 992562"/>
              <a:gd name="connsiteX2134" fmla="*/ 874143 w 1008862"/>
              <a:gd name="connsiteY2134" fmla="*/ 337130 h 992562"/>
              <a:gd name="connsiteX2135" fmla="*/ 923743 w 1008862"/>
              <a:gd name="connsiteY2135" fmla="*/ 309130 h 992562"/>
              <a:gd name="connsiteX2136" fmla="*/ 966463 w 1008862"/>
              <a:gd name="connsiteY2136" fmla="*/ 280330 h 992562"/>
              <a:gd name="connsiteX2137" fmla="*/ 985183 w 1008862"/>
              <a:gd name="connsiteY2137" fmla="*/ 261930 h 992562"/>
              <a:gd name="connsiteX2138" fmla="*/ 992543 w 1008862"/>
              <a:gd name="connsiteY2138" fmla="*/ 252810 h 992562"/>
              <a:gd name="connsiteX2139" fmla="*/ 994143 w 1008862"/>
              <a:gd name="connsiteY2139" fmla="*/ 251210 h 992562"/>
              <a:gd name="connsiteX2140" fmla="*/ 996063 w 1008862"/>
              <a:gd name="connsiteY2140" fmla="*/ 251370 h 992562"/>
              <a:gd name="connsiteX2141" fmla="*/ 995743 w 1008862"/>
              <a:gd name="connsiteY2141" fmla="*/ 259690 h 992562"/>
              <a:gd name="connsiteX2142" fmla="*/ 451583 w 1008862"/>
              <a:gd name="connsiteY2142" fmla="*/ 344330 h 992562"/>
              <a:gd name="connsiteX2143" fmla="*/ 442303 w 1008862"/>
              <a:gd name="connsiteY2143" fmla="*/ 345130 h 992562"/>
              <a:gd name="connsiteX2144" fmla="*/ 441183 w 1008862"/>
              <a:gd name="connsiteY2144" fmla="*/ 344970 h 992562"/>
              <a:gd name="connsiteX2145" fmla="*/ 439103 w 1008862"/>
              <a:gd name="connsiteY2145" fmla="*/ 353290 h 992562"/>
              <a:gd name="connsiteX2146" fmla="*/ 449503 w 1008862"/>
              <a:gd name="connsiteY2146" fmla="*/ 356010 h 992562"/>
              <a:gd name="connsiteX2147" fmla="*/ 456543 w 1008862"/>
              <a:gd name="connsiteY2147" fmla="*/ 349770 h 992562"/>
              <a:gd name="connsiteX2148" fmla="*/ 451583 w 1008862"/>
              <a:gd name="connsiteY2148" fmla="*/ 344330 h 992562"/>
              <a:gd name="connsiteX2149" fmla="*/ 451743 w 1008862"/>
              <a:gd name="connsiteY2149" fmla="*/ 351690 h 992562"/>
              <a:gd name="connsiteX2150" fmla="*/ 441823 w 1008862"/>
              <a:gd name="connsiteY2150" fmla="*/ 350410 h 992562"/>
              <a:gd name="connsiteX2151" fmla="*/ 443263 w 1008862"/>
              <a:gd name="connsiteY2151" fmla="*/ 347690 h 992562"/>
              <a:gd name="connsiteX2152" fmla="*/ 443583 w 1008862"/>
              <a:gd name="connsiteY2152" fmla="*/ 347210 h 992562"/>
              <a:gd name="connsiteX2153" fmla="*/ 443903 w 1008862"/>
              <a:gd name="connsiteY2153" fmla="*/ 347210 h 992562"/>
              <a:gd name="connsiteX2154" fmla="*/ 444543 w 1008862"/>
              <a:gd name="connsiteY2154" fmla="*/ 346570 h 992562"/>
              <a:gd name="connsiteX2155" fmla="*/ 449983 w 1008862"/>
              <a:gd name="connsiteY2155" fmla="*/ 347370 h 992562"/>
              <a:gd name="connsiteX2156" fmla="*/ 451743 w 1008862"/>
              <a:gd name="connsiteY2156" fmla="*/ 351690 h 992562"/>
              <a:gd name="connsiteX2157" fmla="*/ 472063 w 1008862"/>
              <a:gd name="connsiteY2157" fmla="*/ 337130 h 992562"/>
              <a:gd name="connsiteX2158" fmla="*/ 461183 w 1008862"/>
              <a:gd name="connsiteY2158" fmla="*/ 334570 h 992562"/>
              <a:gd name="connsiteX2159" fmla="*/ 461023 w 1008862"/>
              <a:gd name="connsiteY2159" fmla="*/ 334730 h 992562"/>
              <a:gd name="connsiteX2160" fmla="*/ 460383 w 1008862"/>
              <a:gd name="connsiteY2160" fmla="*/ 334890 h 992562"/>
              <a:gd name="connsiteX2161" fmla="*/ 456063 w 1008862"/>
              <a:gd name="connsiteY2161" fmla="*/ 339210 h 992562"/>
              <a:gd name="connsiteX2162" fmla="*/ 464383 w 1008862"/>
              <a:gd name="connsiteY2162" fmla="*/ 343050 h 992562"/>
              <a:gd name="connsiteX2163" fmla="*/ 472063 w 1008862"/>
              <a:gd name="connsiteY2163" fmla="*/ 337130 h 992562"/>
              <a:gd name="connsiteX2164" fmla="*/ 464063 w 1008862"/>
              <a:gd name="connsiteY2164" fmla="*/ 338890 h 992562"/>
              <a:gd name="connsiteX2165" fmla="*/ 461183 w 1008862"/>
              <a:gd name="connsiteY2165" fmla="*/ 338890 h 992562"/>
              <a:gd name="connsiteX2166" fmla="*/ 461023 w 1008862"/>
              <a:gd name="connsiteY2166" fmla="*/ 338890 h 992562"/>
              <a:gd name="connsiteX2167" fmla="*/ 463103 w 1008862"/>
              <a:gd name="connsiteY2167" fmla="*/ 338890 h 992562"/>
              <a:gd name="connsiteX2168" fmla="*/ 466143 w 1008862"/>
              <a:gd name="connsiteY2168" fmla="*/ 337610 h 992562"/>
              <a:gd name="connsiteX2169" fmla="*/ 466303 w 1008862"/>
              <a:gd name="connsiteY2169" fmla="*/ 337450 h 992562"/>
              <a:gd name="connsiteX2170" fmla="*/ 468063 w 1008862"/>
              <a:gd name="connsiteY2170" fmla="*/ 337930 h 992562"/>
              <a:gd name="connsiteX2171" fmla="*/ 467583 w 1008862"/>
              <a:gd name="connsiteY2171" fmla="*/ 338250 h 992562"/>
              <a:gd name="connsiteX2172" fmla="*/ 464063 w 1008862"/>
              <a:gd name="connsiteY2172" fmla="*/ 338890 h 992562"/>
              <a:gd name="connsiteX2173" fmla="*/ 510783 w 1008862"/>
              <a:gd name="connsiteY2173" fmla="*/ 338890 h 992562"/>
              <a:gd name="connsiteX2174" fmla="*/ 502303 w 1008862"/>
              <a:gd name="connsiteY2174" fmla="*/ 336970 h 992562"/>
              <a:gd name="connsiteX2175" fmla="*/ 499103 w 1008862"/>
              <a:gd name="connsiteY2175" fmla="*/ 337130 h 992562"/>
              <a:gd name="connsiteX2176" fmla="*/ 498303 w 1008862"/>
              <a:gd name="connsiteY2176" fmla="*/ 337450 h 992562"/>
              <a:gd name="connsiteX2177" fmla="*/ 495263 w 1008862"/>
              <a:gd name="connsiteY2177" fmla="*/ 339210 h 992562"/>
              <a:gd name="connsiteX2178" fmla="*/ 494943 w 1008862"/>
              <a:gd name="connsiteY2178" fmla="*/ 341610 h 992562"/>
              <a:gd name="connsiteX2179" fmla="*/ 494943 w 1008862"/>
              <a:gd name="connsiteY2179" fmla="*/ 341930 h 992562"/>
              <a:gd name="connsiteX2180" fmla="*/ 494943 w 1008862"/>
              <a:gd name="connsiteY2180" fmla="*/ 343370 h 992562"/>
              <a:gd name="connsiteX2181" fmla="*/ 511583 w 1008862"/>
              <a:gd name="connsiteY2181" fmla="*/ 346090 h 992562"/>
              <a:gd name="connsiteX2182" fmla="*/ 510783 w 1008862"/>
              <a:gd name="connsiteY2182" fmla="*/ 338890 h 992562"/>
              <a:gd name="connsiteX2183" fmla="*/ 500223 w 1008862"/>
              <a:gd name="connsiteY2183" fmla="*/ 342250 h 992562"/>
              <a:gd name="connsiteX2184" fmla="*/ 500223 w 1008862"/>
              <a:gd name="connsiteY2184" fmla="*/ 342250 h 992562"/>
              <a:gd name="connsiteX2185" fmla="*/ 500703 w 1008862"/>
              <a:gd name="connsiteY2185" fmla="*/ 340010 h 992562"/>
              <a:gd name="connsiteX2186" fmla="*/ 501183 w 1008862"/>
              <a:gd name="connsiteY2186" fmla="*/ 340010 h 992562"/>
              <a:gd name="connsiteX2187" fmla="*/ 502783 w 1008862"/>
              <a:gd name="connsiteY2187" fmla="*/ 340010 h 992562"/>
              <a:gd name="connsiteX2188" fmla="*/ 503743 w 1008862"/>
              <a:gd name="connsiteY2188" fmla="*/ 340010 h 992562"/>
              <a:gd name="connsiteX2189" fmla="*/ 505983 w 1008862"/>
              <a:gd name="connsiteY2189" fmla="*/ 340490 h 992562"/>
              <a:gd name="connsiteX2190" fmla="*/ 507903 w 1008862"/>
              <a:gd name="connsiteY2190" fmla="*/ 342410 h 992562"/>
              <a:gd name="connsiteX2191" fmla="*/ 508063 w 1008862"/>
              <a:gd name="connsiteY2191" fmla="*/ 342570 h 992562"/>
              <a:gd name="connsiteX2192" fmla="*/ 500223 w 1008862"/>
              <a:gd name="connsiteY2192" fmla="*/ 342250 h 992562"/>
              <a:gd name="connsiteX2193" fmla="*/ 484063 w 1008862"/>
              <a:gd name="connsiteY2193" fmla="*/ 349770 h 992562"/>
              <a:gd name="connsiteX2194" fmla="*/ 478623 w 1008862"/>
              <a:gd name="connsiteY2194" fmla="*/ 347530 h 992562"/>
              <a:gd name="connsiteX2195" fmla="*/ 471263 w 1008862"/>
              <a:gd name="connsiteY2195" fmla="*/ 348970 h 992562"/>
              <a:gd name="connsiteX2196" fmla="*/ 470623 w 1008862"/>
              <a:gd name="connsiteY2196" fmla="*/ 350250 h 992562"/>
              <a:gd name="connsiteX2197" fmla="*/ 469503 w 1008862"/>
              <a:gd name="connsiteY2197" fmla="*/ 353290 h 992562"/>
              <a:gd name="connsiteX2198" fmla="*/ 479743 w 1008862"/>
              <a:gd name="connsiteY2198" fmla="*/ 358090 h 992562"/>
              <a:gd name="connsiteX2199" fmla="*/ 484063 w 1008862"/>
              <a:gd name="connsiteY2199" fmla="*/ 349770 h 992562"/>
              <a:gd name="connsiteX2200" fmla="*/ 480063 w 1008862"/>
              <a:gd name="connsiteY2200" fmla="*/ 353450 h 992562"/>
              <a:gd name="connsiteX2201" fmla="*/ 474143 w 1008862"/>
              <a:gd name="connsiteY2201" fmla="*/ 353610 h 992562"/>
              <a:gd name="connsiteX2202" fmla="*/ 477823 w 1008862"/>
              <a:gd name="connsiteY2202" fmla="*/ 351210 h 992562"/>
              <a:gd name="connsiteX2203" fmla="*/ 478463 w 1008862"/>
              <a:gd name="connsiteY2203" fmla="*/ 350730 h 992562"/>
              <a:gd name="connsiteX2204" fmla="*/ 478623 w 1008862"/>
              <a:gd name="connsiteY2204" fmla="*/ 350730 h 992562"/>
              <a:gd name="connsiteX2205" fmla="*/ 481503 w 1008862"/>
              <a:gd name="connsiteY2205" fmla="*/ 352170 h 992562"/>
              <a:gd name="connsiteX2206" fmla="*/ 481503 w 1008862"/>
              <a:gd name="connsiteY2206" fmla="*/ 352170 h 992562"/>
              <a:gd name="connsiteX2207" fmla="*/ 481343 w 1008862"/>
              <a:gd name="connsiteY2207" fmla="*/ 352330 h 992562"/>
              <a:gd name="connsiteX2208" fmla="*/ 480063 w 1008862"/>
              <a:gd name="connsiteY2208" fmla="*/ 353450 h 992562"/>
              <a:gd name="connsiteX2209" fmla="*/ 488863 w 1008862"/>
              <a:gd name="connsiteY2209" fmla="*/ 366730 h 992562"/>
              <a:gd name="connsiteX2210" fmla="*/ 484703 w 1008862"/>
              <a:gd name="connsiteY2210" fmla="*/ 364970 h 992562"/>
              <a:gd name="connsiteX2211" fmla="*/ 478143 w 1008862"/>
              <a:gd name="connsiteY2211" fmla="*/ 366730 h 992562"/>
              <a:gd name="connsiteX2212" fmla="*/ 477503 w 1008862"/>
              <a:gd name="connsiteY2212" fmla="*/ 367210 h 992562"/>
              <a:gd name="connsiteX2213" fmla="*/ 480063 w 1008862"/>
              <a:gd name="connsiteY2213" fmla="*/ 372490 h 992562"/>
              <a:gd name="connsiteX2214" fmla="*/ 484703 w 1008862"/>
              <a:gd name="connsiteY2214" fmla="*/ 372490 h 992562"/>
              <a:gd name="connsiteX2215" fmla="*/ 489343 w 1008862"/>
              <a:gd name="connsiteY2215" fmla="*/ 370890 h 992562"/>
              <a:gd name="connsiteX2216" fmla="*/ 488863 w 1008862"/>
              <a:gd name="connsiteY2216" fmla="*/ 366730 h 992562"/>
              <a:gd name="connsiteX2217" fmla="*/ 481983 w 1008862"/>
              <a:gd name="connsiteY2217" fmla="*/ 368490 h 992562"/>
              <a:gd name="connsiteX2218" fmla="*/ 481663 w 1008862"/>
              <a:gd name="connsiteY2218" fmla="*/ 368490 h 992562"/>
              <a:gd name="connsiteX2219" fmla="*/ 481983 w 1008862"/>
              <a:gd name="connsiteY2219" fmla="*/ 368490 h 992562"/>
              <a:gd name="connsiteX2220" fmla="*/ 482143 w 1008862"/>
              <a:gd name="connsiteY2220" fmla="*/ 367850 h 992562"/>
              <a:gd name="connsiteX2221" fmla="*/ 483743 w 1008862"/>
              <a:gd name="connsiteY2221" fmla="*/ 368170 h 992562"/>
              <a:gd name="connsiteX2222" fmla="*/ 484703 w 1008862"/>
              <a:gd name="connsiteY2222" fmla="*/ 368490 h 992562"/>
              <a:gd name="connsiteX2223" fmla="*/ 481983 w 1008862"/>
              <a:gd name="connsiteY2223" fmla="*/ 368490 h 992562"/>
              <a:gd name="connsiteX2224" fmla="*/ 514943 w 1008862"/>
              <a:gd name="connsiteY2224" fmla="*/ 357770 h 992562"/>
              <a:gd name="connsiteX2225" fmla="*/ 504703 w 1008862"/>
              <a:gd name="connsiteY2225" fmla="*/ 357610 h 992562"/>
              <a:gd name="connsiteX2226" fmla="*/ 503583 w 1008862"/>
              <a:gd name="connsiteY2226" fmla="*/ 359690 h 992562"/>
              <a:gd name="connsiteX2227" fmla="*/ 502943 w 1008862"/>
              <a:gd name="connsiteY2227" fmla="*/ 360970 h 992562"/>
              <a:gd name="connsiteX2228" fmla="*/ 505183 w 1008862"/>
              <a:gd name="connsiteY2228" fmla="*/ 365770 h 992562"/>
              <a:gd name="connsiteX2229" fmla="*/ 514463 w 1008862"/>
              <a:gd name="connsiteY2229" fmla="*/ 365130 h 992562"/>
              <a:gd name="connsiteX2230" fmla="*/ 514943 w 1008862"/>
              <a:gd name="connsiteY2230" fmla="*/ 357770 h 992562"/>
              <a:gd name="connsiteX2231" fmla="*/ 509023 w 1008862"/>
              <a:gd name="connsiteY2231" fmla="*/ 362090 h 992562"/>
              <a:gd name="connsiteX2232" fmla="*/ 507583 w 1008862"/>
              <a:gd name="connsiteY2232" fmla="*/ 361930 h 992562"/>
              <a:gd name="connsiteX2233" fmla="*/ 507423 w 1008862"/>
              <a:gd name="connsiteY2233" fmla="*/ 361610 h 992562"/>
              <a:gd name="connsiteX2234" fmla="*/ 507743 w 1008862"/>
              <a:gd name="connsiteY2234" fmla="*/ 360970 h 992562"/>
              <a:gd name="connsiteX2235" fmla="*/ 507903 w 1008862"/>
              <a:gd name="connsiteY2235" fmla="*/ 360490 h 992562"/>
              <a:gd name="connsiteX2236" fmla="*/ 509983 w 1008862"/>
              <a:gd name="connsiteY2236" fmla="*/ 360490 h 992562"/>
              <a:gd name="connsiteX2237" fmla="*/ 512543 w 1008862"/>
              <a:gd name="connsiteY2237" fmla="*/ 360970 h 992562"/>
              <a:gd name="connsiteX2238" fmla="*/ 513183 w 1008862"/>
              <a:gd name="connsiteY2238" fmla="*/ 361290 h 992562"/>
              <a:gd name="connsiteX2239" fmla="*/ 509023 w 1008862"/>
              <a:gd name="connsiteY2239" fmla="*/ 362090 h 992562"/>
              <a:gd name="connsiteX2240" fmla="*/ 537663 w 1008862"/>
              <a:gd name="connsiteY2240" fmla="*/ 348330 h 992562"/>
              <a:gd name="connsiteX2241" fmla="*/ 525823 w 1008862"/>
              <a:gd name="connsiteY2241" fmla="*/ 346410 h 992562"/>
              <a:gd name="connsiteX2242" fmla="*/ 524223 w 1008862"/>
              <a:gd name="connsiteY2242" fmla="*/ 346570 h 992562"/>
              <a:gd name="connsiteX2243" fmla="*/ 520863 w 1008862"/>
              <a:gd name="connsiteY2243" fmla="*/ 349290 h 992562"/>
              <a:gd name="connsiteX2244" fmla="*/ 531103 w 1008862"/>
              <a:gd name="connsiteY2244" fmla="*/ 354730 h 992562"/>
              <a:gd name="connsiteX2245" fmla="*/ 537663 w 1008862"/>
              <a:gd name="connsiteY2245" fmla="*/ 348330 h 992562"/>
              <a:gd name="connsiteX2246" fmla="*/ 530783 w 1008862"/>
              <a:gd name="connsiteY2246" fmla="*/ 350730 h 992562"/>
              <a:gd name="connsiteX2247" fmla="*/ 527423 w 1008862"/>
              <a:gd name="connsiteY2247" fmla="*/ 350410 h 992562"/>
              <a:gd name="connsiteX2248" fmla="*/ 525983 w 1008862"/>
              <a:gd name="connsiteY2248" fmla="*/ 349930 h 992562"/>
              <a:gd name="connsiteX2249" fmla="*/ 526463 w 1008862"/>
              <a:gd name="connsiteY2249" fmla="*/ 349770 h 992562"/>
              <a:gd name="connsiteX2250" fmla="*/ 528383 w 1008862"/>
              <a:gd name="connsiteY2250" fmla="*/ 348970 h 992562"/>
              <a:gd name="connsiteX2251" fmla="*/ 528863 w 1008862"/>
              <a:gd name="connsiteY2251" fmla="*/ 348650 h 992562"/>
              <a:gd name="connsiteX2252" fmla="*/ 532863 w 1008862"/>
              <a:gd name="connsiteY2252" fmla="*/ 349130 h 992562"/>
              <a:gd name="connsiteX2253" fmla="*/ 533983 w 1008862"/>
              <a:gd name="connsiteY2253" fmla="*/ 349770 h 992562"/>
              <a:gd name="connsiteX2254" fmla="*/ 533983 w 1008862"/>
              <a:gd name="connsiteY2254" fmla="*/ 349770 h 992562"/>
              <a:gd name="connsiteX2255" fmla="*/ 533663 w 1008862"/>
              <a:gd name="connsiteY2255" fmla="*/ 349930 h 992562"/>
              <a:gd name="connsiteX2256" fmla="*/ 530783 w 1008862"/>
              <a:gd name="connsiteY2256" fmla="*/ 350730 h 992562"/>
              <a:gd name="connsiteX2257" fmla="*/ 559583 w 1008862"/>
              <a:gd name="connsiteY2257" fmla="*/ 366090 h 992562"/>
              <a:gd name="connsiteX2258" fmla="*/ 550783 w 1008862"/>
              <a:gd name="connsiteY2258" fmla="*/ 366570 h 992562"/>
              <a:gd name="connsiteX2259" fmla="*/ 547423 w 1008862"/>
              <a:gd name="connsiteY2259" fmla="*/ 362730 h 992562"/>
              <a:gd name="connsiteX2260" fmla="*/ 551263 w 1008862"/>
              <a:gd name="connsiteY2260" fmla="*/ 359690 h 992562"/>
              <a:gd name="connsiteX2261" fmla="*/ 551743 w 1008862"/>
              <a:gd name="connsiteY2261" fmla="*/ 359850 h 992562"/>
              <a:gd name="connsiteX2262" fmla="*/ 559583 w 1008862"/>
              <a:gd name="connsiteY2262" fmla="*/ 359530 h 992562"/>
              <a:gd name="connsiteX2263" fmla="*/ 559583 w 1008862"/>
              <a:gd name="connsiteY2263" fmla="*/ 366090 h 992562"/>
              <a:gd name="connsiteX2264" fmla="*/ 538943 w 1008862"/>
              <a:gd name="connsiteY2264" fmla="*/ 370410 h 992562"/>
              <a:gd name="connsiteX2265" fmla="*/ 527743 w 1008862"/>
              <a:gd name="connsiteY2265" fmla="*/ 372330 h 992562"/>
              <a:gd name="connsiteX2266" fmla="*/ 527423 w 1008862"/>
              <a:gd name="connsiteY2266" fmla="*/ 373290 h 992562"/>
              <a:gd name="connsiteX2267" fmla="*/ 527423 w 1008862"/>
              <a:gd name="connsiteY2267" fmla="*/ 376490 h 992562"/>
              <a:gd name="connsiteX2268" fmla="*/ 532223 w 1008862"/>
              <a:gd name="connsiteY2268" fmla="*/ 378410 h 992562"/>
              <a:gd name="connsiteX2269" fmla="*/ 540383 w 1008862"/>
              <a:gd name="connsiteY2269" fmla="*/ 377130 h 992562"/>
              <a:gd name="connsiteX2270" fmla="*/ 538943 w 1008862"/>
              <a:gd name="connsiteY2270" fmla="*/ 370410 h 992562"/>
              <a:gd name="connsiteX2271" fmla="*/ 533663 w 1008862"/>
              <a:gd name="connsiteY2271" fmla="*/ 374250 h 992562"/>
              <a:gd name="connsiteX2272" fmla="*/ 532223 w 1008862"/>
              <a:gd name="connsiteY2272" fmla="*/ 374250 h 992562"/>
              <a:gd name="connsiteX2273" fmla="*/ 531103 w 1008862"/>
              <a:gd name="connsiteY2273" fmla="*/ 373930 h 992562"/>
              <a:gd name="connsiteX2274" fmla="*/ 530783 w 1008862"/>
              <a:gd name="connsiteY2274" fmla="*/ 373770 h 992562"/>
              <a:gd name="connsiteX2275" fmla="*/ 530783 w 1008862"/>
              <a:gd name="connsiteY2275" fmla="*/ 373610 h 992562"/>
              <a:gd name="connsiteX2276" fmla="*/ 530783 w 1008862"/>
              <a:gd name="connsiteY2276" fmla="*/ 373450 h 992562"/>
              <a:gd name="connsiteX2277" fmla="*/ 534463 w 1008862"/>
              <a:gd name="connsiteY2277" fmla="*/ 373130 h 992562"/>
              <a:gd name="connsiteX2278" fmla="*/ 537663 w 1008862"/>
              <a:gd name="connsiteY2278" fmla="*/ 373610 h 992562"/>
              <a:gd name="connsiteX2279" fmla="*/ 537823 w 1008862"/>
              <a:gd name="connsiteY2279" fmla="*/ 373770 h 992562"/>
              <a:gd name="connsiteX2280" fmla="*/ 533663 w 1008862"/>
              <a:gd name="connsiteY2280" fmla="*/ 374250 h 992562"/>
              <a:gd name="connsiteX2281" fmla="*/ 514463 w 1008862"/>
              <a:gd name="connsiteY2281" fmla="*/ 376650 h 992562"/>
              <a:gd name="connsiteX2282" fmla="*/ 511743 w 1008862"/>
              <a:gd name="connsiteY2282" fmla="*/ 379370 h 992562"/>
              <a:gd name="connsiteX2283" fmla="*/ 508543 w 1008862"/>
              <a:gd name="connsiteY2283" fmla="*/ 379690 h 992562"/>
              <a:gd name="connsiteX2284" fmla="*/ 507263 w 1008862"/>
              <a:gd name="connsiteY2284" fmla="*/ 376810 h 992562"/>
              <a:gd name="connsiteX2285" fmla="*/ 507263 w 1008862"/>
              <a:gd name="connsiteY2285" fmla="*/ 376650 h 992562"/>
              <a:gd name="connsiteX2286" fmla="*/ 508223 w 1008862"/>
              <a:gd name="connsiteY2286" fmla="*/ 375850 h 992562"/>
              <a:gd name="connsiteX2287" fmla="*/ 509663 w 1008862"/>
              <a:gd name="connsiteY2287" fmla="*/ 374890 h 992562"/>
              <a:gd name="connsiteX2288" fmla="*/ 511103 w 1008862"/>
              <a:gd name="connsiteY2288" fmla="*/ 374570 h 992562"/>
              <a:gd name="connsiteX2289" fmla="*/ 511903 w 1008862"/>
              <a:gd name="connsiteY2289" fmla="*/ 374410 h 992562"/>
              <a:gd name="connsiteX2290" fmla="*/ 512063 w 1008862"/>
              <a:gd name="connsiteY2290" fmla="*/ 374410 h 992562"/>
              <a:gd name="connsiteX2291" fmla="*/ 513983 w 1008862"/>
              <a:gd name="connsiteY2291" fmla="*/ 374890 h 992562"/>
              <a:gd name="connsiteX2292" fmla="*/ 514463 w 1008862"/>
              <a:gd name="connsiteY2292" fmla="*/ 376650 h 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Lst>
            <a:rect l="l" t="t" r="r" b="b"/>
            <a:pathLst>
              <a:path w="1008862" h="992562">
                <a:moveTo>
                  <a:pt x="1008063" y="242570"/>
                </a:moveTo>
                <a:cubicBezTo>
                  <a:pt x="1007903" y="241290"/>
                  <a:pt x="1007103" y="240170"/>
                  <a:pt x="1005823" y="240010"/>
                </a:cubicBezTo>
                <a:cubicBezTo>
                  <a:pt x="1004703" y="239370"/>
                  <a:pt x="1003103" y="239530"/>
                  <a:pt x="1002143" y="240330"/>
                </a:cubicBezTo>
                <a:cubicBezTo>
                  <a:pt x="998943" y="240810"/>
                  <a:pt x="995743" y="241130"/>
                  <a:pt x="992383" y="241450"/>
                </a:cubicBezTo>
                <a:cubicBezTo>
                  <a:pt x="991903" y="241450"/>
                  <a:pt x="991263" y="241610"/>
                  <a:pt x="990783" y="241610"/>
                </a:cubicBezTo>
                <a:cubicBezTo>
                  <a:pt x="985823" y="241130"/>
                  <a:pt x="980863" y="240810"/>
                  <a:pt x="975743" y="240810"/>
                </a:cubicBezTo>
                <a:cubicBezTo>
                  <a:pt x="968703" y="240970"/>
                  <a:pt x="960063" y="242090"/>
                  <a:pt x="953343" y="240330"/>
                </a:cubicBezTo>
                <a:cubicBezTo>
                  <a:pt x="945983" y="238410"/>
                  <a:pt x="938463" y="236970"/>
                  <a:pt x="930943" y="235530"/>
                </a:cubicBezTo>
                <a:cubicBezTo>
                  <a:pt x="922303" y="233770"/>
                  <a:pt x="913823" y="231530"/>
                  <a:pt x="905023" y="230410"/>
                </a:cubicBezTo>
                <a:cubicBezTo>
                  <a:pt x="888383" y="228330"/>
                  <a:pt x="871743" y="227050"/>
                  <a:pt x="855103" y="224970"/>
                </a:cubicBezTo>
                <a:cubicBezTo>
                  <a:pt x="846623" y="223850"/>
                  <a:pt x="836703" y="223210"/>
                  <a:pt x="828543" y="226250"/>
                </a:cubicBezTo>
                <a:cubicBezTo>
                  <a:pt x="828543" y="225450"/>
                  <a:pt x="828703" y="224490"/>
                  <a:pt x="828703" y="223690"/>
                </a:cubicBezTo>
                <a:cubicBezTo>
                  <a:pt x="830303" y="202570"/>
                  <a:pt x="822623" y="182570"/>
                  <a:pt x="820863" y="161770"/>
                </a:cubicBezTo>
                <a:cubicBezTo>
                  <a:pt x="819903" y="151050"/>
                  <a:pt x="819583" y="140490"/>
                  <a:pt x="818623" y="129770"/>
                </a:cubicBezTo>
                <a:cubicBezTo>
                  <a:pt x="818143" y="124490"/>
                  <a:pt x="817663" y="119210"/>
                  <a:pt x="816863" y="113930"/>
                </a:cubicBezTo>
                <a:cubicBezTo>
                  <a:pt x="816543" y="111370"/>
                  <a:pt x="816063" y="108490"/>
                  <a:pt x="815263" y="105930"/>
                </a:cubicBezTo>
                <a:cubicBezTo>
                  <a:pt x="815263" y="104170"/>
                  <a:pt x="814463" y="102890"/>
                  <a:pt x="813183" y="102090"/>
                </a:cubicBezTo>
                <a:cubicBezTo>
                  <a:pt x="812223" y="102250"/>
                  <a:pt x="811263" y="102250"/>
                  <a:pt x="810303" y="102250"/>
                </a:cubicBezTo>
                <a:cubicBezTo>
                  <a:pt x="809663" y="102410"/>
                  <a:pt x="809183" y="102570"/>
                  <a:pt x="808543" y="102730"/>
                </a:cubicBezTo>
                <a:cubicBezTo>
                  <a:pt x="808543" y="102730"/>
                  <a:pt x="808543" y="102730"/>
                  <a:pt x="808543" y="102730"/>
                </a:cubicBezTo>
                <a:cubicBezTo>
                  <a:pt x="806463" y="104970"/>
                  <a:pt x="801823" y="105290"/>
                  <a:pt x="797823" y="105610"/>
                </a:cubicBezTo>
                <a:cubicBezTo>
                  <a:pt x="795263" y="106250"/>
                  <a:pt x="792703" y="106730"/>
                  <a:pt x="790143" y="106890"/>
                </a:cubicBezTo>
                <a:cubicBezTo>
                  <a:pt x="783903" y="108490"/>
                  <a:pt x="778143" y="110890"/>
                  <a:pt x="771903" y="112810"/>
                </a:cubicBezTo>
                <a:cubicBezTo>
                  <a:pt x="756703" y="117450"/>
                  <a:pt x="741983" y="121610"/>
                  <a:pt x="727903" y="129290"/>
                </a:cubicBezTo>
                <a:cubicBezTo>
                  <a:pt x="721823" y="132650"/>
                  <a:pt x="715263" y="134730"/>
                  <a:pt x="709183" y="138090"/>
                </a:cubicBezTo>
                <a:cubicBezTo>
                  <a:pt x="702143" y="141930"/>
                  <a:pt x="695263" y="146570"/>
                  <a:pt x="688543" y="150890"/>
                </a:cubicBezTo>
                <a:cubicBezTo>
                  <a:pt x="678943" y="156970"/>
                  <a:pt x="669663" y="163850"/>
                  <a:pt x="660063" y="169930"/>
                </a:cubicBezTo>
                <a:cubicBezTo>
                  <a:pt x="657023" y="165130"/>
                  <a:pt x="651423" y="161130"/>
                  <a:pt x="647423" y="157770"/>
                </a:cubicBezTo>
                <a:cubicBezTo>
                  <a:pt x="641343" y="152650"/>
                  <a:pt x="633983" y="149290"/>
                  <a:pt x="628223" y="143690"/>
                </a:cubicBezTo>
                <a:cubicBezTo>
                  <a:pt x="621823" y="137610"/>
                  <a:pt x="617823" y="142090"/>
                  <a:pt x="611263" y="144330"/>
                </a:cubicBezTo>
                <a:cubicBezTo>
                  <a:pt x="607423" y="145610"/>
                  <a:pt x="603263" y="148330"/>
                  <a:pt x="599423" y="150090"/>
                </a:cubicBezTo>
                <a:cubicBezTo>
                  <a:pt x="596383" y="151370"/>
                  <a:pt x="593183" y="152490"/>
                  <a:pt x="589823" y="153450"/>
                </a:cubicBezTo>
                <a:cubicBezTo>
                  <a:pt x="586143" y="143850"/>
                  <a:pt x="581183" y="134570"/>
                  <a:pt x="576703" y="125450"/>
                </a:cubicBezTo>
                <a:cubicBezTo>
                  <a:pt x="572703" y="117290"/>
                  <a:pt x="568063" y="109450"/>
                  <a:pt x="562943" y="101930"/>
                </a:cubicBezTo>
                <a:cubicBezTo>
                  <a:pt x="557343" y="93770"/>
                  <a:pt x="552703" y="85290"/>
                  <a:pt x="546783" y="77290"/>
                </a:cubicBezTo>
                <a:cubicBezTo>
                  <a:pt x="535583" y="62730"/>
                  <a:pt x="521663" y="50890"/>
                  <a:pt x="507103" y="39850"/>
                </a:cubicBezTo>
                <a:cubicBezTo>
                  <a:pt x="493343" y="29290"/>
                  <a:pt x="479103" y="19050"/>
                  <a:pt x="464223" y="10090"/>
                </a:cubicBezTo>
                <a:cubicBezTo>
                  <a:pt x="459583" y="7370"/>
                  <a:pt x="454943" y="-310"/>
                  <a:pt x="449183" y="10"/>
                </a:cubicBezTo>
                <a:cubicBezTo>
                  <a:pt x="443583" y="330"/>
                  <a:pt x="438783" y="10570"/>
                  <a:pt x="436703" y="14890"/>
                </a:cubicBezTo>
                <a:cubicBezTo>
                  <a:pt x="433823" y="20970"/>
                  <a:pt x="426623" y="26730"/>
                  <a:pt x="421823" y="31370"/>
                </a:cubicBezTo>
                <a:cubicBezTo>
                  <a:pt x="415743" y="37290"/>
                  <a:pt x="408543" y="42410"/>
                  <a:pt x="402303" y="48170"/>
                </a:cubicBezTo>
                <a:cubicBezTo>
                  <a:pt x="389823" y="59530"/>
                  <a:pt x="378303" y="72170"/>
                  <a:pt x="368063" y="85610"/>
                </a:cubicBezTo>
                <a:cubicBezTo>
                  <a:pt x="353183" y="105130"/>
                  <a:pt x="341983" y="126730"/>
                  <a:pt x="332063" y="149130"/>
                </a:cubicBezTo>
                <a:cubicBezTo>
                  <a:pt x="326943" y="160970"/>
                  <a:pt x="322623" y="172970"/>
                  <a:pt x="319103" y="185290"/>
                </a:cubicBezTo>
                <a:cubicBezTo>
                  <a:pt x="317503" y="191050"/>
                  <a:pt x="317183" y="197130"/>
                  <a:pt x="317023" y="203050"/>
                </a:cubicBezTo>
                <a:cubicBezTo>
                  <a:pt x="317023" y="204810"/>
                  <a:pt x="317343" y="206890"/>
                  <a:pt x="317663" y="209130"/>
                </a:cubicBezTo>
                <a:cubicBezTo>
                  <a:pt x="317183" y="208490"/>
                  <a:pt x="316863" y="208010"/>
                  <a:pt x="316383" y="207370"/>
                </a:cubicBezTo>
                <a:cubicBezTo>
                  <a:pt x="315903" y="206730"/>
                  <a:pt x="315423" y="206090"/>
                  <a:pt x="314943" y="205450"/>
                </a:cubicBezTo>
                <a:cubicBezTo>
                  <a:pt x="312863" y="200330"/>
                  <a:pt x="310303" y="195210"/>
                  <a:pt x="308063" y="190090"/>
                </a:cubicBezTo>
                <a:cubicBezTo>
                  <a:pt x="304543" y="181930"/>
                  <a:pt x="300863" y="173930"/>
                  <a:pt x="296223" y="166570"/>
                </a:cubicBezTo>
                <a:cubicBezTo>
                  <a:pt x="291103" y="158410"/>
                  <a:pt x="286463" y="150090"/>
                  <a:pt x="283423" y="140970"/>
                </a:cubicBezTo>
                <a:cubicBezTo>
                  <a:pt x="280703" y="132970"/>
                  <a:pt x="278143" y="125450"/>
                  <a:pt x="273183" y="118410"/>
                </a:cubicBezTo>
                <a:cubicBezTo>
                  <a:pt x="264383" y="105930"/>
                  <a:pt x="250783" y="97610"/>
                  <a:pt x="237023" y="91690"/>
                </a:cubicBezTo>
                <a:cubicBezTo>
                  <a:pt x="233983" y="90410"/>
                  <a:pt x="218783" y="86250"/>
                  <a:pt x="211103" y="87850"/>
                </a:cubicBezTo>
                <a:cubicBezTo>
                  <a:pt x="210623" y="87530"/>
                  <a:pt x="209823" y="87370"/>
                  <a:pt x="209343" y="87850"/>
                </a:cubicBezTo>
                <a:cubicBezTo>
                  <a:pt x="208543" y="88330"/>
                  <a:pt x="207903" y="88970"/>
                  <a:pt x="207583" y="89770"/>
                </a:cubicBezTo>
                <a:cubicBezTo>
                  <a:pt x="207583" y="89770"/>
                  <a:pt x="207583" y="89770"/>
                  <a:pt x="207583" y="89770"/>
                </a:cubicBezTo>
                <a:cubicBezTo>
                  <a:pt x="206783" y="89930"/>
                  <a:pt x="206143" y="90570"/>
                  <a:pt x="206143" y="91370"/>
                </a:cubicBezTo>
                <a:cubicBezTo>
                  <a:pt x="204383" y="103530"/>
                  <a:pt x="205503" y="116010"/>
                  <a:pt x="205983" y="128170"/>
                </a:cubicBezTo>
                <a:cubicBezTo>
                  <a:pt x="206623" y="141290"/>
                  <a:pt x="205983" y="154250"/>
                  <a:pt x="206303" y="167370"/>
                </a:cubicBezTo>
                <a:cubicBezTo>
                  <a:pt x="206303" y="170570"/>
                  <a:pt x="206463" y="173930"/>
                  <a:pt x="206623" y="177130"/>
                </a:cubicBezTo>
                <a:cubicBezTo>
                  <a:pt x="203263" y="175050"/>
                  <a:pt x="199103" y="173610"/>
                  <a:pt x="195903" y="172010"/>
                </a:cubicBezTo>
                <a:cubicBezTo>
                  <a:pt x="187423" y="167530"/>
                  <a:pt x="177183" y="163690"/>
                  <a:pt x="167903" y="162410"/>
                </a:cubicBezTo>
                <a:cubicBezTo>
                  <a:pt x="163423" y="161770"/>
                  <a:pt x="158943" y="162410"/>
                  <a:pt x="154463" y="161610"/>
                </a:cubicBezTo>
                <a:cubicBezTo>
                  <a:pt x="150143" y="160810"/>
                  <a:pt x="145983" y="159690"/>
                  <a:pt x="141663" y="159210"/>
                </a:cubicBezTo>
                <a:cubicBezTo>
                  <a:pt x="132223" y="158090"/>
                  <a:pt x="122943" y="159050"/>
                  <a:pt x="113663" y="156650"/>
                </a:cubicBezTo>
                <a:cubicBezTo>
                  <a:pt x="103743" y="154250"/>
                  <a:pt x="93023" y="153930"/>
                  <a:pt x="82943" y="152810"/>
                </a:cubicBezTo>
                <a:cubicBezTo>
                  <a:pt x="77983" y="152330"/>
                  <a:pt x="73023" y="151850"/>
                  <a:pt x="68063" y="152010"/>
                </a:cubicBezTo>
                <a:cubicBezTo>
                  <a:pt x="61983" y="152330"/>
                  <a:pt x="56063" y="153450"/>
                  <a:pt x="49823" y="153290"/>
                </a:cubicBezTo>
                <a:cubicBezTo>
                  <a:pt x="40063" y="153130"/>
                  <a:pt x="30303" y="152490"/>
                  <a:pt x="20543" y="153130"/>
                </a:cubicBezTo>
                <a:cubicBezTo>
                  <a:pt x="18943" y="153450"/>
                  <a:pt x="17343" y="153770"/>
                  <a:pt x="15743" y="154090"/>
                </a:cubicBezTo>
                <a:cubicBezTo>
                  <a:pt x="10783" y="155210"/>
                  <a:pt x="5823" y="156490"/>
                  <a:pt x="863" y="157610"/>
                </a:cubicBezTo>
                <a:cubicBezTo>
                  <a:pt x="383" y="158410"/>
                  <a:pt x="63" y="159210"/>
                  <a:pt x="63" y="160170"/>
                </a:cubicBezTo>
                <a:cubicBezTo>
                  <a:pt x="-97" y="161130"/>
                  <a:pt x="63" y="161770"/>
                  <a:pt x="383" y="162410"/>
                </a:cubicBezTo>
                <a:cubicBezTo>
                  <a:pt x="223" y="162890"/>
                  <a:pt x="223" y="163370"/>
                  <a:pt x="223" y="164010"/>
                </a:cubicBezTo>
                <a:cubicBezTo>
                  <a:pt x="-97" y="169450"/>
                  <a:pt x="223" y="174730"/>
                  <a:pt x="1183" y="180010"/>
                </a:cubicBezTo>
                <a:cubicBezTo>
                  <a:pt x="2943" y="190090"/>
                  <a:pt x="4863" y="200490"/>
                  <a:pt x="7423" y="210570"/>
                </a:cubicBezTo>
                <a:cubicBezTo>
                  <a:pt x="9663" y="219690"/>
                  <a:pt x="13023" y="228970"/>
                  <a:pt x="17663" y="237130"/>
                </a:cubicBezTo>
                <a:cubicBezTo>
                  <a:pt x="17983" y="237610"/>
                  <a:pt x="18143" y="238090"/>
                  <a:pt x="18463" y="238570"/>
                </a:cubicBezTo>
                <a:cubicBezTo>
                  <a:pt x="21823" y="248330"/>
                  <a:pt x="25343" y="258250"/>
                  <a:pt x="29503" y="267690"/>
                </a:cubicBezTo>
                <a:cubicBezTo>
                  <a:pt x="31903" y="273130"/>
                  <a:pt x="34783" y="278410"/>
                  <a:pt x="37503" y="283690"/>
                </a:cubicBezTo>
                <a:cubicBezTo>
                  <a:pt x="40223" y="288810"/>
                  <a:pt x="41823" y="294410"/>
                  <a:pt x="44703" y="299530"/>
                </a:cubicBezTo>
                <a:cubicBezTo>
                  <a:pt x="47263" y="304330"/>
                  <a:pt x="50783" y="308490"/>
                  <a:pt x="53503" y="313290"/>
                </a:cubicBezTo>
                <a:cubicBezTo>
                  <a:pt x="56703" y="318890"/>
                  <a:pt x="59423" y="324650"/>
                  <a:pt x="62463" y="330250"/>
                </a:cubicBezTo>
                <a:cubicBezTo>
                  <a:pt x="62463" y="330410"/>
                  <a:pt x="62623" y="330410"/>
                  <a:pt x="62623" y="330410"/>
                </a:cubicBezTo>
                <a:cubicBezTo>
                  <a:pt x="67903" y="344010"/>
                  <a:pt x="74143" y="358090"/>
                  <a:pt x="85183" y="367530"/>
                </a:cubicBezTo>
                <a:cubicBezTo>
                  <a:pt x="90623" y="374730"/>
                  <a:pt x="96543" y="381770"/>
                  <a:pt x="102303" y="388490"/>
                </a:cubicBezTo>
                <a:cubicBezTo>
                  <a:pt x="106303" y="393290"/>
                  <a:pt x="110463" y="398410"/>
                  <a:pt x="114943" y="403050"/>
                </a:cubicBezTo>
                <a:cubicBezTo>
                  <a:pt x="108543" y="401290"/>
                  <a:pt x="102143" y="400170"/>
                  <a:pt x="95423" y="400170"/>
                </a:cubicBezTo>
                <a:cubicBezTo>
                  <a:pt x="89023" y="400170"/>
                  <a:pt x="82143" y="399690"/>
                  <a:pt x="75903" y="400970"/>
                </a:cubicBezTo>
                <a:cubicBezTo>
                  <a:pt x="73023" y="401610"/>
                  <a:pt x="70143" y="402570"/>
                  <a:pt x="67263" y="403370"/>
                </a:cubicBezTo>
                <a:cubicBezTo>
                  <a:pt x="63583" y="404330"/>
                  <a:pt x="59903" y="404330"/>
                  <a:pt x="56223" y="405130"/>
                </a:cubicBezTo>
                <a:cubicBezTo>
                  <a:pt x="49823" y="406410"/>
                  <a:pt x="44703" y="410890"/>
                  <a:pt x="39583" y="414410"/>
                </a:cubicBezTo>
                <a:cubicBezTo>
                  <a:pt x="37183" y="416010"/>
                  <a:pt x="35263" y="418090"/>
                  <a:pt x="32703" y="419530"/>
                </a:cubicBezTo>
                <a:cubicBezTo>
                  <a:pt x="30463" y="420810"/>
                  <a:pt x="27903" y="422090"/>
                  <a:pt x="26463" y="424330"/>
                </a:cubicBezTo>
                <a:cubicBezTo>
                  <a:pt x="25183" y="426570"/>
                  <a:pt x="21983" y="428170"/>
                  <a:pt x="21183" y="430570"/>
                </a:cubicBezTo>
                <a:cubicBezTo>
                  <a:pt x="20863" y="431050"/>
                  <a:pt x="20703" y="431530"/>
                  <a:pt x="20543" y="431850"/>
                </a:cubicBezTo>
                <a:cubicBezTo>
                  <a:pt x="19743" y="433290"/>
                  <a:pt x="19103" y="436170"/>
                  <a:pt x="20863" y="437450"/>
                </a:cubicBezTo>
                <a:cubicBezTo>
                  <a:pt x="21983" y="438410"/>
                  <a:pt x="23423" y="438890"/>
                  <a:pt x="24543" y="439690"/>
                </a:cubicBezTo>
                <a:cubicBezTo>
                  <a:pt x="25823" y="440650"/>
                  <a:pt x="27103" y="441930"/>
                  <a:pt x="28383" y="443050"/>
                </a:cubicBezTo>
                <a:cubicBezTo>
                  <a:pt x="28703" y="443370"/>
                  <a:pt x="29183" y="443530"/>
                  <a:pt x="29663" y="443850"/>
                </a:cubicBezTo>
                <a:cubicBezTo>
                  <a:pt x="32543" y="446570"/>
                  <a:pt x="35583" y="448970"/>
                  <a:pt x="38143" y="451850"/>
                </a:cubicBezTo>
                <a:cubicBezTo>
                  <a:pt x="40863" y="455050"/>
                  <a:pt x="43583" y="458250"/>
                  <a:pt x="46303" y="461450"/>
                </a:cubicBezTo>
                <a:cubicBezTo>
                  <a:pt x="49663" y="465290"/>
                  <a:pt x="51743" y="469770"/>
                  <a:pt x="54463" y="474090"/>
                </a:cubicBezTo>
                <a:cubicBezTo>
                  <a:pt x="59103" y="481770"/>
                  <a:pt x="64863" y="488490"/>
                  <a:pt x="69343" y="496330"/>
                </a:cubicBezTo>
                <a:cubicBezTo>
                  <a:pt x="73983" y="504330"/>
                  <a:pt x="78623" y="512170"/>
                  <a:pt x="82623" y="520490"/>
                </a:cubicBezTo>
                <a:cubicBezTo>
                  <a:pt x="86303" y="528490"/>
                  <a:pt x="89983" y="535850"/>
                  <a:pt x="94783" y="543370"/>
                </a:cubicBezTo>
                <a:cubicBezTo>
                  <a:pt x="104223" y="558090"/>
                  <a:pt x="111583" y="573930"/>
                  <a:pt x="122463" y="587850"/>
                </a:cubicBezTo>
                <a:cubicBezTo>
                  <a:pt x="131903" y="600170"/>
                  <a:pt x="142303" y="610410"/>
                  <a:pt x="155423" y="618890"/>
                </a:cubicBezTo>
                <a:cubicBezTo>
                  <a:pt x="169663" y="628010"/>
                  <a:pt x="186623" y="633130"/>
                  <a:pt x="203103" y="636170"/>
                </a:cubicBezTo>
                <a:cubicBezTo>
                  <a:pt x="220863" y="639530"/>
                  <a:pt x="238623" y="639850"/>
                  <a:pt x="256543" y="640170"/>
                </a:cubicBezTo>
                <a:cubicBezTo>
                  <a:pt x="265183" y="640330"/>
                  <a:pt x="273983" y="639370"/>
                  <a:pt x="282623" y="638890"/>
                </a:cubicBezTo>
                <a:cubicBezTo>
                  <a:pt x="292223" y="638410"/>
                  <a:pt x="301183" y="636330"/>
                  <a:pt x="310623" y="634730"/>
                </a:cubicBezTo>
                <a:cubicBezTo>
                  <a:pt x="314623" y="634090"/>
                  <a:pt x="318943" y="633610"/>
                  <a:pt x="322623" y="631850"/>
                </a:cubicBezTo>
                <a:cubicBezTo>
                  <a:pt x="326303" y="630090"/>
                  <a:pt x="330463" y="628650"/>
                  <a:pt x="334463" y="628330"/>
                </a:cubicBezTo>
                <a:cubicBezTo>
                  <a:pt x="338143" y="628010"/>
                  <a:pt x="341183" y="626570"/>
                  <a:pt x="344703" y="625610"/>
                </a:cubicBezTo>
                <a:cubicBezTo>
                  <a:pt x="349183" y="624330"/>
                  <a:pt x="353823" y="624490"/>
                  <a:pt x="358303" y="623210"/>
                </a:cubicBezTo>
                <a:cubicBezTo>
                  <a:pt x="361823" y="622250"/>
                  <a:pt x="365183" y="620970"/>
                  <a:pt x="368863" y="620170"/>
                </a:cubicBezTo>
                <a:cubicBezTo>
                  <a:pt x="372383" y="619370"/>
                  <a:pt x="376383" y="618890"/>
                  <a:pt x="379423" y="616970"/>
                </a:cubicBezTo>
                <a:cubicBezTo>
                  <a:pt x="382783" y="614730"/>
                  <a:pt x="386943" y="613610"/>
                  <a:pt x="390623" y="612010"/>
                </a:cubicBezTo>
                <a:cubicBezTo>
                  <a:pt x="392543" y="611210"/>
                  <a:pt x="394463" y="610410"/>
                  <a:pt x="396223" y="609610"/>
                </a:cubicBezTo>
                <a:cubicBezTo>
                  <a:pt x="397983" y="608810"/>
                  <a:pt x="398783" y="607050"/>
                  <a:pt x="400863" y="606410"/>
                </a:cubicBezTo>
                <a:cubicBezTo>
                  <a:pt x="401823" y="606090"/>
                  <a:pt x="402463" y="605610"/>
                  <a:pt x="402783" y="604810"/>
                </a:cubicBezTo>
                <a:cubicBezTo>
                  <a:pt x="404223" y="604810"/>
                  <a:pt x="405823" y="604810"/>
                  <a:pt x="407263" y="604810"/>
                </a:cubicBezTo>
                <a:cubicBezTo>
                  <a:pt x="408063" y="604810"/>
                  <a:pt x="409023" y="604650"/>
                  <a:pt x="409823" y="604650"/>
                </a:cubicBezTo>
                <a:cubicBezTo>
                  <a:pt x="411263" y="608330"/>
                  <a:pt x="415103" y="611530"/>
                  <a:pt x="417343" y="614890"/>
                </a:cubicBezTo>
                <a:cubicBezTo>
                  <a:pt x="420223" y="619370"/>
                  <a:pt x="421183" y="622890"/>
                  <a:pt x="421343" y="628170"/>
                </a:cubicBezTo>
                <a:cubicBezTo>
                  <a:pt x="421503" y="632490"/>
                  <a:pt x="421983" y="636650"/>
                  <a:pt x="422623" y="640810"/>
                </a:cubicBezTo>
                <a:cubicBezTo>
                  <a:pt x="423903" y="648650"/>
                  <a:pt x="425343" y="656010"/>
                  <a:pt x="428383" y="663530"/>
                </a:cubicBezTo>
                <a:cubicBezTo>
                  <a:pt x="431423" y="671210"/>
                  <a:pt x="436063" y="678410"/>
                  <a:pt x="440063" y="685610"/>
                </a:cubicBezTo>
                <a:cubicBezTo>
                  <a:pt x="442143" y="689130"/>
                  <a:pt x="444063" y="692650"/>
                  <a:pt x="446143" y="696010"/>
                </a:cubicBezTo>
                <a:cubicBezTo>
                  <a:pt x="445023" y="701450"/>
                  <a:pt x="445343" y="707210"/>
                  <a:pt x="445343" y="712810"/>
                </a:cubicBezTo>
                <a:cubicBezTo>
                  <a:pt x="445343" y="720330"/>
                  <a:pt x="443903" y="727850"/>
                  <a:pt x="442943" y="735370"/>
                </a:cubicBezTo>
                <a:cubicBezTo>
                  <a:pt x="441183" y="748970"/>
                  <a:pt x="434143" y="798570"/>
                  <a:pt x="432383" y="812170"/>
                </a:cubicBezTo>
                <a:cubicBezTo>
                  <a:pt x="430463" y="826730"/>
                  <a:pt x="420063" y="950730"/>
                  <a:pt x="419263" y="965450"/>
                </a:cubicBezTo>
                <a:cubicBezTo>
                  <a:pt x="419263" y="965450"/>
                  <a:pt x="419263" y="965450"/>
                  <a:pt x="419263" y="965450"/>
                </a:cubicBezTo>
                <a:cubicBezTo>
                  <a:pt x="419263" y="969130"/>
                  <a:pt x="419263" y="972810"/>
                  <a:pt x="419743" y="976490"/>
                </a:cubicBezTo>
                <a:cubicBezTo>
                  <a:pt x="419423" y="980170"/>
                  <a:pt x="419583" y="984010"/>
                  <a:pt x="419743" y="987370"/>
                </a:cubicBezTo>
                <a:cubicBezTo>
                  <a:pt x="419903" y="989610"/>
                  <a:pt x="421663" y="990410"/>
                  <a:pt x="423423" y="990250"/>
                </a:cubicBezTo>
                <a:cubicBezTo>
                  <a:pt x="423583" y="990570"/>
                  <a:pt x="423743" y="990730"/>
                  <a:pt x="423903" y="991050"/>
                </a:cubicBezTo>
                <a:cubicBezTo>
                  <a:pt x="423903" y="990890"/>
                  <a:pt x="423903" y="990570"/>
                  <a:pt x="423903" y="990410"/>
                </a:cubicBezTo>
                <a:cubicBezTo>
                  <a:pt x="425183" y="990570"/>
                  <a:pt x="426623" y="989930"/>
                  <a:pt x="426943" y="988490"/>
                </a:cubicBezTo>
                <a:cubicBezTo>
                  <a:pt x="427103" y="988170"/>
                  <a:pt x="427263" y="987690"/>
                  <a:pt x="427423" y="987210"/>
                </a:cubicBezTo>
                <a:cubicBezTo>
                  <a:pt x="428543" y="978090"/>
                  <a:pt x="431103" y="969290"/>
                  <a:pt x="432063" y="960170"/>
                </a:cubicBezTo>
                <a:cubicBezTo>
                  <a:pt x="432383" y="957450"/>
                  <a:pt x="432543" y="953930"/>
                  <a:pt x="432383" y="951050"/>
                </a:cubicBezTo>
                <a:cubicBezTo>
                  <a:pt x="432383" y="950890"/>
                  <a:pt x="432383" y="950570"/>
                  <a:pt x="432383" y="950250"/>
                </a:cubicBezTo>
                <a:cubicBezTo>
                  <a:pt x="432543" y="949770"/>
                  <a:pt x="432543" y="949130"/>
                  <a:pt x="432703" y="948650"/>
                </a:cubicBezTo>
                <a:cubicBezTo>
                  <a:pt x="434143" y="934890"/>
                  <a:pt x="439903" y="842730"/>
                  <a:pt x="440383" y="838410"/>
                </a:cubicBezTo>
                <a:cubicBezTo>
                  <a:pt x="441343" y="830410"/>
                  <a:pt x="442303" y="822570"/>
                  <a:pt x="443263" y="814570"/>
                </a:cubicBezTo>
                <a:cubicBezTo>
                  <a:pt x="445023" y="800170"/>
                  <a:pt x="451903" y="749770"/>
                  <a:pt x="453183" y="735370"/>
                </a:cubicBezTo>
                <a:cubicBezTo>
                  <a:pt x="453983" y="726250"/>
                  <a:pt x="454783" y="716330"/>
                  <a:pt x="453663" y="706890"/>
                </a:cubicBezTo>
                <a:cubicBezTo>
                  <a:pt x="457663" y="712010"/>
                  <a:pt x="461983" y="716810"/>
                  <a:pt x="467263" y="721130"/>
                </a:cubicBezTo>
                <a:cubicBezTo>
                  <a:pt x="466943" y="721930"/>
                  <a:pt x="466783" y="722890"/>
                  <a:pt x="466623" y="723690"/>
                </a:cubicBezTo>
                <a:cubicBezTo>
                  <a:pt x="465823" y="725450"/>
                  <a:pt x="465823" y="727210"/>
                  <a:pt x="465343" y="729290"/>
                </a:cubicBezTo>
                <a:cubicBezTo>
                  <a:pt x="464383" y="733290"/>
                  <a:pt x="463743" y="737290"/>
                  <a:pt x="462783" y="741290"/>
                </a:cubicBezTo>
                <a:cubicBezTo>
                  <a:pt x="460383" y="751850"/>
                  <a:pt x="453183" y="798570"/>
                  <a:pt x="451903" y="809450"/>
                </a:cubicBezTo>
                <a:cubicBezTo>
                  <a:pt x="450463" y="820810"/>
                  <a:pt x="450623" y="832490"/>
                  <a:pt x="449503" y="843850"/>
                </a:cubicBezTo>
                <a:cubicBezTo>
                  <a:pt x="449343" y="846250"/>
                  <a:pt x="443903" y="932810"/>
                  <a:pt x="442783" y="943210"/>
                </a:cubicBezTo>
                <a:cubicBezTo>
                  <a:pt x="442623" y="948810"/>
                  <a:pt x="442303" y="954410"/>
                  <a:pt x="441823" y="960010"/>
                </a:cubicBezTo>
                <a:cubicBezTo>
                  <a:pt x="441823" y="960330"/>
                  <a:pt x="441823" y="960490"/>
                  <a:pt x="441823" y="960970"/>
                </a:cubicBezTo>
                <a:cubicBezTo>
                  <a:pt x="441823" y="961130"/>
                  <a:pt x="441823" y="961130"/>
                  <a:pt x="441823" y="961290"/>
                </a:cubicBezTo>
                <a:cubicBezTo>
                  <a:pt x="441503" y="964330"/>
                  <a:pt x="441183" y="967370"/>
                  <a:pt x="441023" y="970570"/>
                </a:cubicBezTo>
                <a:cubicBezTo>
                  <a:pt x="440703" y="973770"/>
                  <a:pt x="440383" y="977130"/>
                  <a:pt x="440223" y="980330"/>
                </a:cubicBezTo>
                <a:cubicBezTo>
                  <a:pt x="440223" y="981930"/>
                  <a:pt x="440383" y="983370"/>
                  <a:pt x="440383" y="984970"/>
                </a:cubicBezTo>
                <a:cubicBezTo>
                  <a:pt x="440223" y="986730"/>
                  <a:pt x="439903" y="988330"/>
                  <a:pt x="439743" y="990090"/>
                </a:cubicBezTo>
                <a:cubicBezTo>
                  <a:pt x="439583" y="992650"/>
                  <a:pt x="442943" y="993290"/>
                  <a:pt x="444383" y="991690"/>
                </a:cubicBezTo>
                <a:cubicBezTo>
                  <a:pt x="445663" y="990410"/>
                  <a:pt x="446623" y="989130"/>
                  <a:pt x="447423" y="987690"/>
                </a:cubicBezTo>
                <a:cubicBezTo>
                  <a:pt x="448703" y="986730"/>
                  <a:pt x="449823" y="985290"/>
                  <a:pt x="450463" y="983530"/>
                </a:cubicBezTo>
                <a:cubicBezTo>
                  <a:pt x="451903" y="979530"/>
                  <a:pt x="450943" y="975050"/>
                  <a:pt x="451423" y="970890"/>
                </a:cubicBezTo>
                <a:cubicBezTo>
                  <a:pt x="452383" y="964010"/>
                  <a:pt x="460543" y="847210"/>
                  <a:pt x="461023" y="840330"/>
                </a:cubicBezTo>
                <a:cubicBezTo>
                  <a:pt x="462143" y="825450"/>
                  <a:pt x="462463" y="810890"/>
                  <a:pt x="465183" y="796170"/>
                </a:cubicBezTo>
                <a:cubicBezTo>
                  <a:pt x="466303" y="790090"/>
                  <a:pt x="472543" y="748170"/>
                  <a:pt x="473823" y="742090"/>
                </a:cubicBezTo>
                <a:cubicBezTo>
                  <a:pt x="474463" y="739210"/>
                  <a:pt x="475423" y="736330"/>
                  <a:pt x="475583" y="733450"/>
                </a:cubicBezTo>
                <a:cubicBezTo>
                  <a:pt x="475743" y="732490"/>
                  <a:pt x="476063" y="731370"/>
                  <a:pt x="476223" y="730410"/>
                </a:cubicBezTo>
                <a:lnTo>
                  <a:pt x="476383" y="728970"/>
                </a:lnTo>
                <a:cubicBezTo>
                  <a:pt x="476383" y="728810"/>
                  <a:pt x="476383" y="728650"/>
                  <a:pt x="476383" y="728490"/>
                </a:cubicBezTo>
                <a:cubicBezTo>
                  <a:pt x="476543" y="728330"/>
                  <a:pt x="476543" y="728330"/>
                  <a:pt x="476543" y="728170"/>
                </a:cubicBezTo>
                <a:cubicBezTo>
                  <a:pt x="486463" y="734410"/>
                  <a:pt x="497823" y="738570"/>
                  <a:pt x="509023" y="741290"/>
                </a:cubicBezTo>
                <a:cubicBezTo>
                  <a:pt x="516543" y="743050"/>
                  <a:pt x="523903" y="744650"/>
                  <a:pt x="531423" y="746890"/>
                </a:cubicBezTo>
                <a:cubicBezTo>
                  <a:pt x="539903" y="749290"/>
                  <a:pt x="548063" y="750250"/>
                  <a:pt x="556863" y="750730"/>
                </a:cubicBezTo>
                <a:cubicBezTo>
                  <a:pt x="565343" y="751210"/>
                  <a:pt x="573983" y="750890"/>
                  <a:pt x="582463" y="750570"/>
                </a:cubicBezTo>
                <a:cubicBezTo>
                  <a:pt x="590783" y="750250"/>
                  <a:pt x="599263" y="746890"/>
                  <a:pt x="607423" y="744810"/>
                </a:cubicBezTo>
                <a:cubicBezTo>
                  <a:pt x="619263" y="741770"/>
                  <a:pt x="629663" y="732650"/>
                  <a:pt x="621823" y="720170"/>
                </a:cubicBezTo>
                <a:cubicBezTo>
                  <a:pt x="617343" y="713130"/>
                  <a:pt x="616703" y="703850"/>
                  <a:pt x="619263" y="695850"/>
                </a:cubicBezTo>
                <a:cubicBezTo>
                  <a:pt x="620063" y="693130"/>
                  <a:pt x="620543" y="689610"/>
                  <a:pt x="619423" y="687050"/>
                </a:cubicBezTo>
                <a:cubicBezTo>
                  <a:pt x="619743" y="685770"/>
                  <a:pt x="619743" y="684170"/>
                  <a:pt x="619583" y="683050"/>
                </a:cubicBezTo>
                <a:cubicBezTo>
                  <a:pt x="619263" y="680970"/>
                  <a:pt x="617503" y="679050"/>
                  <a:pt x="615423" y="678410"/>
                </a:cubicBezTo>
                <a:cubicBezTo>
                  <a:pt x="612063" y="675690"/>
                  <a:pt x="606783" y="674890"/>
                  <a:pt x="602143" y="673610"/>
                </a:cubicBezTo>
                <a:cubicBezTo>
                  <a:pt x="597023" y="672170"/>
                  <a:pt x="591743" y="669770"/>
                  <a:pt x="586623" y="668010"/>
                </a:cubicBezTo>
                <a:cubicBezTo>
                  <a:pt x="580543" y="665770"/>
                  <a:pt x="574943" y="662730"/>
                  <a:pt x="569663" y="658890"/>
                </a:cubicBezTo>
                <a:cubicBezTo>
                  <a:pt x="566143" y="656330"/>
                  <a:pt x="563903" y="652970"/>
                  <a:pt x="560703" y="650090"/>
                </a:cubicBezTo>
                <a:cubicBezTo>
                  <a:pt x="556863" y="646890"/>
                  <a:pt x="552863" y="642730"/>
                  <a:pt x="549823" y="638570"/>
                </a:cubicBezTo>
                <a:cubicBezTo>
                  <a:pt x="556703" y="641450"/>
                  <a:pt x="564063" y="644490"/>
                  <a:pt x="571263" y="646410"/>
                </a:cubicBezTo>
                <a:cubicBezTo>
                  <a:pt x="578943" y="648490"/>
                  <a:pt x="587103" y="649450"/>
                  <a:pt x="594943" y="651050"/>
                </a:cubicBezTo>
                <a:cubicBezTo>
                  <a:pt x="603743" y="652810"/>
                  <a:pt x="612863" y="652170"/>
                  <a:pt x="621663" y="653130"/>
                </a:cubicBezTo>
                <a:cubicBezTo>
                  <a:pt x="627423" y="653770"/>
                  <a:pt x="633183" y="654250"/>
                  <a:pt x="639103" y="654570"/>
                </a:cubicBezTo>
                <a:cubicBezTo>
                  <a:pt x="639903" y="654890"/>
                  <a:pt x="640703" y="655210"/>
                  <a:pt x="641503" y="655530"/>
                </a:cubicBezTo>
                <a:cubicBezTo>
                  <a:pt x="645503" y="656970"/>
                  <a:pt x="649663" y="658250"/>
                  <a:pt x="653663" y="660170"/>
                </a:cubicBezTo>
                <a:cubicBezTo>
                  <a:pt x="661503" y="663850"/>
                  <a:pt x="668863" y="669130"/>
                  <a:pt x="676703" y="673130"/>
                </a:cubicBezTo>
                <a:cubicBezTo>
                  <a:pt x="684703" y="677290"/>
                  <a:pt x="693023" y="680970"/>
                  <a:pt x="701343" y="684490"/>
                </a:cubicBezTo>
                <a:cubicBezTo>
                  <a:pt x="709343" y="687690"/>
                  <a:pt x="717823" y="689450"/>
                  <a:pt x="725983" y="691690"/>
                </a:cubicBezTo>
                <a:cubicBezTo>
                  <a:pt x="730303" y="692810"/>
                  <a:pt x="734143" y="692810"/>
                  <a:pt x="738463" y="693450"/>
                </a:cubicBezTo>
                <a:cubicBezTo>
                  <a:pt x="742783" y="694090"/>
                  <a:pt x="746463" y="694730"/>
                  <a:pt x="750783" y="694570"/>
                </a:cubicBezTo>
                <a:cubicBezTo>
                  <a:pt x="758623" y="694250"/>
                  <a:pt x="766303" y="695050"/>
                  <a:pt x="774143" y="694730"/>
                </a:cubicBezTo>
                <a:cubicBezTo>
                  <a:pt x="781983" y="694410"/>
                  <a:pt x="789823" y="694090"/>
                  <a:pt x="797663" y="693610"/>
                </a:cubicBezTo>
                <a:cubicBezTo>
                  <a:pt x="801503" y="693450"/>
                  <a:pt x="804703" y="693130"/>
                  <a:pt x="808383" y="691850"/>
                </a:cubicBezTo>
                <a:cubicBezTo>
                  <a:pt x="813183" y="690250"/>
                  <a:pt x="818463" y="690090"/>
                  <a:pt x="823423" y="689290"/>
                </a:cubicBezTo>
                <a:cubicBezTo>
                  <a:pt x="840703" y="686410"/>
                  <a:pt x="857183" y="680330"/>
                  <a:pt x="872863" y="672650"/>
                </a:cubicBezTo>
                <a:cubicBezTo>
                  <a:pt x="880863" y="668810"/>
                  <a:pt x="889663" y="666250"/>
                  <a:pt x="898303" y="664170"/>
                </a:cubicBezTo>
                <a:cubicBezTo>
                  <a:pt x="906943" y="662090"/>
                  <a:pt x="915263" y="659530"/>
                  <a:pt x="924063" y="658090"/>
                </a:cubicBezTo>
                <a:cubicBezTo>
                  <a:pt x="940063" y="655370"/>
                  <a:pt x="953023" y="649290"/>
                  <a:pt x="965343" y="638730"/>
                </a:cubicBezTo>
                <a:cubicBezTo>
                  <a:pt x="970783" y="634250"/>
                  <a:pt x="975103" y="628490"/>
                  <a:pt x="978943" y="622730"/>
                </a:cubicBezTo>
                <a:cubicBezTo>
                  <a:pt x="979423" y="622090"/>
                  <a:pt x="979903" y="621290"/>
                  <a:pt x="980543" y="620650"/>
                </a:cubicBezTo>
                <a:cubicBezTo>
                  <a:pt x="981503" y="618730"/>
                  <a:pt x="983103" y="617130"/>
                  <a:pt x="985183" y="615530"/>
                </a:cubicBezTo>
                <a:cubicBezTo>
                  <a:pt x="986943" y="612810"/>
                  <a:pt x="990943" y="610410"/>
                  <a:pt x="995583" y="608490"/>
                </a:cubicBezTo>
                <a:cubicBezTo>
                  <a:pt x="997503" y="607050"/>
                  <a:pt x="999583" y="605930"/>
                  <a:pt x="1001823" y="604810"/>
                </a:cubicBezTo>
                <a:cubicBezTo>
                  <a:pt x="1002623" y="604170"/>
                  <a:pt x="1003583" y="603370"/>
                  <a:pt x="1004543" y="602890"/>
                </a:cubicBezTo>
                <a:cubicBezTo>
                  <a:pt x="1002143" y="601610"/>
                  <a:pt x="999743" y="600650"/>
                  <a:pt x="997503" y="599370"/>
                </a:cubicBezTo>
                <a:cubicBezTo>
                  <a:pt x="994783" y="597770"/>
                  <a:pt x="992383" y="595210"/>
                  <a:pt x="989823" y="593290"/>
                </a:cubicBezTo>
                <a:cubicBezTo>
                  <a:pt x="984223" y="589130"/>
                  <a:pt x="979743" y="584010"/>
                  <a:pt x="975263" y="578890"/>
                </a:cubicBezTo>
                <a:cubicBezTo>
                  <a:pt x="965663" y="567850"/>
                  <a:pt x="955903" y="557130"/>
                  <a:pt x="945023" y="547370"/>
                </a:cubicBezTo>
                <a:cubicBezTo>
                  <a:pt x="939583" y="542570"/>
                  <a:pt x="934143" y="537930"/>
                  <a:pt x="929183" y="532650"/>
                </a:cubicBezTo>
                <a:cubicBezTo>
                  <a:pt x="924703" y="528010"/>
                  <a:pt x="920063" y="524810"/>
                  <a:pt x="914943" y="521130"/>
                </a:cubicBezTo>
                <a:cubicBezTo>
                  <a:pt x="909343" y="516970"/>
                  <a:pt x="902943" y="512970"/>
                  <a:pt x="896063" y="510890"/>
                </a:cubicBezTo>
                <a:cubicBezTo>
                  <a:pt x="897823" y="508650"/>
                  <a:pt x="899583" y="506250"/>
                  <a:pt x="901503" y="504010"/>
                </a:cubicBezTo>
                <a:cubicBezTo>
                  <a:pt x="903743" y="501290"/>
                  <a:pt x="906783" y="497930"/>
                  <a:pt x="907263" y="494410"/>
                </a:cubicBezTo>
                <a:cubicBezTo>
                  <a:pt x="907583" y="491530"/>
                  <a:pt x="909983" y="489290"/>
                  <a:pt x="910783" y="486570"/>
                </a:cubicBezTo>
                <a:cubicBezTo>
                  <a:pt x="911103" y="485610"/>
                  <a:pt x="910943" y="484810"/>
                  <a:pt x="910623" y="484170"/>
                </a:cubicBezTo>
                <a:cubicBezTo>
                  <a:pt x="905823" y="483850"/>
                  <a:pt x="901183" y="483210"/>
                  <a:pt x="896543" y="482090"/>
                </a:cubicBezTo>
                <a:cubicBezTo>
                  <a:pt x="893183" y="481290"/>
                  <a:pt x="889983" y="480010"/>
                  <a:pt x="886943" y="478570"/>
                </a:cubicBezTo>
                <a:cubicBezTo>
                  <a:pt x="885183" y="478410"/>
                  <a:pt x="883583" y="477930"/>
                  <a:pt x="881823" y="477450"/>
                </a:cubicBezTo>
                <a:cubicBezTo>
                  <a:pt x="881663" y="477450"/>
                  <a:pt x="881343" y="477290"/>
                  <a:pt x="881183" y="477130"/>
                </a:cubicBezTo>
                <a:cubicBezTo>
                  <a:pt x="889183" y="475690"/>
                  <a:pt x="896863" y="472010"/>
                  <a:pt x="904543" y="467850"/>
                </a:cubicBezTo>
                <a:cubicBezTo>
                  <a:pt x="909983" y="464970"/>
                  <a:pt x="913823" y="459370"/>
                  <a:pt x="917823" y="454890"/>
                </a:cubicBezTo>
                <a:cubicBezTo>
                  <a:pt x="922783" y="449130"/>
                  <a:pt x="929343" y="444970"/>
                  <a:pt x="934303" y="439050"/>
                </a:cubicBezTo>
                <a:cubicBezTo>
                  <a:pt x="938783" y="433770"/>
                  <a:pt x="942303" y="427850"/>
                  <a:pt x="946783" y="422570"/>
                </a:cubicBezTo>
                <a:cubicBezTo>
                  <a:pt x="949983" y="418890"/>
                  <a:pt x="953183" y="412650"/>
                  <a:pt x="954143" y="407850"/>
                </a:cubicBezTo>
                <a:cubicBezTo>
                  <a:pt x="955423" y="401930"/>
                  <a:pt x="950303" y="398730"/>
                  <a:pt x="945503" y="397130"/>
                </a:cubicBezTo>
                <a:cubicBezTo>
                  <a:pt x="937983" y="394570"/>
                  <a:pt x="930783" y="390570"/>
                  <a:pt x="923583" y="387370"/>
                </a:cubicBezTo>
                <a:cubicBezTo>
                  <a:pt x="918303" y="384970"/>
                  <a:pt x="913023" y="382570"/>
                  <a:pt x="907743" y="380330"/>
                </a:cubicBezTo>
                <a:cubicBezTo>
                  <a:pt x="911743" y="380330"/>
                  <a:pt x="915743" y="379850"/>
                  <a:pt x="919743" y="379050"/>
                </a:cubicBezTo>
                <a:cubicBezTo>
                  <a:pt x="927263" y="377450"/>
                  <a:pt x="933023" y="372810"/>
                  <a:pt x="939263" y="368650"/>
                </a:cubicBezTo>
                <a:cubicBezTo>
                  <a:pt x="946303" y="363690"/>
                  <a:pt x="952223" y="359210"/>
                  <a:pt x="958143" y="352810"/>
                </a:cubicBezTo>
                <a:cubicBezTo>
                  <a:pt x="964383" y="345930"/>
                  <a:pt x="970303" y="339050"/>
                  <a:pt x="975583" y="331370"/>
                </a:cubicBezTo>
                <a:cubicBezTo>
                  <a:pt x="985663" y="316650"/>
                  <a:pt x="993343" y="300970"/>
                  <a:pt x="1001183" y="284970"/>
                </a:cubicBezTo>
                <a:cubicBezTo>
                  <a:pt x="1004543" y="277930"/>
                  <a:pt x="1005503" y="269610"/>
                  <a:pt x="1006783" y="261930"/>
                </a:cubicBezTo>
                <a:cubicBezTo>
                  <a:pt x="1007423" y="258410"/>
                  <a:pt x="1006783" y="254730"/>
                  <a:pt x="1007263" y="251210"/>
                </a:cubicBezTo>
                <a:cubicBezTo>
                  <a:pt x="1007583" y="248810"/>
                  <a:pt x="1008543" y="246730"/>
                  <a:pt x="1008863" y="244330"/>
                </a:cubicBezTo>
                <a:lnTo>
                  <a:pt x="1008863" y="244330"/>
                </a:lnTo>
                <a:cubicBezTo>
                  <a:pt x="1008223" y="243690"/>
                  <a:pt x="1008223" y="243050"/>
                  <a:pt x="1008063" y="242570"/>
                </a:cubicBezTo>
                <a:close/>
                <a:moveTo>
                  <a:pt x="964703" y="251530"/>
                </a:moveTo>
                <a:cubicBezTo>
                  <a:pt x="967743" y="251370"/>
                  <a:pt x="970783" y="251210"/>
                  <a:pt x="973983" y="251210"/>
                </a:cubicBezTo>
                <a:cubicBezTo>
                  <a:pt x="977823" y="251210"/>
                  <a:pt x="981503" y="250890"/>
                  <a:pt x="985343" y="250730"/>
                </a:cubicBezTo>
                <a:cubicBezTo>
                  <a:pt x="986463" y="250730"/>
                  <a:pt x="987423" y="250730"/>
                  <a:pt x="988543" y="250890"/>
                </a:cubicBezTo>
                <a:cubicBezTo>
                  <a:pt x="987743" y="251530"/>
                  <a:pt x="986783" y="252170"/>
                  <a:pt x="986143" y="252810"/>
                </a:cubicBezTo>
                <a:cubicBezTo>
                  <a:pt x="983263" y="255370"/>
                  <a:pt x="981343" y="258730"/>
                  <a:pt x="978463" y="261290"/>
                </a:cubicBezTo>
                <a:cubicBezTo>
                  <a:pt x="971903" y="267370"/>
                  <a:pt x="965343" y="273450"/>
                  <a:pt x="958943" y="279690"/>
                </a:cubicBezTo>
                <a:cubicBezTo>
                  <a:pt x="945983" y="292170"/>
                  <a:pt x="928543" y="300170"/>
                  <a:pt x="912703" y="308330"/>
                </a:cubicBezTo>
                <a:cubicBezTo>
                  <a:pt x="904543" y="312490"/>
                  <a:pt x="896543" y="316650"/>
                  <a:pt x="888543" y="320810"/>
                </a:cubicBezTo>
                <a:cubicBezTo>
                  <a:pt x="880383" y="325130"/>
                  <a:pt x="873503" y="330890"/>
                  <a:pt x="865663" y="335370"/>
                </a:cubicBezTo>
                <a:cubicBezTo>
                  <a:pt x="858143" y="339690"/>
                  <a:pt x="850463" y="344010"/>
                  <a:pt x="843263" y="348810"/>
                </a:cubicBezTo>
                <a:cubicBezTo>
                  <a:pt x="839583" y="351370"/>
                  <a:pt x="833823" y="355050"/>
                  <a:pt x="829983" y="359370"/>
                </a:cubicBezTo>
                <a:cubicBezTo>
                  <a:pt x="825343" y="358730"/>
                  <a:pt x="820543" y="358250"/>
                  <a:pt x="815903" y="357770"/>
                </a:cubicBezTo>
                <a:cubicBezTo>
                  <a:pt x="808223" y="357130"/>
                  <a:pt x="801343" y="359370"/>
                  <a:pt x="793823" y="360010"/>
                </a:cubicBezTo>
                <a:cubicBezTo>
                  <a:pt x="785823" y="360650"/>
                  <a:pt x="777983" y="362570"/>
                  <a:pt x="770943" y="366410"/>
                </a:cubicBezTo>
                <a:cubicBezTo>
                  <a:pt x="770783" y="365610"/>
                  <a:pt x="770783" y="364810"/>
                  <a:pt x="770623" y="364010"/>
                </a:cubicBezTo>
                <a:cubicBezTo>
                  <a:pt x="773503" y="362090"/>
                  <a:pt x="776063" y="359690"/>
                  <a:pt x="778463" y="357130"/>
                </a:cubicBezTo>
                <a:cubicBezTo>
                  <a:pt x="783903" y="352810"/>
                  <a:pt x="788223" y="346570"/>
                  <a:pt x="793823" y="342250"/>
                </a:cubicBezTo>
                <a:cubicBezTo>
                  <a:pt x="801823" y="336010"/>
                  <a:pt x="811263" y="332170"/>
                  <a:pt x="820063" y="326890"/>
                </a:cubicBezTo>
                <a:cubicBezTo>
                  <a:pt x="828223" y="321930"/>
                  <a:pt x="834783" y="315210"/>
                  <a:pt x="842303" y="309450"/>
                </a:cubicBezTo>
                <a:cubicBezTo>
                  <a:pt x="845663" y="306890"/>
                  <a:pt x="849983" y="305930"/>
                  <a:pt x="853823" y="304010"/>
                </a:cubicBezTo>
                <a:cubicBezTo>
                  <a:pt x="857983" y="301930"/>
                  <a:pt x="861663" y="299370"/>
                  <a:pt x="865503" y="297130"/>
                </a:cubicBezTo>
                <a:cubicBezTo>
                  <a:pt x="883103" y="287050"/>
                  <a:pt x="901023" y="276650"/>
                  <a:pt x="919743" y="268650"/>
                </a:cubicBezTo>
                <a:cubicBezTo>
                  <a:pt x="928863" y="264810"/>
                  <a:pt x="937823" y="260490"/>
                  <a:pt x="946943" y="256970"/>
                </a:cubicBezTo>
                <a:cubicBezTo>
                  <a:pt x="952223" y="254890"/>
                  <a:pt x="959103" y="253930"/>
                  <a:pt x="964703" y="251530"/>
                </a:cubicBezTo>
                <a:close/>
                <a:moveTo>
                  <a:pt x="487743" y="578090"/>
                </a:moveTo>
                <a:cubicBezTo>
                  <a:pt x="487743" y="579850"/>
                  <a:pt x="487743" y="581450"/>
                  <a:pt x="487903" y="583210"/>
                </a:cubicBezTo>
                <a:cubicBezTo>
                  <a:pt x="488063" y="585610"/>
                  <a:pt x="488863" y="588010"/>
                  <a:pt x="489663" y="590410"/>
                </a:cubicBezTo>
                <a:cubicBezTo>
                  <a:pt x="488383" y="589610"/>
                  <a:pt x="486303" y="588810"/>
                  <a:pt x="484543" y="588330"/>
                </a:cubicBezTo>
                <a:cubicBezTo>
                  <a:pt x="483743" y="587850"/>
                  <a:pt x="482783" y="587370"/>
                  <a:pt x="481983" y="586570"/>
                </a:cubicBezTo>
                <a:cubicBezTo>
                  <a:pt x="481823" y="585770"/>
                  <a:pt x="481343" y="585130"/>
                  <a:pt x="480543" y="584970"/>
                </a:cubicBezTo>
                <a:cubicBezTo>
                  <a:pt x="471423" y="583210"/>
                  <a:pt x="470463" y="570410"/>
                  <a:pt x="470463" y="563050"/>
                </a:cubicBezTo>
                <a:cubicBezTo>
                  <a:pt x="470463" y="552650"/>
                  <a:pt x="473663" y="542410"/>
                  <a:pt x="475423" y="532330"/>
                </a:cubicBezTo>
                <a:cubicBezTo>
                  <a:pt x="478783" y="514890"/>
                  <a:pt x="482783" y="497770"/>
                  <a:pt x="491423" y="482090"/>
                </a:cubicBezTo>
                <a:cubicBezTo>
                  <a:pt x="499743" y="466890"/>
                  <a:pt x="511423" y="454090"/>
                  <a:pt x="524863" y="443370"/>
                </a:cubicBezTo>
                <a:cubicBezTo>
                  <a:pt x="529023" y="440010"/>
                  <a:pt x="533023" y="436170"/>
                  <a:pt x="536863" y="432490"/>
                </a:cubicBezTo>
                <a:cubicBezTo>
                  <a:pt x="533023" y="437930"/>
                  <a:pt x="528863" y="442890"/>
                  <a:pt x="525183" y="448650"/>
                </a:cubicBezTo>
                <a:cubicBezTo>
                  <a:pt x="516863" y="462090"/>
                  <a:pt x="510303" y="476330"/>
                  <a:pt x="504703" y="491050"/>
                </a:cubicBezTo>
                <a:cubicBezTo>
                  <a:pt x="499263" y="504810"/>
                  <a:pt x="494303" y="519690"/>
                  <a:pt x="492223" y="534410"/>
                </a:cubicBezTo>
                <a:cubicBezTo>
                  <a:pt x="490143" y="548330"/>
                  <a:pt x="487103" y="562250"/>
                  <a:pt x="487103" y="576330"/>
                </a:cubicBezTo>
                <a:cubicBezTo>
                  <a:pt x="487103" y="577130"/>
                  <a:pt x="487263" y="577610"/>
                  <a:pt x="487743" y="578090"/>
                </a:cubicBezTo>
                <a:close/>
                <a:moveTo>
                  <a:pt x="462623" y="572810"/>
                </a:moveTo>
                <a:cubicBezTo>
                  <a:pt x="463423" y="578090"/>
                  <a:pt x="465983" y="583850"/>
                  <a:pt x="470143" y="587050"/>
                </a:cubicBezTo>
                <a:cubicBezTo>
                  <a:pt x="466143" y="587050"/>
                  <a:pt x="461983" y="586410"/>
                  <a:pt x="457823" y="586570"/>
                </a:cubicBezTo>
                <a:cubicBezTo>
                  <a:pt x="459743" y="579530"/>
                  <a:pt x="456543" y="568650"/>
                  <a:pt x="455103" y="562890"/>
                </a:cubicBezTo>
                <a:cubicBezTo>
                  <a:pt x="454623" y="561290"/>
                  <a:pt x="454303" y="559690"/>
                  <a:pt x="453983" y="558090"/>
                </a:cubicBezTo>
                <a:cubicBezTo>
                  <a:pt x="454783" y="551370"/>
                  <a:pt x="456063" y="544490"/>
                  <a:pt x="458143" y="538090"/>
                </a:cubicBezTo>
                <a:cubicBezTo>
                  <a:pt x="459743" y="533290"/>
                  <a:pt x="461503" y="528330"/>
                  <a:pt x="463423" y="523690"/>
                </a:cubicBezTo>
                <a:cubicBezTo>
                  <a:pt x="464063" y="521930"/>
                  <a:pt x="467103" y="513610"/>
                  <a:pt x="469343" y="513130"/>
                </a:cubicBezTo>
                <a:cubicBezTo>
                  <a:pt x="469503" y="513130"/>
                  <a:pt x="469823" y="512970"/>
                  <a:pt x="469983" y="512970"/>
                </a:cubicBezTo>
                <a:cubicBezTo>
                  <a:pt x="469023" y="518090"/>
                  <a:pt x="468223" y="523370"/>
                  <a:pt x="467103" y="528490"/>
                </a:cubicBezTo>
                <a:cubicBezTo>
                  <a:pt x="463903" y="542890"/>
                  <a:pt x="460223" y="558250"/>
                  <a:pt x="462623" y="572810"/>
                </a:cubicBezTo>
                <a:close/>
                <a:moveTo>
                  <a:pt x="240223" y="365610"/>
                </a:moveTo>
                <a:cubicBezTo>
                  <a:pt x="239583" y="363530"/>
                  <a:pt x="239743" y="360970"/>
                  <a:pt x="239583" y="358890"/>
                </a:cubicBezTo>
                <a:cubicBezTo>
                  <a:pt x="239423" y="354890"/>
                  <a:pt x="239743" y="350890"/>
                  <a:pt x="239583" y="346890"/>
                </a:cubicBezTo>
                <a:cubicBezTo>
                  <a:pt x="239103" y="333930"/>
                  <a:pt x="239583" y="320810"/>
                  <a:pt x="240863" y="307850"/>
                </a:cubicBezTo>
                <a:cubicBezTo>
                  <a:pt x="241983" y="296170"/>
                  <a:pt x="242463" y="284010"/>
                  <a:pt x="242943" y="272330"/>
                </a:cubicBezTo>
                <a:cubicBezTo>
                  <a:pt x="243423" y="259690"/>
                  <a:pt x="243743" y="246890"/>
                  <a:pt x="243103" y="234250"/>
                </a:cubicBezTo>
                <a:cubicBezTo>
                  <a:pt x="242463" y="222410"/>
                  <a:pt x="242783" y="210730"/>
                  <a:pt x="242303" y="198890"/>
                </a:cubicBezTo>
                <a:cubicBezTo>
                  <a:pt x="241823" y="186730"/>
                  <a:pt x="241823" y="174570"/>
                  <a:pt x="239263" y="162730"/>
                </a:cubicBezTo>
                <a:cubicBezTo>
                  <a:pt x="237983" y="157130"/>
                  <a:pt x="238143" y="151210"/>
                  <a:pt x="237023" y="145610"/>
                </a:cubicBezTo>
                <a:cubicBezTo>
                  <a:pt x="235743" y="140010"/>
                  <a:pt x="234463" y="134410"/>
                  <a:pt x="233023" y="128970"/>
                </a:cubicBezTo>
                <a:cubicBezTo>
                  <a:pt x="232863" y="128330"/>
                  <a:pt x="232703" y="127530"/>
                  <a:pt x="232383" y="126730"/>
                </a:cubicBezTo>
                <a:cubicBezTo>
                  <a:pt x="235903" y="130730"/>
                  <a:pt x="239423" y="134730"/>
                  <a:pt x="242943" y="138730"/>
                </a:cubicBezTo>
                <a:cubicBezTo>
                  <a:pt x="244703" y="140810"/>
                  <a:pt x="246623" y="142730"/>
                  <a:pt x="248543" y="144650"/>
                </a:cubicBezTo>
                <a:cubicBezTo>
                  <a:pt x="249983" y="150090"/>
                  <a:pt x="252863" y="155370"/>
                  <a:pt x="254463" y="160330"/>
                </a:cubicBezTo>
                <a:cubicBezTo>
                  <a:pt x="257503" y="170250"/>
                  <a:pt x="259903" y="180330"/>
                  <a:pt x="262463" y="190250"/>
                </a:cubicBezTo>
                <a:cubicBezTo>
                  <a:pt x="267903" y="211530"/>
                  <a:pt x="272543" y="231850"/>
                  <a:pt x="270623" y="254090"/>
                </a:cubicBezTo>
                <a:cubicBezTo>
                  <a:pt x="268863" y="274890"/>
                  <a:pt x="265983" y="295530"/>
                  <a:pt x="262623" y="316170"/>
                </a:cubicBezTo>
                <a:cubicBezTo>
                  <a:pt x="259743" y="333610"/>
                  <a:pt x="257023" y="351370"/>
                  <a:pt x="256223" y="369130"/>
                </a:cubicBezTo>
                <a:cubicBezTo>
                  <a:pt x="255263" y="369130"/>
                  <a:pt x="254303" y="369290"/>
                  <a:pt x="253503" y="369290"/>
                </a:cubicBezTo>
                <a:cubicBezTo>
                  <a:pt x="250463" y="369450"/>
                  <a:pt x="247263" y="369770"/>
                  <a:pt x="244063" y="370090"/>
                </a:cubicBezTo>
                <a:cubicBezTo>
                  <a:pt x="243583" y="369450"/>
                  <a:pt x="242783" y="368970"/>
                  <a:pt x="241663" y="369130"/>
                </a:cubicBezTo>
                <a:cubicBezTo>
                  <a:pt x="241503" y="369130"/>
                  <a:pt x="241183" y="369130"/>
                  <a:pt x="241023" y="369290"/>
                </a:cubicBezTo>
                <a:cubicBezTo>
                  <a:pt x="240863" y="369290"/>
                  <a:pt x="240703" y="369290"/>
                  <a:pt x="240543" y="369130"/>
                </a:cubicBezTo>
                <a:cubicBezTo>
                  <a:pt x="240703" y="368970"/>
                  <a:pt x="241023" y="368810"/>
                  <a:pt x="241503" y="368650"/>
                </a:cubicBezTo>
                <a:cubicBezTo>
                  <a:pt x="240703" y="367690"/>
                  <a:pt x="240383" y="366570"/>
                  <a:pt x="240223" y="365610"/>
                </a:cubicBezTo>
                <a:close/>
                <a:moveTo>
                  <a:pt x="276383" y="252330"/>
                </a:moveTo>
                <a:cubicBezTo>
                  <a:pt x="277823" y="231690"/>
                  <a:pt x="273663" y="212810"/>
                  <a:pt x="268543" y="192970"/>
                </a:cubicBezTo>
                <a:cubicBezTo>
                  <a:pt x="265823" y="182890"/>
                  <a:pt x="262943" y="172810"/>
                  <a:pt x="259903" y="162890"/>
                </a:cubicBezTo>
                <a:cubicBezTo>
                  <a:pt x="258783" y="159370"/>
                  <a:pt x="257663" y="155850"/>
                  <a:pt x="256223" y="152490"/>
                </a:cubicBezTo>
                <a:cubicBezTo>
                  <a:pt x="257183" y="153450"/>
                  <a:pt x="258143" y="154410"/>
                  <a:pt x="258943" y="155530"/>
                </a:cubicBezTo>
                <a:cubicBezTo>
                  <a:pt x="264543" y="161770"/>
                  <a:pt x="270303" y="168170"/>
                  <a:pt x="276383" y="173930"/>
                </a:cubicBezTo>
                <a:cubicBezTo>
                  <a:pt x="278143" y="175690"/>
                  <a:pt x="279903" y="177450"/>
                  <a:pt x="281503" y="179210"/>
                </a:cubicBezTo>
                <a:cubicBezTo>
                  <a:pt x="282783" y="182730"/>
                  <a:pt x="284223" y="186090"/>
                  <a:pt x="285023" y="189610"/>
                </a:cubicBezTo>
                <a:cubicBezTo>
                  <a:pt x="287103" y="198250"/>
                  <a:pt x="288063" y="207050"/>
                  <a:pt x="290623" y="215530"/>
                </a:cubicBezTo>
                <a:cubicBezTo>
                  <a:pt x="291903" y="219850"/>
                  <a:pt x="291583" y="224970"/>
                  <a:pt x="292223" y="229450"/>
                </a:cubicBezTo>
                <a:cubicBezTo>
                  <a:pt x="292863" y="233290"/>
                  <a:pt x="293983" y="237130"/>
                  <a:pt x="294943" y="240810"/>
                </a:cubicBezTo>
                <a:cubicBezTo>
                  <a:pt x="297503" y="251530"/>
                  <a:pt x="297503" y="262570"/>
                  <a:pt x="296543" y="273610"/>
                </a:cubicBezTo>
                <a:cubicBezTo>
                  <a:pt x="295743" y="282890"/>
                  <a:pt x="294303" y="292010"/>
                  <a:pt x="293023" y="301290"/>
                </a:cubicBezTo>
                <a:cubicBezTo>
                  <a:pt x="291583" y="310890"/>
                  <a:pt x="292063" y="320810"/>
                  <a:pt x="290943" y="330410"/>
                </a:cubicBezTo>
                <a:cubicBezTo>
                  <a:pt x="289983" y="339050"/>
                  <a:pt x="288543" y="347530"/>
                  <a:pt x="288543" y="356170"/>
                </a:cubicBezTo>
                <a:cubicBezTo>
                  <a:pt x="288543" y="360330"/>
                  <a:pt x="289023" y="364490"/>
                  <a:pt x="289183" y="368650"/>
                </a:cubicBezTo>
                <a:cubicBezTo>
                  <a:pt x="289183" y="369930"/>
                  <a:pt x="289503" y="370890"/>
                  <a:pt x="289823" y="372010"/>
                </a:cubicBezTo>
                <a:cubicBezTo>
                  <a:pt x="286143" y="371530"/>
                  <a:pt x="282303" y="371050"/>
                  <a:pt x="278623" y="370250"/>
                </a:cubicBezTo>
                <a:cubicBezTo>
                  <a:pt x="273183" y="369130"/>
                  <a:pt x="267423" y="368810"/>
                  <a:pt x="261823" y="368810"/>
                </a:cubicBezTo>
                <a:cubicBezTo>
                  <a:pt x="264063" y="329930"/>
                  <a:pt x="273823" y="291370"/>
                  <a:pt x="276383" y="252330"/>
                </a:cubicBezTo>
                <a:close/>
                <a:moveTo>
                  <a:pt x="287263" y="381450"/>
                </a:moveTo>
                <a:cubicBezTo>
                  <a:pt x="295743" y="382410"/>
                  <a:pt x="304063" y="383370"/>
                  <a:pt x="312223" y="385610"/>
                </a:cubicBezTo>
                <a:cubicBezTo>
                  <a:pt x="320703" y="387850"/>
                  <a:pt x="329183" y="391690"/>
                  <a:pt x="337183" y="395370"/>
                </a:cubicBezTo>
                <a:cubicBezTo>
                  <a:pt x="346143" y="399530"/>
                  <a:pt x="354783" y="404010"/>
                  <a:pt x="362463" y="410250"/>
                </a:cubicBezTo>
                <a:cubicBezTo>
                  <a:pt x="369343" y="415850"/>
                  <a:pt x="375103" y="422730"/>
                  <a:pt x="381183" y="429130"/>
                </a:cubicBezTo>
                <a:cubicBezTo>
                  <a:pt x="386783" y="435050"/>
                  <a:pt x="390463" y="442410"/>
                  <a:pt x="394623" y="449290"/>
                </a:cubicBezTo>
                <a:cubicBezTo>
                  <a:pt x="398783" y="456330"/>
                  <a:pt x="402943" y="462570"/>
                  <a:pt x="408223" y="468970"/>
                </a:cubicBezTo>
                <a:cubicBezTo>
                  <a:pt x="411103" y="472490"/>
                  <a:pt x="413023" y="476810"/>
                  <a:pt x="415263" y="480650"/>
                </a:cubicBezTo>
                <a:cubicBezTo>
                  <a:pt x="417663" y="484970"/>
                  <a:pt x="420703" y="488810"/>
                  <a:pt x="422623" y="493290"/>
                </a:cubicBezTo>
                <a:cubicBezTo>
                  <a:pt x="429343" y="508330"/>
                  <a:pt x="438143" y="523050"/>
                  <a:pt x="440543" y="539370"/>
                </a:cubicBezTo>
                <a:cubicBezTo>
                  <a:pt x="441823" y="547530"/>
                  <a:pt x="442943" y="555850"/>
                  <a:pt x="444863" y="564010"/>
                </a:cubicBezTo>
                <a:cubicBezTo>
                  <a:pt x="445823" y="568330"/>
                  <a:pt x="446943" y="572650"/>
                  <a:pt x="447423" y="577130"/>
                </a:cubicBezTo>
                <a:cubicBezTo>
                  <a:pt x="447583" y="579050"/>
                  <a:pt x="447743" y="580970"/>
                  <a:pt x="447743" y="583050"/>
                </a:cubicBezTo>
                <a:cubicBezTo>
                  <a:pt x="447743" y="583050"/>
                  <a:pt x="447743" y="583210"/>
                  <a:pt x="447743" y="583370"/>
                </a:cubicBezTo>
                <a:cubicBezTo>
                  <a:pt x="444863" y="585930"/>
                  <a:pt x="441823" y="586890"/>
                  <a:pt x="438783" y="588650"/>
                </a:cubicBezTo>
                <a:cubicBezTo>
                  <a:pt x="437663" y="578570"/>
                  <a:pt x="434943" y="568970"/>
                  <a:pt x="432223" y="559050"/>
                </a:cubicBezTo>
                <a:cubicBezTo>
                  <a:pt x="430623" y="553450"/>
                  <a:pt x="428383" y="548490"/>
                  <a:pt x="425343" y="543530"/>
                </a:cubicBezTo>
                <a:cubicBezTo>
                  <a:pt x="421823" y="537770"/>
                  <a:pt x="419423" y="531530"/>
                  <a:pt x="416063" y="525770"/>
                </a:cubicBezTo>
                <a:cubicBezTo>
                  <a:pt x="403103" y="502890"/>
                  <a:pt x="388863" y="480970"/>
                  <a:pt x="373503" y="459690"/>
                </a:cubicBezTo>
                <a:cubicBezTo>
                  <a:pt x="358943" y="439690"/>
                  <a:pt x="340863" y="422570"/>
                  <a:pt x="320863" y="408170"/>
                </a:cubicBezTo>
                <a:cubicBezTo>
                  <a:pt x="316063" y="404650"/>
                  <a:pt x="311263" y="401130"/>
                  <a:pt x="306623" y="397290"/>
                </a:cubicBezTo>
                <a:cubicBezTo>
                  <a:pt x="302303" y="393770"/>
                  <a:pt x="296863" y="391850"/>
                  <a:pt x="292063" y="389290"/>
                </a:cubicBezTo>
                <a:cubicBezTo>
                  <a:pt x="286783" y="386410"/>
                  <a:pt x="281823" y="383050"/>
                  <a:pt x="276383" y="380330"/>
                </a:cubicBezTo>
                <a:cubicBezTo>
                  <a:pt x="276063" y="380170"/>
                  <a:pt x="275583" y="380010"/>
                  <a:pt x="274943" y="379850"/>
                </a:cubicBezTo>
                <a:cubicBezTo>
                  <a:pt x="279263" y="380170"/>
                  <a:pt x="283263" y="380970"/>
                  <a:pt x="287263" y="381450"/>
                </a:cubicBezTo>
                <a:close/>
                <a:moveTo>
                  <a:pt x="346303" y="287690"/>
                </a:moveTo>
                <a:cubicBezTo>
                  <a:pt x="346303" y="287050"/>
                  <a:pt x="346303" y="286410"/>
                  <a:pt x="346463" y="285770"/>
                </a:cubicBezTo>
                <a:cubicBezTo>
                  <a:pt x="346783" y="283690"/>
                  <a:pt x="347583" y="281610"/>
                  <a:pt x="348223" y="279530"/>
                </a:cubicBezTo>
                <a:cubicBezTo>
                  <a:pt x="349823" y="274410"/>
                  <a:pt x="352543" y="269450"/>
                  <a:pt x="354783" y="264650"/>
                </a:cubicBezTo>
                <a:cubicBezTo>
                  <a:pt x="359423" y="254570"/>
                  <a:pt x="365503" y="244970"/>
                  <a:pt x="370943" y="235370"/>
                </a:cubicBezTo>
                <a:cubicBezTo>
                  <a:pt x="381663" y="216330"/>
                  <a:pt x="398143" y="199850"/>
                  <a:pt x="413823" y="184810"/>
                </a:cubicBezTo>
                <a:cubicBezTo>
                  <a:pt x="430303" y="168970"/>
                  <a:pt x="448063" y="154730"/>
                  <a:pt x="465823" y="140650"/>
                </a:cubicBezTo>
                <a:cubicBezTo>
                  <a:pt x="467743" y="139050"/>
                  <a:pt x="469663" y="137450"/>
                  <a:pt x="471583" y="135850"/>
                </a:cubicBezTo>
                <a:cubicBezTo>
                  <a:pt x="468383" y="143210"/>
                  <a:pt x="463743" y="150410"/>
                  <a:pt x="459583" y="156650"/>
                </a:cubicBezTo>
                <a:cubicBezTo>
                  <a:pt x="458143" y="158730"/>
                  <a:pt x="457343" y="161450"/>
                  <a:pt x="456063" y="163690"/>
                </a:cubicBezTo>
                <a:cubicBezTo>
                  <a:pt x="454463" y="166250"/>
                  <a:pt x="452543" y="168650"/>
                  <a:pt x="450783" y="171050"/>
                </a:cubicBezTo>
                <a:cubicBezTo>
                  <a:pt x="446943" y="176330"/>
                  <a:pt x="443583" y="181930"/>
                  <a:pt x="439743" y="187210"/>
                </a:cubicBezTo>
                <a:cubicBezTo>
                  <a:pt x="425503" y="206730"/>
                  <a:pt x="409823" y="224810"/>
                  <a:pt x="397023" y="245450"/>
                </a:cubicBezTo>
                <a:cubicBezTo>
                  <a:pt x="390943" y="255370"/>
                  <a:pt x="382303" y="263050"/>
                  <a:pt x="376543" y="273130"/>
                </a:cubicBezTo>
                <a:cubicBezTo>
                  <a:pt x="370463" y="283850"/>
                  <a:pt x="365983" y="295370"/>
                  <a:pt x="362303" y="307050"/>
                </a:cubicBezTo>
                <a:cubicBezTo>
                  <a:pt x="359583" y="315850"/>
                  <a:pt x="357343" y="325290"/>
                  <a:pt x="355743" y="334730"/>
                </a:cubicBezTo>
                <a:cubicBezTo>
                  <a:pt x="354943" y="327850"/>
                  <a:pt x="353983" y="320810"/>
                  <a:pt x="353503" y="313930"/>
                </a:cubicBezTo>
                <a:cubicBezTo>
                  <a:pt x="353023" y="308330"/>
                  <a:pt x="351103" y="302410"/>
                  <a:pt x="349023" y="296970"/>
                </a:cubicBezTo>
                <a:cubicBezTo>
                  <a:pt x="347423" y="295210"/>
                  <a:pt x="346303" y="292810"/>
                  <a:pt x="345983" y="290090"/>
                </a:cubicBezTo>
                <a:cubicBezTo>
                  <a:pt x="345983" y="289450"/>
                  <a:pt x="345983" y="288970"/>
                  <a:pt x="346303" y="288330"/>
                </a:cubicBezTo>
                <a:cubicBezTo>
                  <a:pt x="346303" y="287850"/>
                  <a:pt x="346303" y="287850"/>
                  <a:pt x="346303" y="287690"/>
                </a:cubicBezTo>
                <a:close/>
                <a:moveTo>
                  <a:pt x="768703" y="351210"/>
                </a:moveTo>
                <a:cubicBezTo>
                  <a:pt x="768703" y="351210"/>
                  <a:pt x="768543" y="351370"/>
                  <a:pt x="768703" y="351210"/>
                </a:cubicBezTo>
                <a:cubicBezTo>
                  <a:pt x="767743" y="344810"/>
                  <a:pt x="765183" y="338890"/>
                  <a:pt x="760543" y="334090"/>
                </a:cubicBezTo>
                <a:cubicBezTo>
                  <a:pt x="756863" y="330410"/>
                  <a:pt x="752223" y="330250"/>
                  <a:pt x="747583" y="331370"/>
                </a:cubicBezTo>
                <a:cubicBezTo>
                  <a:pt x="750623" y="328010"/>
                  <a:pt x="753343" y="324650"/>
                  <a:pt x="755583" y="321930"/>
                </a:cubicBezTo>
                <a:cubicBezTo>
                  <a:pt x="760223" y="316490"/>
                  <a:pt x="765503" y="311690"/>
                  <a:pt x="769503" y="305770"/>
                </a:cubicBezTo>
                <a:cubicBezTo>
                  <a:pt x="774623" y="298250"/>
                  <a:pt x="779103" y="290570"/>
                  <a:pt x="783743" y="282730"/>
                </a:cubicBezTo>
                <a:cubicBezTo>
                  <a:pt x="792383" y="268010"/>
                  <a:pt x="801183" y="253450"/>
                  <a:pt x="807423" y="237450"/>
                </a:cubicBezTo>
                <a:cubicBezTo>
                  <a:pt x="809183" y="232970"/>
                  <a:pt x="810783" y="228490"/>
                  <a:pt x="812063" y="223850"/>
                </a:cubicBezTo>
                <a:cubicBezTo>
                  <a:pt x="812543" y="230250"/>
                  <a:pt x="812863" y="236810"/>
                  <a:pt x="812223" y="243210"/>
                </a:cubicBezTo>
                <a:cubicBezTo>
                  <a:pt x="811103" y="253610"/>
                  <a:pt x="810783" y="263530"/>
                  <a:pt x="808543" y="273610"/>
                </a:cubicBezTo>
                <a:cubicBezTo>
                  <a:pt x="807263" y="279530"/>
                  <a:pt x="805343" y="285130"/>
                  <a:pt x="803423" y="290730"/>
                </a:cubicBezTo>
                <a:cubicBezTo>
                  <a:pt x="801663" y="294890"/>
                  <a:pt x="799743" y="298890"/>
                  <a:pt x="797663" y="302890"/>
                </a:cubicBezTo>
                <a:cubicBezTo>
                  <a:pt x="794143" y="310090"/>
                  <a:pt x="789823" y="317130"/>
                  <a:pt x="787263" y="324810"/>
                </a:cubicBezTo>
                <a:cubicBezTo>
                  <a:pt x="785183" y="328330"/>
                  <a:pt x="783103" y="331690"/>
                  <a:pt x="780703" y="334890"/>
                </a:cubicBezTo>
                <a:cubicBezTo>
                  <a:pt x="776863" y="340490"/>
                  <a:pt x="772543" y="345770"/>
                  <a:pt x="768703" y="351210"/>
                </a:cubicBezTo>
                <a:close/>
                <a:moveTo>
                  <a:pt x="770143" y="374250"/>
                </a:moveTo>
                <a:cubicBezTo>
                  <a:pt x="776223" y="371210"/>
                  <a:pt x="782783" y="369290"/>
                  <a:pt x="789503" y="368330"/>
                </a:cubicBezTo>
                <a:cubicBezTo>
                  <a:pt x="783103" y="372010"/>
                  <a:pt x="777343" y="376970"/>
                  <a:pt x="772383" y="382090"/>
                </a:cubicBezTo>
                <a:cubicBezTo>
                  <a:pt x="770143" y="384490"/>
                  <a:pt x="767903" y="386730"/>
                  <a:pt x="765823" y="388970"/>
                </a:cubicBezTo>
                <a:cubicBezTo>
                  <a:pt x="766943" y="385610"/>
                  <a:pt x="767903" y="382250"/>
                  <a:pt x="768863" y="378890"/>
                </a:cubicBezTo>
                <a:cubicBezTo>
                  <a:pt x="769183" y="377450"/>
                  <a:pt x="769663" y="375850"/>
                  <a:pt x="770143" y="374250"/>
                </a:cubicBezTo>
                <a:close/>
                <a:moveTo>
                  <a:pt x="748383" y="342090"/>
                </a:moveTo>
                <a:cubicBezTo>
                  <a:pt x="748863" y="341930"/>
                  <a:pt x="749183" y="341610"/>
                  <a:pt x="749343" y="341290"/>
                </a:cubicBezTo>
                <a:cubicBezTo>
                  <a:pt x="751423" y="340810"/>
                  <a:pt x="753343" y="341130"/>
                  <a:pt x="754943" y="343210"/>
                </a:cubicBezTo>
                <a:cubicBezTo>
                  <a:pt x="757023" y="345930"/>
                  <a:pt x="757983" y="349770"/>
                  <a:pt x="758463" y="352970"/>
                </a:cubicBezTo>
                <a:cubicBezTo>
                  <a:pt x="758623" y="354410"/>
                  <a:pt x="758943" y="355850"/>
                  <a:pt x="759103" y="357290"/>
                </a:cubicBezTo>
                <a:cubicBezTo>
                  <a:pt x="758143" y="360490"/>
                  <a:pt x="757023" y="363690"/>
                  <a:pt x="755583" y="366730"/>
                </a:cubicBezTo>
                <a:cubicBezTo>
                  <a:pt x="752703" y="373450"/>
                  <a:pt x="749663" y="380010"/>
                  <a:pt x="746303" y="386570"/>
                </a:cubicBezTo>
                <a:cubicBezTo>
                  <a:pt x="742943" y="393450"/>
                  <a:pt x="737823" y="399370"/>
                  <a:pt x="732703" y="404970"/>
                </a:cubicBezTo>
                <a:cubicBezTo>
                  <a:pt x="730463" y="407530"/>
                  <a:pt x="727743" y="409930"/>
                  <a:pt x="724703" y="411530"/>
                </a:cubicBezTo>
                <a:cubicBezTo>
                  <a:pt x="723743" y="412010"/>
                  <a:pt x="722783" y="412490"/>
                  <a:pt x="721983" y="413130"/>
                </a:cubicBezTo>
                <a:cubicBezTo>
                  <a:pt x="716383" y="411530"/>
                  <a:pt x="710943" y="409930"/>
                  <a:pt x="705343" y="408490"/>
                </a:cubicBezTo>
                <a:cubicBezTo>
                  <a:pt x="697503" y="406410"/>
                  <a:pt x="689183" y="406570"/>
                  <a:pt x="681183" y="404810"/>
                </a:cubicBezTo>
                <a:cubicBezTo>
                  <a:pt x="681023" y="404810"/>
                  <a:pt x="680863" y="404810"/>
                  <a:pt x="680703" y="404650"/>
                </a:cubicBezTo>
                <a:cubicBezTo>
                  <a:pt x="683743" y="401130"/>
                  <a:pt x="686783" y="397610"/>
                  <a:pt x="689983" y="394250"/>
                </a:cubicBezTo>
                <a:cubicBezTo>
                  <a:pt x="696223" y="387850"/>
                  <a:pt x="703103" y="382250"/>
                  <a:pt x="709823" y="376330"/>
                </a:cubicBezTo>
                <a:cubicBezTo>
                  <a:pt x="715903" y="370890"/>
                  <a:pt x="721663" y="365130"/>
                  <a:pt x="727583" y="359210"/>
                </a:cubicBezTo>
                <a:cubicBezTo>
                  <a:pt x="731103" y="355690"/>
                  <a:pt x="734463" y="352330"/>
                  <a:pt x="738143" y="349290"/>
                </a:cubicBezTo>
                <a:cubicBezTo>
                  <a:pt x="741183" y="347210"/>
                  <a:pt x="745343" y="343210"/>
                  <a:pt x="748383" y="342090"/>
                </a:cubicBezTo>
                <a:close/>
                <a:moveTo>
                  <a:pt x="760543" y="365130"/>
                </a:moveTo>
                <a:cubicBezTo>
                  <a:pt x="761023" y="371690"/>
                  <a:pt x="758303" y="378730"/>
                  <a:pt x="756383" y="384810"/>
                </a:cubicBezTo>
                <a:cubicBezTo>
                  <a:pt x="754143" y="391690"/>
                  <a:pt x="751583" y="398410"/>
                  <a:pt x="749343" y="405290"/>
                </a:cubicBezTo>
                <a:cubicBezTo>
                  <a:pt x="748383" y="408170"/>
                  <a:pt x="748383" y="411050"/>
                  <a:pt x="747423" y="413930"/>
                </a:cubicBezTo>
                <a:cubicBezTo>
                  <a:pt x="746783" y="415850"/>
                  <a:pt x="745823" y="417930"/>
                  <a:pt x="745183" y="420010"/>
                </a:cubicBezTo>
                <a:cubicBezTo>
                  <a:pt x="739903" y="418410"/>
                  <a:pt x="734623" y="416810"/>
                  <a:pt x="729343" y="415370"/>
                </a:cubicBezTo>
                <a:cubicBezTo>
                  <a:pt x="729823" y="415050"/>
                  <a:pt x="730303" y="414730"/>
                  <a:pt x="730783" y="414410"/>
                </a:cubicBezTo>
                <a:cubicBezTo>
                  <a:pt x="733663" y="412170"/>
                  <a:pt x="735903" y="410090"/>
                  <a:pt x="738303" y="407370"/>
                </a:cubicBezTo>
                <a:cubicBezTo>
                  <a:pt x="742783" y="402410"/>
                  <a:pt x="747423" y="396810"/>
                  <a:pt x="750303" y="390890"/>
                </a:cubicBezTo>
                <a:cubicBezTo>
                  <a:pt x="753503" y="384330"/>
                  <a:pt x="756223" y="377610"/>
                  <a:pt x="758943" y="370730"/>
                </a:cubicBezTo>
                <a:cubicBezTo>
                  <a:pt x="759423" y="368810"/>
                  <a:pt x="760063" y="366890"/>
                  <a:pt x="760543" y="365130"/>
                </a:cubicBezTo>
                <a:close/>
                <a:moveTo>
                  <a:pt x="730943" y="349290"/>
                </a:moveTo>
                <a:cubicBezTo>
                  <a:pt x="723903" y="355050"/>
                  <a:pt x="717663" y="361930"/>
                  <a:pt x="710943" y="368010"/>
                </a:cubicBezTo>
                <a:cubicBezTo>
                  <a:pt x="703743" y="374570"/>
                  <a:pt x="696063" y="380490"/>
                  <a:pt x="689023" y="387210"/>
                </a:cubicBezTo>
                <a:cubicBezTo>
                  <a:pt x="683583" y="392490"/>
                  <a:pt x="678783" y="398250"/>
                  <a:pt x="673663" y="403850"/>
                </a:cubicBezTo>
                <a:cubicBezTo>
                  <a:pt x="667583" y="403690"/>
                  <a:pt x="661823" y="404650"/>
                  <a:pt x="655263" y="405610"/>
                </a:cubicBezTo>
                <a:cubicBezTo>
                  <a:pt x="650303" y="406410"/>
                  <a:pt x="645503" y="406730"/>
                  <a:pt x="640543" y="407530"/>
                </a:cubicBezTo>
                <a:cubicBezTo>
                  <a:pt x="642143" y="405610"/>
                  <a:pt x="643743" y="403690"/>
                  <a:pt x="645503" y="401770"/>
                </a:cubicBezTo>
                <a:cubicBezTo>
                  <a:pt x="651903" y="395210"/>
                  <a:pt x="658943" y="388970"/>
                  <a:pt x="665823" y="382890"/>
                </a:cubicBezTo>
                <a:cubicBezTo>
                  <a:pt x="672383" y="376970"/>
                  <a:pt x="678943" y="370890"/>
                  <a:pt x="685983" y="365450"/>
                </a:cubicBezTo>
                <a:cubicBezTo>
                  <a:pt x="690463" y="362090"/>
                  <a:pt x="694303" y="357930"/>
                  <a:pt x="698783" y="354730"/>
                </a:cubicBezTo>
                <a:cubicBezTo>
                  <a:pt x="701503" y="353930"/>
                  <a:pt x="704383" y="353290"/>
                  <a:pt x="707103" y="352650"/>
                </a:cubicBezTo>
                <a:cubicBezTo>
                  <a:pt x="714943" y="350730"/>
                  <a:pt x="722783" y="348810"/>
                  <a:pt x="730783" y="346890"/>
                </a:cubicBezTo>
                <a:cubicBezTo>
                  <a:pt x="732543" y="346410"/>
                  <a:pt x="734143" y="346090"/>
                  <a:pt x="735903" y="345610"/>
                </a:cubicBezTo>
                <a:cubicBezTo>
                  <a:pt x="734143" y="346730"/>
                  <a:pt x="732543" y="347850"/>
                  <a:pt x="730943" y="349290"/>
                </a:cubicBezTo>
                <a:close/>
                <a:moveTo>
                  <a:pt x="688383" y="357930"/>
                </a:moveTo>
                <a:cubicBezTo>
                  <a:pt x="680703" y="363690"/>
                  <a:pt x="673343" y="369770"/>
                  <a:pt x="666143" y="376010"/>
                </a:cubicBezTo>
                <a:cubicBezTo>
                  <a:pt x="654303" y="386090"/>
                  <a:pt x="641823" y="396170"/>
                  <a:pt x="632703" y="408810"/>
                </a:cubicBezTo>
                <a:cubicBezTo>
                  <a:pt x="632383" y="408970"/>
                  <a:pt x="631903" y="408970"/>
                  <a:pt x="631583" y="409130"/>
                </a:cubicBezTo>
                <a:cubicBezTo>
                  <a:pt x="622943" y="411210"/>
                  <a:pt x="614463" y="414570"/>
                  <a:pt x="606303" y="417930"/>
                </a:cubicBezTo>
                <a:cubicBezTo>
                  <a:pt x="597343" y="421610"/>
                  <a:pt x="589183" y="427050"/>
                  <a:pt x="581503" y="432970"/>
                </a:cubicBezTo>
                <a:cubicBezTo>
                  <a:pt x="585663" y="426730"/>
                  <a:pt x="590463" y="420970"/>
                  <a:pt x="595423" y="415370"/>
                </a:cubicBezTo>
                <a:cubicBezTo>
                  <a:pt x="597343" y="413130"/>
                  <a:pt x="611583" y="398410"/>
                  <a:pt x="621983" y="388650"/>
                </a:cubicBezTo>
                <a:cubicBezTo>
                  <a:pt x="633663" y="382890"/>
                  <a:pt x="644863" y="376490"/>
                  <a:pt x="656543" y="370570"/>
                </a:cubicBezTo>
                <a:cubicBezTo>
                  <a:pt x="664383" y="366570"/>
                  <a:pt x="672383" y="362890"/>
                  <a:pt x="680863" y="360170"/>
                </a:cubicBezTo>
                <a:cubicBezTo>
                  <a:pt x="683583" y="359370"/>
                  <a:pt x="686303" y="358410"/>
                  <a:pt x="689023" y="357610"/>
                </a:cubicBezTo>
                <a:cubicBezTo>
                  <a:pt x="688703" y="357610"/>
                  <a:pt x="688543" y="357770"/>
                  <a:pt x="688383" y="357930"/>
                </a:cubicBezTo>
                <a:close/>
                <a:moveTo>
                  <a:pt x="595903" y="406890"/>
                </a:moveTo>
                <a:cubicBezTo>
                  <a:pt x="588543" y="413450"/>
                  <a:pt x="581983" y="421930"/>
                  <a:pt x="576223" y="429930"/>
                </a:cubicBezTo>
                <a:cubicBezTo>
                  <a:pt x="573663" y="433610"/>
                  <a:pt x="571423" y="437770"/>
                  <a:pt x="569343" y="441770"/>
                </a:cubicBezTo>
                <a:cubicBezTo>
                  <a:pt x="569183" y="442090"/>
                  <a:pt x="569023" y="442410"/>
                  <a:pt x="568863" y="442730"/>
                </a:cubicBezTo>
                <a:cubicBezTo>
                  <a:pt x="566463" y="444650"/>
                  <a:pt x="564223" y="446570"/>
                  <a:pt x="561983" y="448490"/>
                </a:cubicBezTo>
                <a:cubicBezTo>
                  <a:pt x="555423" y="453930"/>
                  <a:pt x="548703" y="459690"/>
                  <a:pt x="543103" y="466090"/>
                </a:cubicBezTo>
                <a:cubicBezTo>
                  <a:pt x="536543" y="473610"/>
                  <a:pt x="531263" y="482090"/>
                  <a:pt x="525183" y="489930"/>
                </a:cubicBezTo>
                <a:cubicBezTo>
                  <a:pt x="519263" y="497770"/>
                  <a:pt x="513983" y="506570"/>
                  <a:pt x="509823" y="515370"/>
                </a:cubicBezTo>
                <a:cubicBezTo>
                  <a:pt x="507743" y="519690"/>
                  <a:pt x="505503" y="523530"/>
                  <a:pt x="502943" y="527690"/>
                </a:cubicBezTo>
                <a:cubicBezTo>
                  <a:pt x="500223" y="532170"/>
                  <a:pt x="500063" y="537290"/>
                  <a:pt x="497823" y="542090"/>
                </a:cubicBezTo>
                <a:cubicBezTo>
                  <a:pt x="496863" y="544010"/>
                  <a:pt x="496063" y="546090"/>
                  <a:pt x="495103" y="548010"/>
                </a:cubicBezTo>
                <a:cubicBezTo>
                  <a:pt x="495743" y="543850"/>
                  <a:pt x="496543" y="539690"/>
                  <a:pt x="497663" y="535690"/>
                </a:cubicBezTo>
                <a:cubicBezTo>
                  <a:pt x="498623" y="532010"/>
                  <a:pt x="498463" y="528170"/>
                  <a:pt x="499583" y="524650"/>
                </a:cubicBezTo>
                <a:cubicBezTo>
                  <a:pt x="500543" y="521450"/>
                  <a:pt x="501663" y="518410"/>
                  <a:pt x="502623" y="515370"/>
                </a:cubicBezTo>
                <a:cubicBezTo>
                  <a:pt x="505023" y="507370"/>
                  <a:pt x="507423" y="499370"/>
                  <a:pt x="510303" y="491690"/>
                </a:cubicBezTo>
                <a:cubicBezTo>
                  <a:pt x="515583" y="477610"/>
                  <a:pt x="521663" y="464010"/>
                  <a:pt x="529503" y="451210"/>
                </a:cubicBezTo>
                <a:cubicBezTo>
                  <a:pt x="533183" y="445290"/>
                  <a:pt x="537183" y="439530"/>
                  <a:pt x="541023" y="433610"/>
                </a:cubicBezTo>
                <a:cubicBezTo>
                  <a:pt x="542303" y="431530"/>
                  <a:pt x="545823" y="426890"/>
                  <a:pt x="547743" y="423210"/>
                </a:cubicBezTo>
                <a:cubicBezTo>
                  <a:pt x="552543" y="419210"/>
                  <a:pt x="557503" y="415690"/>
                  <a:pt x="563263" y="412490"/>
                </a:cubicBezTo>
                <a:cubicBezTo>
                  <a:pt x="577983" y="404330"/>
                  <a:pt x="593983" y="400490"/>
                  <a:pt x="609343" y="394090"/>
                </a:cubicBezTo>
                <a:cubicBezTo>
                  <a:pt x="609503" y="394090"/>
                  <a:pt x="609503" y="393930"/>
                  <a:pt x="609663" y="393930"/>
                </a:cubicBezTo>
                <a:cubicBezTo>
                  <a:pt x="605183" y="398250"/>
                  <a:pt x="600703" y="402730"/>
                  <a:pt x="595903" y="406890"/>
                </a:cubicBezTo>
                <a:close/>
                <a:moveTo>
                  <a:pt x="502783" y="450890"/>
                </a:moveTo>
                <a:cubicBezTo>
                  <a:pt x="500863" y="452970"/>
                  <a:pt x="499103" y="455050"/>
                  <a:pt x="497183" y="457130"/>
                </a:cubicBezTo>
                <a:cubicBezTo>
                  <a:pt x="495423" y="459210"/>
                  <a:pt x="493663" y="461450"/>
                  <a:pt x="492063" y="463690"/>
                </a:cubicBezTo>
                <a:cubicBezTo>
                  <a:pt x="493023" y="460330"/>
                  <a:pt x="493663" y="457130"/>
                  <a:pt x="494303" y="453770"/>
                </a:cubicBezTo>
                <a:cubicBezTo>
                  <a:pt x="497503" y="436330"/>
                  <a:pt x="502943" y="416330"/>
                  <a:pt x="498463" y="398570"/>
                </a:cubicBezTo>
                <a:cubicBezTo>
                  <a:pt x="498463" y="398570"/>
                  <a:pt x="498623" y="398570"/>
                  <a:pt x="498623" y="398570"/>
                </a:cubicBezTo>
                <a:cubicBezTo>
                  <a:pt x="504703" y="400170"/>
                  <a:pt x="511103" y="402250"/>
                  <a:pt x="517663" y="403690"/>
                </a:cubicBezTo>
                <a:cubicBezTo>
                  <a:pt x="517503" y="403850"/>
                  <a:pt x="517503" y="404010"/>
                  <a:pt x="517503" y="404170"/>
                </a:cubicBezTo>
                <a:cubicBezTo>
                  <a:pt x="515263" y="412490"/>
                  <a:pt x="511903" y="420330"/>
                  <a:pt x="509823" y="428650"/>
                </a:cubicBezTo>
                <a:cubicBezTo>
                  <a:pt x="508703" y="433130"/>
                  <a:pt x="506623" y="436970"/>
                  <a:pt x="505823" y="441610"/>
                </a:cubicBezTo>
                <a:cubicBezTo>
                  <a:pt x="505343" y="444490"/>
                  <a:pt x="503263" y="446570"/>
                  <a:pt x="502783" y="449610"/>
                </a:cubicBezTo>
                <a:cubicBezTo>
                  <a:pt x="502623" y="450090"/>
                  <a:pt x="502623" y="450570"/>
                  <a:pt x="502783" y="450890"/>
                </a:cubicBezTo>
                <a:close/>
                <a:moveTo>
                  <a:pt x="461983" y="492490"/>
                </a:moveTo>
                <a:cubicBezTo>
                  <a:pt x="461663" y="489930"/>
                  <a:pt x="462943" y="486730"/>
                  <a:pt x="463263" y="484170"/>
                </a:cubicBezTo>
                <a:cubicBezTo>
                  <a:pt x="463583" y="481930"/>
                  <a:pt x="463583" y="479530"/>
                  <a:pt x="463583" y="477130"/>
                </a:cubicBezTo>
                <a:cubicBezTo>
                  <a:pt x="463263" y="465130"/>
                  <a:pt x="466143" y="453130"/>
                  <a:pt x="466303" y="441130"/>
                </a:cubicBezTo>
                <a:cubicBezTo>
                  <a:pt x="466463" y="429450"/>
                  <a:pt x="465023" y="417450"/>
                  <a:pt x="463103" y="406090"/>
                </a:cubicBezTo>
                <a:cubicBezTo>
                  <a:pt x="461823" y="398090"/>
                  <a:pt x="459103" y="391210"/>
                  <a:pt x="456063" y="384170"/>
                </a:cubicBezTo>
                <a:cubicBezTo>
                  <a:pt x="460063" y="386090"/>
                  <a:pt x="464223" y="387850"/>
                  <a:pt x="468383" y="389290"/>
                </a:cubicBezTo>
                <a:cubicBezTo>
                  <a:pt x="469183" y="389610"/>
                  <a:pt x="469983" y="389770"/>
                  <a:pt x="470783" y="390090"/>
                </a:cubicBezTo>
                <a:cubicBezTo>
                  <a:pt x="471423" y="398890"/>
                  <a:pt x="473183" y="407690"/>
                  <a:pt x="474143" y="416490"/>
                </a:cubicBezTo>
                <a:cubicBezTo>
                  <a:pt x="475423" y="427690"/>
                  <a:pt x="473343" y="439370"/>
                  <a:pt x="472063" y="450570"/>
                </a:cubicBezTo>
                <a:cubicBezTo>
                  <a:pt x="470943" y="460810"/>
                  <a:pt x="469983" y="470890"/>
                  <a:pt x="467743" y="480970"/>
                </a:cubicBezTo>
                <a:cubicBezTo>
                  <a:pt x="466463" y="487370"/>
                  <a:pt x="465023" y="493130"/>
                  <a:pt x="464383" y="499210"/>
                </a:cubicBezTo>
                <a:cubicBezTo>
                  <a:pt x="464063" y="498890"/>
                  <a:pt x="463743" y="498730"/>
                  <a:pt x="463263" y="498730"/>
                </a:cubicBezTo>
                <a:cubicBezTo>
                  <a:pt x="463583" y="496490"/>
                  <a:pt x="462303" y="494570"/>
                  <a:pt x="461983" y="492490"/>
                </a:cubicBezTo>
                <a:close/>
                <a:moveTo>
                  <a:pt x="441183" y="397930"/>
                </a:moveTo>
                <a:cubicBezTo>
                  <a:pt x="439903" y="391530"/>
                  <a:pt x="437183" y="385290"/>
                  <a:pt x="435103" y="379050"/>
                </a:cubicBezTo>
                <a:cubicBezTo>
                  <a:pt x="434303" y="376810"/>
                  <a:pt x="433503" y="374410"/>
                  <a:pt x="432383" y="372170"/>
                </a:cubicBezTo>
                <a:cubicBezTo>
                  <a:pt x="434783" y="373450"/>
                  <a:pt x="437183" y="374730"/>
                  <a:pt x="439583" y="375850"/>
                </a:cubicBezTo>
                <a:cubicBezTo>
                  <a:pt x="440063" y="379530"/>
                  <a:pt x="442143" y="383210"/>
                  <a:pt x="442943" y="386890"/>
                </a:cubicBezTo>
                <a:cubicBezTo>
                  <a:pt x="444543" y="393610"/>
                  <a:pt x="446143" y="400170"/>
                  <a:pt x="447263" y="407050"/>
                </a:cubicBezTo>
                <a:cubicBezTo>
                  <a:pt x="449343" y="420330"/>
                  <a:pt x="449663" y="433930"/>
                  <a:pt x="450303" y="447370"/>
                </a:cubicBezTo>
                <a:cubicBezTo>
                  <a:pt x="450943" y="458570"/>
                  <a:pt x="452863" y="469450"/>
                  <a:pt x="453183" y="480650"/>
                </a:cubicBezTo>
                <a:cubicBezTo>
                  <a:pt x="452383" y="477450"/>
                  <a:pt x="451903" y="474090"/>
                  <a:pt x="451263" y="471050"/>
                </a:cubicBezTo>
                <a:cubicBezTo>
                  <a:pt x="450143" y="464810"/>
                  <a:pt x="448543" y="458410"/>
                  <a:pt x="448223" y="452010"/>
                </a:cubicBezTo>
                <a:cubicBezTo>
                  <a:pt x="447903" y="446090"/>
                  <a:pt x="448063" y="440170"/>
                  <a:pt x="447743" y="434250"/>
                </a:cubicBezTo>
                <a:cubicBezTo>
                  <a:pt x="446783" y="421930"/>
                  <a:pt x="443583" y="409930"/>
                  <a:pt x="441183" y="397930"/>
                </a:cubicBezTo>
                <a:close/>
                <a:moveTo>
                  <a:pt x="435743" y="417770"/>
                </a:moveTo>
                <a:cubicBezTo>
                  <a:pt x="433823" y="409450"/>
                  <a:pt x="431743" y="400970"/>
                  <a:pt x="428863" y="392970"/>
                </a:cubicBezTo>
                <a:cubicBezTo>
                  <a:pt x="426303" y="385930"/>
                  <a:pt x="424383" y="378730"/>
                  <a:pt x="421823" y="371690"/>
                </a:cubicBezTo>
                <a:cubicBezTo>
                  <a:pt x="420703" y="368650"/>
                  <a:pt x="419583" y="365450"/>
                  <a:pt x="418303" y="362410"/>
                </a:cubicBezTo>
                <a:cubicBezTo>
                  <a:pt x="420863" y="364810"/>
                  <a:pt x="423743" y="366890"/>
                  <a:pt x="426783" y="368810"/>
                </a:cubicBezTo>
                <a:cubicBezTo>
                  <a:pt x="430463" y="380810"/>
                  <a:pt x="435103" y="392490"/>
                  <a:pt x="437023" y="404970"/>
                </a:cubicBezTo>
                <a:cubicBezTo>
                  <a:pt x="438143" y="412010"/>
                  <a:pt x="440223" y="418890"/>
                  <a:pt x="441183" y="425930"/>
                </a:cubicBezTo>
                <a:cubicBezTo>
                  <a:pt x="442143" y="432490"/>
                  <a:pt x="442303" y="439370"/>
                  <a:pt x="442303" y="446090"/>
                </a:cubicBezTo>
                <a:cubicBezTo>
                  <a:pt x="442303" y="447370"/>
                  <a:pt x="442303" y="448650"/>
                  <a:pt x="442303" y="449930"/>
                </a:cubicBezTo>
                <a:cubicBezTo>
                  <a:pt x="440543" y="439210"/>
                  <a:pt x="438303" y="428490"/>
                  <a:pt x="435743" y="417770"/>
                </a:cubicBezTo>
                <a:close/>
                <a:moveTo>
                  <a:pt x="443103" y="490730"/>
                </a:moveTo>
                <a:cubicBezTo>
                  <a:pt x="441983" y="490730"/>
                  <a:pt x="440703" y="490890"/>
                  <a:pt x="439743" y="491050"/>
                </a:cubicBezTo>
                <a:cubicBezTo>
                  <a:pt x="437823" y="491210"/>
                  <a:pt x="435423" y="491530"/>
                  <a:pt x="433343" y="492490"/>
                </a:cubicBezTo>
                <a:cubicBezTo>
                  <a:pt x="433183" y="492330"/>
                  <a:pt x="433183" y="492170"/>
                  <a:pt x="433183" y="492010"/>
                </a:cubicBezTo>
                <a:cubicBezTo>
                  <a:pt x="429663" y="483850"/>
                  <a:pt x="424703" y="476810"/>
                  <a:pt x="420383" y="469130"/>
                </a:cubicBezTo>
                <a:cubicBezTo>
                  <a:pt x="416223" y="461770"/>
                  <a:pt x="409503" y="456010"/>
                  <a:pt x="405503" y="448650"/>
                </a:cubicBezTo>
                <a:cubicBezTo>
                  <a:pt x="405343" y="448330"/>
                  <a:pt x="405183" y="448010"/>
                  <a:pt x="405023" y="447690"/>
                </a:cubicBezTo>
                <a:cubicBezTo>
                  <a:pt x="404383" y="442890"/>
                  <a:pt x="403743" y="437930"/>
                  <a:pt x="403743" y="432970"/>
                </a:cubicBezTo>
                <a:cubicBezTo>
                  <a:pt x="403583" y="423690"/>
                  <a:pt x="405023" y="414730"/>
                  <a:pt x="406303" y="405450"/>
                </a:cubicBezTo>
                <a:cubicBezTo>
                  <a:pt x="407743" y="393770"/>
                  <a:pt x="410303" y="382410"/>
                  <a:pt x="411583" y="370570"/>
                </a:cubicBezTo>
                <a:cubicBezTo>
                  <a:pt x="411743" y="368650"/>
                  <a:pt x="411903" y="366730"/>
                  <a:pt x="411903" y="364810"/>
                </a:cubicBezTo>
                <a:cubicBezTo>
                  <a:pt x="414623" y="371370"/>
                  <a:pt x="416863" y="378410"/>
                  <a:pt x="418143" y="384970"/>
                </a:cubicBezTo>
                <a:cubicBezTo>
                  <a:pt x="419103" y="389450"/>
                  <a:pt x="421023" y="393290"/>
                  <a:pt x="422623" y="397610"/>
                </a:cubicBezTo>
                <a:cubicBezTo>
                  <a:pt x="424543" y="402890"/>
                  <a:pt x="425663" y="408490"/>
                  <a:pt x="427103" y="413930"/>
                </a:cubicBezTo>
                <a:cubicBezTo>
                  <a:pt x="432703" y="435530"/>
                  <a:pt x="437503" y="457930"/>
                  <a:pt x="440383" y="480010"/>
                </a:cubicBezTo>
                <a:cubicBezTo>
                  <a:pt x="440543" y="483370"/>
                  <a:pt x="441663" y="487050"/>
                  <a:pt x="443103" y="490730"/>
                </a:cubicBezTo>
                <a:close/>
                <a:moveTo>
                  <a:pt x="445663" y="381130"/>
                </a:moveTo>
                <a:cubicBezTo>
                  <a:pt x="445343" y="380010"/>
                  <a:pt x="444863" y="379050"/>
                  <a:pt x="444223" y="378090"/>
                </a:cubicBezTo>
                <a:cubicBezTo>
                  <a:pt x="446783" y="379370"/>
                  <a:pt x="449343" y="380810"/>
                  <a:pt x="451903" y="382090"/>
                </a:cubicBezTo>
                <a:cubicBezTo>
                  <a:pt x="452223" y="384010"/>
                  <a:pt x="453183" y="385930"/>
                  <a:pt x="453663" y="387690"/>
                </a:cubicBezTo>
                <a:cubicBezTo>
                  <a:pt x="455423" y="393930"/>
                  <a:pt x="457023" y="400010"/>
                  <a:pt x="457983" y="406410"/>
                </a:cubicBezTo>
                <a:cubicBezTo>
                  <a:pt x="460063" y="419370"/>
                  <a:pt x="461023" y="432970"/>
                  <a:pt x="460543" y="445930"/>
                </a:cubicBezTo>
                <a:cubicBezTo>
                  <a:pt x="460223" y="452490"/>
                  <a:pt x="459423" y="458890"/>
                  <a:pt x="458623" y="465450"/>
                </a:cubicBezTo>
                <a:cubicBezTo>
                  <a:pt x="458463" y="467370"/>
                  <a:pt x="458303" y="469450"/>
                  <a:pt x="458143" y="471530"/>
                </a:cubicBezTo>
                <a:cubicBezTo>
                  <a:pt x="457343" y="462570"/>
                  <a:pt x="455903" y="453770"/>
                  <a:pt x="455423" y="444650"/>
                </a:cubicBezTo>
                <a:cubicBezTo>
                  <a:pt x="454623" y="432010"/>
                  <a:pt x="454143" y="419370"/>
                  <a:pt x="452063" y="406730"/>
                </a:cubicBezTo>
                <a:cubicBezTo>
                  <a:pt x="451103" y="401130"/>
                  <a:pt x="449663" y="395530"/>
                  <a:pt x="448063" y="390090"/>
                </a:cubicBezTo>
                <a:cubicBezTo>
                  <a:pt x="447263" y="387050"/>
                  <a:pt x="446463" y="384010"/>
                  <a:pt x="445663" y="381130"/>
                </a:cubicBezTo>
                <a:close/>
                <a:moveTo>
                  <a:pt x="473983" y="480010"/>
                </a:moveTo>
                <a:cubicBezTo>
                  <a:pt x="476223" y="469290"/>
                  <a:pt x="477023" y="458250"/>
                  <a:pt x="477983" y="447370"/>
                </a:cubicBezTo>
                <a:cubicBezTo>
                  <a:pt x="478943" y="437130"/>
                  <a:pt x="480223" y="426570"/>
                  <a:pt x="478943" y="416330"/>
                </a:cubicBezTo>
                <a:cubicBezTo>
                  <a:pt x="477983" y="407530"/>
                  <a:pt x="475423" y="399370"/>
                  <a:pt x="473183" y="390890"/>
                </a:cubicBezTo>
                <a:cubicBezTo>
                  <a:pt x="480383" y="393290"/>
                  <a:pt x="487743" y="395530"/>
                  <a:pt x="495103" y="397610"/>
                </a:cubicBezTo>
                <a:cubicBezTo>
                  <a:pt x="494783" y="400970"/>
                  <a:pt x="495103" y="404170"/>
                  <a:pt x="495263" y="407530"/>
                </a:cubicBezTo>
                <a:cubicBezTo>
                  <a:pt x="495583" y="413130"/>
                  <a:pt x="494463" y="418890"/>
                  <a:pt x="493663" y="424330"/>
                </a:cubicBezTo>
                <a:cubicBezTo>
                  <a:pt x="492223" y="433770"/>
                  <a:pt x="489983" y="443050"/>
                  <a:pt x="488543" y="452490"/>
                </a:cubicBezTo>
                <a:cubicBezTo>
                  <a:pt x="487903" y="456810"/>
                  <a:pt x="486623" y="460970"/>
                  <a:pt x="485503" y="465290"/>
                </a:cubicBezTo>
                <a:cubicBezTo>
                  <a:pt x="484063" y="469930"/>
                  <a:pt x="480863" y="473930"/>
                  <a:pt x="479423" y="478570"/>
                </a:cubicBezTo>
                <a:cubicBezTo>
                  <a:pt x="477183" y="485290"/>
                  <a:pt x="472863" y="491210"/>
                  <a:pt x="470623" y="497770"/>
                </a:cubicBezTo>
                <a:cubicBezTo>
                  <a:pt x="471263" y="491850"/>
                  <a:pt x="472703" y="486090"/>
                  <a:pt x="473983" y="480010"/>
                </a:cubicBezTo>
                <a:close/>
                <a:moveTo>
                  <a:pt x="515263" y="429930"/>
                </a:moveTo>
                <a:cubicBezTo>
                  <a:pt x="516543" y="425290"/>
                  <a:pt x="517663" y="420810"/>
                  <a:pt x="519263" y="416170"/>
                </a:cubicBezTo>
                <a:cubicBezTo>
                  <a:pt x="520543" y="412330"/>
                  <a:pt x="521023" y="408490"/>
                  <a:pt x="520383" y="404490"/>
                </a:cubicBezTo>
                <a:cubicBezTo>
                  <a:pt x="520383" y="404490"/>
                  <a:pt x="520383" y="404330"/>
                  <a:pt x="520383" y="404330"/>
                </a:cubicBezTo>
                <a:cubicBezTo>
                  <a:pt x="524063" y="404970"/>
                  <a:pt x="527743" y="405610"/>
                  <a:pt x="531263" y="405610"/>
                </a:cubicBezTo>
                <a:cubicBezTo>
                  <a:pt x="534143" y="405770"/>
                  <a:pt x="536863" y="405930"/>
                  <a:pt x="539743" y="406090"/>
                </a:cubicBezTo>
                <a:cubicBezTo>
                  <a:pt x="531263" y="412490"/>
                  <a:pt x="525503" y="422730"/>
                  <a:pt x="522143" y="432810"/>
                </a:cubicBezTo>
                <a:cubicBezTo>
                  <a:pt x="519583" y="435210"/>
                  <a:pt x="517023" y="437610"/>
                  <a:pt x="514463" y="439850"/>
                </a:cubicBezTo>
                <a:cubicBezTo>
                  <a:pt x="513503" y="440650"/>
                  <a:pt x="512543" y="441610"/>
                  <a:pt x="511583" y="442410"/>
                </a:cubicBezTo>
                <a:cubicBezTo>
                  <a:pt x="512543" y="438090"/>
                  <a:pt x="514143" y="434090"/>
                  <a:pt x="515263" y="429930"/>
                </a:cubicBezTo>
                <a:close/>
                <a:moveTo>
                  <a:pt x="534143" y="419530"/>
                </a:moveTo>
                <a:cubicBezTo>
                  <a:pt x="536863" y="414890"/>
                  <a:pt x="540703" y="411050"/>
                  <a:pt x="543263" y="406250"/>
                </a:cubicBezTo>
                <a:cubicBezTo>
                  <a:pt x="543263" y="406250"/>
                  <a:pt x="543263" y="406250"/>
                  <a:pt x="543263" y="406250"/>
                </a:cubicBezTo>
                <a:cubicBezTo>
                  <a:pt x="546623" y="406410"/>
                  <a:pt x="549823" y="406730"/>
                  <a:pt x="553183" y="406890"/>
                </a:cubicBezTo>
                <a:cubicBezTo>
                  <a:pt x="553023" y="406890"/>
                  <a:pt x="553023" y="407050"/>
                  <a:pt x="552863" y="407050"/>
                </a:cubicBezTo>
                <a:cubicBezTo>
                  <a:pt x="545343" y="411210"/>
                  <a:pt x="539903" y="417450"/>
                  <a:pt x="533343" y="422730"/>
                </a:cubicBezTo>
                <a:cubicBezTo>
                  <a:pt x="532703" y="423210"/>
                  <a:pt x="532223" y="423690"/>
                  <a:pt x="531583" y="424170"/>
                </a:cubicBezTo>
                <a:cubicBezTo>
                  <a:pt x="532383" y="422570"/>
                  <a:pt x="533343" y="421130"/>
                  <a:pt x="534143" y="419530"/>
                </a:cubicBezTo>
                <a:close/>
                <a:moveTo>
                  <a:pt x="589183" y="387370"/>
                </a:moveTo>
                <a:cubicBezTo>
                  <a:pt x="587423" y="389930"/>
                  <a:pt x="584063" y="388330"/>
                  <a:pt x="581503" y="389450"/>
                </a:cubicBezTo>
                <a:cubicBezTo>
                  <a:pt x="573183" y="392810"/>
                  <a:pt x="564063" y="393610"/>
                  <a:pt x="555423" y="396010"/>
                </a:cubicBezTo>
                <a:cubicBezTo>
                  <a:pt x="554143" y="396330"/>
                  <a:pt x="553503" y="397450"/>
                  <a:pt x="553343" y="398570"/>
                </a:cubicBezTo>
                <a:cubicBezTo>
                  <a:pt x="553023" y="398570"/>
                  <a:pt x="552543" y="398730"/>
                  <a:pt x="552223" y="398730"/>
                </a:cubicBezTo>
                <a:cubicBezTo>
                  <a:pt x="545663" y="398410"/>
                  <a:pt x="538943" y="397610"/>
                  <a:pt x="532383" y="397450"/>
                </a:cubicBezTo>
                <a:cubicBezTo>
                  <a:pt x="524703" y="397290"/>
                  <a:pt x="516703" y="394890"/>
                  <a:pt x="509343" y="393130"/>
                </a:cubicBezTo>
                <a:cubicBezTo>
                  <a:pt x="501183" y="391210"/>
                  <a:pt x="493183" y="388970"/>
                  <a:pt x="485183" y="386730"/>
                </a:cubicBezTo>
                <a:cubicBezTo>
                  <a:pt x="477663" y="384650"/>
                  <a:pt x="469823" y="382250"/>
                  <a:pt x="462783" y="379050"/>
                </a:cubicBezTo>
                <a:cubicBezTo>
                  <a:pt x="455903" y="375850"/>
                  <a:pt x="449183" y="372170"/>
                  <a:pt x="442303" y="368970"/>
                </a:cubicBezTo>
                <a:cubicBezTo>
                  <a:pt x="435423" y="365610"/>
                  <a:pt x="428543" y="361930"/>
                  <a:pt x="422783" y="356970"/>
                </a:cubicBezTo>
                <a:cubicBezTo>
                  <a:pt x="419743" y="354410"/>
                  <a:pt x="417343" y="351370"/>
                  <a:pt x="414943" y="348170"/>
                </a:cubicBezTo>
                <a:cubicBezTo>
                  <a:pt x="414943" y="348170"/>
                  <a:pt x="414783" y="347850"/>
                  <a:pt x="414623" y="347530"/>
                </a:cubicBezTo>
                <a:cubicBezTo>
                  <a:pt x="414463" y="347050"/>
                  <a:pt x="414303" y="346730"/>
                  <a:pt x="414303" y="346250"/>
                </a:cubicBezTo>
                <a:cubicBezTo>
                  <a:pt x="414303" y="346090"/>
                  <a:pt x="414303" y="345930"/>
                  <a:pt x="414303" y="345610"/>
                </a:cubicBezTo>
                <a:cubicBezTo>
                  <a:pt x="414303" y="345130"/>
                  <a:pt x="414143" y="344650"/>
                  <a:pt x="413983" y="344170"/>
                </a:cubicBezTo>
                <a:cubicBezTo>
                  <a:pt x="413983" y="343370"/>
                  <a:pt x="413983" y="342410"/>
                  <a:pt x="413983" y="341610"/>
                </a:cubicBezTo>
                <a:cubicBezTo>
                  <a:pt x="414463" y="337770"/>
                  <a:pt x="421343" y="335530"/>
                  <a:pt x="424223" y="334090"/>
                </a:cubicBezTo>
                <a:cubicBezTo>
                  <a:pt x="432383" y="330410"/>
                  <a:pt x="441343" y="329610"/>
                  <a:pt x="450143" y="329290"/>
                </a:cubicBezTo>
                <a:cubicBezTo>
                  <a:pt x="458303" y="328970"/>
                  <a:pt x="466463" y="328650"/>
                  <a:pt x="474623" y="328490"/>
                </a:cubicBezTo>
                <a:cubicBezTo>
                  <a:pt x="475583" y="329930"/>
                  <a:pt x="477343" y="330890"/>
                  <a:pt x="479423" y="330250"/>
                </a:cubicBezTo>
                <a:cubicBezTo>
                  <a:pt x="480703" y="329930"/>
                  <a:pt x="481663" y="329290"/>
                  <a:pt x="482463" y="328490"/>
                </a:cubicBezTo>
                <a:cubicBezTo>
                  <a:pt x="490783" y="328650"/>
                  <a:pt x="499103" y="329130"/>
                  <a:pt x="507583" y="330250"/>
                </a:cubicBezTo>
                <a:cubicBezTo>
                  <a:pt x="525343" y="332490"/>
                  <a:pt x="542943" y="338570"/>
                  <a:pt x="559103" y="346250"/>
                </a:cubicBezTo>
                <a:cubicBezTo>
                  <a:pt x="567103" y="350090"/>
                  <a:pt x="574943" y="354090"/>
                  <a:pt x="581983" y="359530"/>
                </a:cubicBezTo>
                <a:cubicBezTo>
                  <a:pt x="590463" y="366090"/>
                  <a:pt x="591743" y="373130"/>
                  <a:pt x="592383" y="382890"/>
                </a:cubicBezTo>
                <a:cubicBezTo>
                  <a:pt x="591263" y="384490"/>
                  <a:pt x="590303" y="385930"/>
                  <a:pt x="589183" y="387370"/>
                </a:cubicBezTo>
                <a:close/>
                <a:moveTo>
                  <a:pt x="484223" y="314250"/>
                </a:moveTo>
                <a:cubicBezTo>
                  <a:pt x="482623" y="315530"/>
                  <a:pt x="481023" y="316810"/>
                  <a:pt x="479423" y="318250"/>
                </a:cubicBezTo>
                <a:cubicBezTo>
                  <a:pt x="479103" y="318570"/>
                  <a:pt x="478943" y="318890"/>
                  <a:pt x="478623" y="319370"/>
                </a:cubicBezTo>
                <a:cubicBezTo>
                  <a:pt x="476863" y="319370"/>
                  <a:pt x="475103" y="319370"/>
                  <a:pt x="473343" y="319370"/>
                </a:cubicBezTo>
                <a:cubicBezTo>
                  <a:pt x="465343" y="319690"/>
                  <a:pt x="457503" y="320650"/>
                  <a:pt x="449663" y="321290"/>
                </a:cubicBezTo>
                <a:cubicBezTo>
                  <a:pt x="441503" y="321930"/>
                  <a:pt x="433823" y="323050"/>
                  <a:pt x="426303" y="325770"/>
                </a:cubicBezTo>
                <a:cubicBezTo>
                  <a:pt x="427423" y="323690"/>
                  <a:pt x="428383" y="321770"/>
                  <a:pt x="429823" y="320170"/>
                </a:cubicBezTo>
                <a:cubicBezTo>
                  <a:pt x="433663" y="315530"/>
                  <a:pt x="437663" y="310890"/>
                  <a:pt x="441663" y="306250"/>
                </a:cubicBezTo>
                <a:cubicBezTo>
                  <a:pt x="444863" y="302410"/>
                  <a:pt x="449503" y="298410"/>
                  <a:pt x="451583" y="293770"/>
                </a:cubicBezTo>
                <a:cubicBezTo>
                  <a:pt x="453343" y="289770"/>
                  <a:pt x="457023" y="287530"/>
                  <a:pt x="459263" y="284010"/>
                </a:cubicBezTo>
                <a:cubicBezTo>
                  <a:pt x="462303" y="279370"/>
                  <a:pt x="464863" y="274570"/>
                  <a:pt x="468223" y="270090"/>
                </a:cubicBezTo>
                <a:cubicBezTo>
                  <a:pt x="474463" y="261450"/>
                  <a:pt x="479583" y="251850"/>
                  <a:pt x="485183" y="242730"/>
                </a:cubicBezTo>
                <a:cubicBezTo>
                  <a:pt x="491263" y="232650"/>
                  <a:pt x="496063" y="221610"/>
                  <a:pt x="500063" y="210570"/>
                </a:cubicBezTo>
                <a:cubicBezTo>
                  <a:pt x="503743" y="200650"/>
                  <a:pt x="507743" y="190410"/>
                  <a:pt x="509983" y="180010"/>
                </a:cubicBezTo>
                <a:cubicBezTo>
                  <a:pt x="511743" y="171530"/>
                  <a:pt x="514143" y="162890"/>
                  <a:pt x="514943" y="154090"/>
                </a:cubicBezTo>
                <a:cubicBezTo>
                  <a:pt x="515263" y="150410"/>
                  <a:pt x="515743" y="146730"/>
                  <a:pt x="515903" y="143210"/>
                </a:cubicBezTo>
                <a:cubicBezTo>
                  <a:pt x="516223" y="143530"/>
                  <a:pt x="516383" y="143850"/>
                  <a:pt x="516703" y="144170"/>
                </a:cubicBezTo>
                <a:cubicBezTo>
                  <a:pt x="516703" y="144170"/>
                  <a:pt x="516863" y="144330"/>
                  <a:pt x="516863" y="144330"/>
                </a:cubicBezTo>
                <a:cubicBezTo>
                  <a:pt x="518303" y="149450"/>
                  <a:pt x="519743" y="154570"/>
                  <a:pt x="521023" y="159690"/>
                </a:cubicBezTo>
                <a:cubicBezTo>
                  <a:pt x="523903" y="170410"/>
                  <a:pt x="524863" y="180810"/>
                  <a:pt x="524863" y="191850"/>
                </a:cubicBezTo>
                <a:cubicBezTo>
                  <a:pt x="525023" y="203530"/>
                  <a:pt x="525183" y="214730"/>
                  <a:pt x="522623" y="226250"/>
                </a:cubicBezTo>
                <a:cubicBezTo>
                  <a:pt x="518143" y="246090"/>
                  <a:pt x="515263" y="266250"/>
                  <a:pt x="504863" y="284010"/>
                </a:cubicBezTo>
                <a:cubicBezTo>
                  <a:pt x="500863" y="290890"/>
                  <a:pt x="497023" y="297770"/>
                  <a:pt x="492703" y="304490"/>
                </a:cubicBezTo>
                <a:cubicBezTo>
                  <a:pt x="490623" y="307370"/>
                  <a:pt x="487263" y="311850"/>
                  <a:pt x="484223" y="314250"/>
                </a:cubicBezTo>
                <a:close/>
                <a:moveTo>
                  <a:pt x="512383" y="134890"/>
                </a:moveTo>
                <a:cubicBezTo>
                  <a:pt x="512063" y="136170"/>
                  <a:pt x="512223" y="138410"/>
                  <a:pt x="512223" y="139690"/>
                </a:cubicBezTo>
                <a:cubicBezTo>
                  <a:pt x="512063" y="143050"/>
                  <a:pt x="511103" y="146250"/>
                  <a:pt x="510623" y="149610"/>
                </a:cubicBezTo>
                <a:cubicBezTo>
                  <a:pt x="509983" y="154090"/>
                  <a:pt x="509503" y="158410"/>
                  <a:pt x="508063" y="162890"/>
                </a:cubicBezTo>
                <a:cubicBezTo>
                  <a:pt x="506623" y="167210"/>
                  <a:pt x="507263" y="171690"/>
                  <a:pt x="505183" y="175690"/>
                </a:cubicBezTo>
                <a:cubicBezTo>
                  <a:pt x="503263" y="179530"/>
                  <a:pt x="502783" y="184970"/>
                  <a:pt x="501343" y="188970"/>
                </a:cubicBezTo>
                <a:cubicBezTo>
                  <a:pt x="499583" y="193930"/>
                  <a:pt x="497823" y="199050"/>
                  <a:pt x="496063" y="204010"/>
                </a:cubicBezTo>
                <a:cubicBezTo>
                  <a:pt x="492223" y="215050"/>
                  <a:pt x="487423" y="225610"/>
                  <a:pt x="481823" y="235850"/>
                </a:cubicBezTo>
                <a:cubicBezTo>
                  <a:pt x="479423" y="240170"/>
                  <a:pt x="476703" y="244330"/>
                  <a:pt x="474143" y="248490"/>
                </a:cubicBezTo>
                <a:cubicBezTo>
                  <a:pt x="471103" y="253450"/>
                  <a:pt x="468703" y="259690"/>
                  <a:pt x="464863" y="264010"/>
                </a:cubicBezTo>
                <a:cubicBezTo>
                  <a:pt x="461983" y="267210"/>
                  <a:pt x="459743" y="271050"/>
                  <a:pt x="457503" y="274730"/>
                </a:cubicBezTo>
                <a:cubicBezTo>
                  <a:pt x="456223" y="276810"/>
                  <a:pt x="454783" y="278730"/>
                  <a:pt x="453823" y="280970"/>
                </a:cubicBezTo>
                <a:cubicBezTo>
                  <a:pt x="453023" y="282730"/>
                  <a:pt x="450303" y="284010"/>
                  <a:pt x="449023" y="285610"/>
                </a:cubicBezTo>
                <a:cubicBezTo>
                  <a:pt x="446143" y="289130"/>
                  <a:pt x="444383" y="293290"/>
                  <a:pt x="441343" y="296810"/>
                </a:cubicBezTo>
                <a:cubicBezTo>
                  <a:pt x="437343" y="301450"/>
                  <a:pt x="433503" y="306250"/>
                  <a:pt x="429503" y="310890"/>
                </a:cubicBezTo>
                <a:cubicBezTo>
                  <a:pt x="426783" y="314090"/>
                  <a:pt x="424063" y="317130"/>
                  <a:pt x="421663" y="320650"/>
                </a:cubicBezTo>
                <a:cubicBezTo>
                  <a:pt x="420383" y="322730"/>
                  <a:pt x="419103" y="326890"/>
                  <a:pt x="417183" y="329610"/>
                </a:cubicBezTo>
                <a:cubicBezTo>
                  <a:pt x="415903" y="330250"/>
                  <a:pt x="414623" y="331050"/>
                  <a:pt x="413503" y="331690"/>
                </a:cubicBezTo>
                <a:cubicBezTo>
                  <a:pt x="412703" y="332170"/>
                  <a:pt x="412063" y="332810"/>
                  <a:pt x="411423" y="333290"/>
                </a:cubicBezTo>
                <a:cubicBezTo>
                  <a:pt x="408383" y="333290"/>
                  <a:pt x="405823" y="335690"/>
                  <a:pt x="404383" y="338570"/>
                </a:cubicBezTo>
                <a:cubicBezTo>
                  <a:pt x="401823" y="343690"/>
                  <a:pt x="403743" y="350570"/>
                  <a:pt x="406623" y="355050"/>
                </a:cubicBezTo>
                <a:cubicBezTo>
                  <a:pt x="406783" y="355210"/>
                  <a:pt x="406943" y="355530"/>
                  <a:pt x="406943" y="355690"/>
                </a:cubicBezTo>
                <a:cubicBezTo>
                  <a:pt x="406463" y="358730"/>
                  <a:pt x="406623" y="362250"/>
                  <a:pt x="406623" y="364010"/>
                </a:cubicBezTo>
                <a:cubicBezTo>
                  <a:pt x="406783" y="370250"/>
                  <a:pt x="404863" y="377290"/>
                  <a:pt x="403903" y="383370"/>
                </a:cubicBezTo>
                <a:cubicBezTo>
                  <a:pt x="402783" y="390890"/>
                  <a:pt x="400863" y="398250"/>
                  <a:pt x="399903" y="405770"/>
                </a:cubicBezTo>
                <a:cubicBezTo>
                  <a:pt x="399583" y="407850"/>
                  <a:pt x="397343" y="422090"/>
                  <a:pt x="397183" y="433930"/>
                </a:cubicBezTo>
                <a:cubicBezTo>
                  <a:pt x="395743" y="431530"/>
                  <a:pt x="394143" y="429130"/>
                  <a:pt x="392383" y="426890"/>
                </a:cubicBezTo>
                <a:cubicBezTo>
                  <a:pt x="385023" y="417450"/>
                  <a:pt x="376543" y="408330"/>
                  <a:pt x="366783" y="400970"/>
                </a:cubicBezTo>
                <a:cubicBezTo>
                  <a:pt x="365823" y="395370"/>
                  <a:pt x="367423" y="385290"/>
                  <a:pt x="367583" y="382890"/>
                </a:cubicBezTo>
                <a:cubicBezTo>
                  <a:pt x="368383" y="366890"/>
                  <a:pt x="374783" y="350410"/>
                  <a:pt x="380863" y="335690"/>
                </a:cubicBezTo>
                <a:cubicBezTo>
                  <a:pt x="393343" y="305930"/>
                  <a:pt x="410143" y="278090"/>
                  <a:pt x="427423" y="250890"/>
                </a:cubicBezTo>
                <a:cubicBezTo>
                  <a:pt x="444063" y="224490"/>
                  <a:pt x="463263" y="200010"/>
                  <a:pt x="479583" y="173450"/>
                </a:cubicBezTo>
                <a:cubicBezTo>
                  <a:pt x="483583" y="166890"/>
                  <a:pt x="485663" y="159530"/>
                  <a:pt x="488703" y="152650"/>
                </a:cubicBezTo>
                <a:cubicBezTo>
                  <a:pt x="491903" y="145610"/>
                  <a:pt x="495423" y="139050"/>
                  <a:pt x="498143" y="131690"/>
                </a:cubicBezTo>
                <a:cubicBezTo>
                  <a:pt x="499743" y="127530"/>
                  <a:pt x="500703" y="123050"/>
                  <a:pt x="501183" y="118570"/>
                </a:cubicBezTo>
                <a:cubicBezTo>
                  <a:pt x="501343" y="116970"/>
                  <a:pt x="501183" y="111370"/>
                  <a:pt x="501983" y="107850"/>
                </a:cubicBezTo>
                <a:cubicBezTo>
                  <a:pt x="503423" y="110410"/>
                  <a:pt x="504703" y="113450"/>
                  <a:pt x="505343" y="114890"/>
                </a:cubicBezTo>
                <a:cubicBezTo>
                  <a:pt x="507903" y="119690"/>
                  <a:pt x="509983" y="124650"/>
                  <a:pt x="511903" y="129610"/>
                </a:cubicBezTo>
                <a:cubicBezTo>
                  <a:pt x="512223" y="130250"/>
                  <a:pt x="512383" y="131050"/>
                  <a:pt x="512703" y="131690"/>
                </a:cubicBezTo>
                <a:cubicBezTo>
                  <a:pt x="512863" y="132970"/>
                  <a:pt x="512703" y="133930"/>
                  <a:pt x="512383" y="134890"/>
                </a:cubicBezTo>
                <a:close/>
                <a:moveTo>
                  <a:pt x="496703" y="121610"/>
                </a:moveTo>
                <a:cubicBezTo>
                  <a:pt x="493823" y="129770"/>
                  <a:pt x="491423" y="137610"/>
                  <a:pt x="487263" y="145290"/>
                </a:cubicBezTo>
                <a:cubicBezTo>
                  <a:pt x="483103" y="153130"/>
                  <a:pt x="480543" y="161770"/>
                  <a:pt x="476223" y="169450"/>
                </a:cubicBezTo>
                <a:cubicBezTo>
                  <a:pt x="472063" y="177130"/>
                  <a:pt x="466463" y="184170"/>
                  <a:pt x="461503" y="191370"/>
                </a:cubicBezTo>
                <a:cubicBezTo>
                  <a:pt x="456703" y="198090"/>
                  <a:pt x="453343" y="205610"/>
                  <a:pt x="448383" y="212010"/>
                </a:cubicBezTo>
                <a:cubicBezTo>
                  <a:pt x="437343" y="226090"/>
                  <a:pt x="428063" y="240970"/>
                  <a:pt x="418303" y="256010"/>
                </a:cubicBezTo>
                <a:cubicBezTo>
                  <a:pt x="408383" y="271370"/>
                  <a:pt x="399583" y="287530"/>
                  <a:pt x="390623" y="303530"/>
                </a:cubicBezTo>
                <a:cubicBezTo>
                  <a:pt x="382463" y="318090"/>
                  <a:pt x="374463" y="334410"/>
                  <a:pt x="369983" y="350410"/>
                </a:cubicBezTo>
                <a:cubicBezTo>
                  <a:pt x="367423" y="359370"/>
                  <a:pt x="364543" y="368010"/>
                  <a:pt x="363103" y="377130"/>
                </a:cubicBezTo>
                <a:cubicBezTo>
                  <a:pt x="362463" y="381610"/>
                  <a:pt x="362303" y="386410"/>
                  <a:pt x="361983" y="391050"/>
                </a:cubicBezTo>
                <a:cubicBezTo>
                  <a:pt x="361823" y="392650"/>
                  <a:pt x="361663" y="394890"/>
                  <a:pt x="361663" y="397130"/>
                </a:cubicBezTo>
                <a:cubicBezTo>
                  <a:pt x="360063" y="396010"/>
                  <a:pt x="358463" y="395050"/>
                  <a:pt x="356863" y="394090"/>
                </a:cubicBezTo>
                <a:cubicBezTo>
                  <a:pt x="357823" y="391690"/>
                  <a:pt x="357983" y="389130"/>
                  <a:pt x="358783" y="386410"/>
                </a:cubicBezTo>
                <a:cubicBezTo>
                  <a:pt x="361183" y="378730"/>
                  <a:pt x="358783" y="368490"/>
                  <a:pt x="358463" y="360650"/>
                </a:cubicBezTo>
                <a:cubicBezTo>
                  <a:pt x="358463" y="360650"/>
                  <a:pt x="358463" y="360650"/>
                  <a:pt x="358463" y="360490"/>
                </a:cubicBezTo>
                <a:cubicBezTo>
                  <a:pt x="359583" y="341930"/>
                  <a:pt x="362783" y="323210"/>
                  <a:pt x="368383" y="305610"/>
                </a:cubicBezTo>
                <a:cubicBezTo>
                  <a:pt x="372223" y="293610"/>
                  <a:pt x="377183" y="282250"/>
                  <a:pt x="383583" y="271370"/>
                </a:cubicBezTo>
                <a:cubicBezTo>
                  <a:pt x="386783" y="265930"/>
                  <a:pt x="391103" y="261290"/>
                  <a:pt x="395263" y="256650"/>
                </a:cubicBezTo>
                <a:cubicBezTo>
                  <a:pt x="399103" y="252010"/>
                  <a:pt x="402303" y="246890"/>
                  <a:pt x="405663" y="241770"/>
                </a:cubicBezTo>
                <a:cubicBezTo>
                  <a:pt x="418943" y="221130"/>
                  <a:pt x="435263" y="202730"/>
                  <a:pt x="449023" y="182410"/>
                </a:cubicBezTo>
                <a:cubicBezTo>
                  <a:pt x="452383" y="177450"/>
                  <a:pt x="455583" y="172490"/>
                  <a:pt x="458943" y="167690"/>
                </a:cubicBezTo>
                <a:cubicBezTo>
                  <a:pt x="461823" y="163530"/>
                  <a:pt x="463423" y="159050"/>
                  <a:pt x="465983" y="154890"/>
                </a:cubicBezTo>
                <a:cubicBezTo>
                  <a:pt x="469983" y="148330"/>
                  <a:pt x="475423" y="139370"/>
                  <a:pt x="476543" y="130890"/>
                </a:cubicBezTo>
                <a:cubicBezTo>
                  <a:pt x="480863" y="126890"/>
                  <a:pt x="485183" y="122890"/>
                  <a:pt x="489503" y="118890"/>
                </a:cubicBezTo>
                <a:cubicBezTo>
                  <a:pt x="492543" y="116170"/>
                  <a:pt x="495583" y="113290"/>
                  <a:pt x="498623" y="110410"/>
                </a:cubicBezTo>
                <a:cubicBezTo>
                  <a:pt x="497663" y="114890"/>
                  <a:pt x="497503" y="119530"/>
                  <a:pt x="496703" y="121610"/>
                </a:cubicBezTo>
                <a:close/>
                <a:moveTo>
                  <a:pt x="443423" y="514410"/>
                </a:moveTo>
                <a:cubicBezTo>
                  <a:pt x="443263" y="513930"/>
                  <a:pt x="442943" y="513450"/>
                  <a:pt x="442783" y="512970"/>
                </a:cubicBezTo>
                <a:cubicBezTo>
                  <a:pt x="440063" y="507370"/>
                  <a:pt x="437503" y="501610"/>
                  <a:pt x="434943" y="495850"/>
                </a:cubicBezTo>
                <a:cubicBezTo>
                  <a:pt x="435583" y="495530"/>
                  <a:pt x="436383" y="495370"/>
                  <a:pt x="437023" y="495370"/>
                </a:cubicBezTo>
                <a:cubicBezTo>
                  <a:pt x="438783" y="495050"/>
                  <a:pt x="440863" y="495210"/>
                  <a:pt x="442623" y="495050"/>
                </a:cubicBezTo>
                <a:cubicBezTo>
                  <a:pt x="443583" y="495050"/>
                  <a:pt x="444543" y="494890"/>
                  <a:pt x="445343" y="495050"/>
                </a:cubicBezTo>
                <a:cubicBezTo>
                  <a:pt x="447743" y="499050"/>
                  <a:pt x="450783" y="502730"/>
                  <a:pt x="454303" y="505610"/>
                </a:cubicBezTo>
                <a:cubicBezTo>
                  <a:pt x="452703" y="506090"/>
                  <a:pt x="451263" y="507210"/>
                  <a:pt x="450143" y="508810"/>
                </a:cubicBezTo>
                <a:cubicBezTo>
                  <a:pt x="448063" y="509610"/>
                  <a:pt x="446623" y="511530"/>
                  <a:pt x="444863" y="512810"/>
                </a:cubicBezTo>
                <a:cubicBezTo>
                  <a:pt x="444223" y="513290"/>
                  <a:pt x="443743" y="513770"/>
                  <a:pt x="443423" y="514410"/>
                </a:cubicBezTo>
                <a:close/>
                <a:moveTo>
                  <a:pt x="445823" y="519370"/>
                </a:moveTo>
                <a:cubicBezTo>
                  <a:pt x="447263" y="517770"/>
                  <a:pt x="448223" y="516330"/>
                  <a:pt x="449663" y="514890"/>
                </a:cubicBezTo>
                <a:cubicBezTo>
                  <a:pt x="450463" y="514090"/>
                  <a:pt x="450943" y="513130"/>
                  <a:pt x="452063" y="512810"/>
                </a:cubicBezTo>
                <a:cubicBezTo>
                  <a:pt x="452543" y="512650"/>
                  <a:pt x="453183" y="512170"/>
                  <a:pt x="453343" y="511690"/>
                </a:cubicBezTo>
                <a:cubicBezTo>
                  <a:pt x="454143" y="509770"/>
                  <a:pt x="455743" y="508810"/>
                  <a:pt x="457663" y="507850"/>
                </a:cubicBezTo>
                <a:cubicBezTo>
                  <a:pt x="457663" y="507850"/>
                  <a:pt x="457663" y="507850"/>
                  <a:pt x="457663" y="507850"/>
                </a:cubicBezTo>
                <a:cubicBezTo>
                  <a:pt x="459903" y="509130"/>
                  <a:pt x="462463" y="510090"/>
                  <a:pt x="465023" y="510570"/>
                </a:cubicBezTo>
                <a:cubicBezTo>
                  <a:pt x="463743" y="512170"/>
                  <a:pt x="462943" y="514410"/>
                  <a:pt x="461823" y="516170"/>
                </a:cubicBezTo>
                <a:cubicBezTo>
                  <a:pt x="458623" y="521290"/>
                  <a:pt x="456703" y="526890"/>
                  <a:pt x="454303" y="532490"/>
                </a:cubicBezTo>
                <a:cubicBezTo>
                  <a:pt x="453023" y="535690"/>
                  <a:pt x="451903" y="538890"/>
                  <a:pt x="450943" y="542250"/>
                </a:cubicBezTo>
                <a:cubicBezTo>
                  <a:pt x="450623" y="540490"/>
                  <a:pt x="450463" y="538570"/>
                  <a:pt x="450143" y="536650"/>
                </a:cubicBezTo>
                <a:cubicBezTo>
                  <a:pt x="449183" y="530570"/>
                  <a:pt x="447583" y="525130"/>
                  <a:pt x="445343" y="519530"/>
                </a:cubicBezTo>
                <a:cubicBezTo>
                  <a:pt x="445823" y="519690"/>
                  <a:pt x="445823" y="519530"/>
                  <a:pt x="445823" y="519370"/>
                </a:cubicBezTo>
                <a:close/>
                <a:moveTo>
                  <a:pt x="506623" y="544650"/>
                </a:moveTo>
                <a:cubicBezTo>
                  <a:pt x="508223" y="541130"/>
                  <a:pt x="508383" y="537130"/>
                  <a:pt x="509983" y="533610"/>
                </a:cubicBezTo>
                <a:cubicBezTo>
                  <a:pt x="511743" y="530090"/>
                  <a:pt x="514143" y="526890"/>
                  <a:pt x="516063" y="523370"/>
                </a:cubicBezTo>
                <a:cubicBezTo>
                  <a:pt x="520383" y="515530"/>
                  <a:pt x="524223" y="507850"/>
                  <a:pt x="529183" y="500330"/>
                </a:cubicBezTo>
                <a:cubicBezTo>
                  <a:pt x="540063" y="483850"/>
                  <a:pt x="551903" y="468970"/>
                  <a:pt x="566943" y="456330"/>
                </a:cubicBezTo>
                <a:cubicBezTo>
                  <a:pt x="567423" y="455850"/>
                  <a:pt x="567903" y="455530"/>
                  <a:pt x="568383" y="455050"/>
                </a:cubicBezTo>
                <a:cubicBezTo>
                  <a:pt x="568703" y="454890"/>
                  <a:pt x="568863" y="454730"/>
                  <a:pt x="569183" y="454410"/>
                </a:cubicBezTo>
                <a:cubicBezTo>
                  <a:pt x="569183" y="454410"/>
                  <a:pt x="569183" y="454250"/>
                  <a:pt x="569343" y="454250"/>
                </a:cubicBezTo>
                <a:cubicBezTo>
                  <a:pt x="582623" y="443050"/>
                  <a:pt x="596543" y="431530"/>
                  <a:pt x="612863" y="425130"/>
                </a:cubicBezTo>
                <a:cubicBezTo>
                  <a:pt x="620543" y="422090"/>
                  <a:pt x="628383" y="419370"/>
                  <a:pt x="636383" y="417450"/>
                </a:cubicBezTo>
                <a:cubicBezTo>
                  <a:pt x="645503" y="415370"/>
                  <a:pt x="654943" y="415210"/>
                  <a:pt x="664223" y="413610"/>
                </a:cubicBezTo>
                <a:cubicBezTo>
                  <a:pt x="669663" y="412650"/>
                  <a:pt x="674463" y="413450"/>
                  <a:pt x="679423" y="414410"/>
                </a:cubicBezTo>
                <a:cubicBezTo>
                  <a:pt x="674303" y="416010"/>
                  <a:pt x="669183" y="418090"/>
                  <a:pt x="664543" y="419850"/>
                </a:cubicBezTo>
                <a:cubicBezTo>
                  <a:pt x="653663" y="423850"/>
                  <a:pt x="642943" y="428810"/>
                  <a:pt x="632543" y="434090"/>
                </a:cubicBezTo>
                <a:cubicBezTo>
                  <a:pt x="622463" y="439210"/>
                  <a:pt x="611423" y="443530"/>
                  <a:pt x="603103" y="451370"/>
                </a:cubicBezTo>
                <a:cubicBezTo>
                  <a:pt x="593503" y="460650"/>
                  <a:pt x="582943" y="468650"/>
                  <a:pt x="573823" y="478570"/>
                </a:cubicBezTo>
                <a:cubicBezTo>
                  <a:pt x="557183" y="496810"/>
                  <a:pt x="539263" y="515370"/>
                  <a:pt x="526143" y="536490"/>
                </a:cubicBezTo>
                <a:cubicBezTo>
                  <a:pt x="519263" y="547530"/>
                  <a:pt x="513183" y="558890"/>
                  <a:pt x="507583" y="570570"/>
                </a:cubicBezTo>
                <a:cubicBezTo>
                  <a:pt x="505023" y="576010"/>
                  <a:pt x="502623" y="581450"/>
                  <a:pt x="499903" y="586730"/>
                </a:cubicBezTo>
                <a:cubicBezTo>
                  <a:pt x="499103" y="588490"/>
                  <a:pt x="498463" y="592010"/>
                  <a:pt x="497503" y="594890"/>
                </a:cubicBezTo>
                <a:cubicBezTo>
                  <a:pt x="497343" y="594730"/>
                  <a:pt x="497183" y="594730"/>
                  <a:pt x="497023" y="594570"/>
                </a:cubicBezTo>
                <a:cubicBezTo>
                  <a:pt x="493503" y="576810"/>
                  <a:pt x="499103" y="560810"/>
                  <a:pt x="506623" y="544650"/>
                </a:cubicBezTo>
                <a:close/>
                <a:moveTo>
                  <a:pt x="506623" y="583850"/>
                </a:moveTo>
                <a:cubicBezTo>
                  <a:pt x="512223" y="572650"/>
                  <a:pt x="517823" y="561450"/>
                  <a:pt x="523903" y="550570"/>
                </a:cubicBezTo>
                <a:cubicBezTo>
                  <a:pt x="537183" y="527530"/>
                  <a:pt x="554943" y="508810"/>
                  <a:pt x="572223" y="488810"/>
                </a:cubicBezTo>
                <a:cubicBezTo>
                  <a:pt x="580223" y="479530"/>
                  <a:pt x="588863" y="470570"/>
                  <a:pt x="598463" y="462890"/>
                </a:cubicBezTo>
                <a:cubicBezTo>
                  <a:pt x="602943" y="459370"/>
                  <a:pt x="606783" y="455210"/>
                  <a:pt x="611423" y="451690"/>
                </a:cubicBezTo>
                <a:cubicBezTo>
                  <a:pt x="616543" y="447690"/>
                  <a:pt x="623263" y="444810"/>
                  <a:pt x="629023" y="441930"/>
                </a:cubicBezTo>
                <a:cubicBezTo>
                  <a:pt x="640063" y="436650"/>
                  <a:pt x="651103" y="431690"/>
                  <a:pt x="662463" y="426890"/>
                </a:cubicBezTo>
                <a:cubicBezTo>
                  <a:pt x="667903" y="424490"/>
                  <a:pt x="673503" y="422730"/>
                  <a:pt x="679263" y="420970"/>
                </a:cubicBezTo>
                <a:cubicBezTo>
                  <a:pt x="684063" y="419530"/>
                  <a:pt x="689023" y="417450"/>
                  <a:pt x="694143" y="417290"/>
                </a:cubicBezTo>
                <a:cubicBezTo>
                  <a:pt x="694623" y="417290"/>
                  <a:pt x="695103" y="417130"/>
                  <a:pt x="695423" y="416970"/>
                </a:cubicBezTo>
                <a:cubicBezTo>
                  <a:pt x="697343" y="417130"/>
                  <a:pt x="699423" y="417290"/>
                  <a:pt x="701343" y="417610"/>
                </a:cubicBezTo>
                <a:cubicBezTo>
                  <a:pt x="706303" y="418410"/>
                  <a:pt x="711583" y="420490"/>
                  <a:pt x="716543" y="422090"/>
                </a:cubicBezTo>
                <a:cubicBezTo>
                  <a:pt x="725023" y="424970"/>
                  <a:pt x="733663" y="427690"/>
                  <a:pt x="742143" y="430250"/>
                </a:cubicBezTo>
                <a:cubicBezTo>
                  <a:pt x="741823" y="430410"/>
                  <a:pt x="741663" y="430410"/>
                  <a:pt x="741343" y="430570"/>
                </a:cubicBezTo>
                <a:cubicBezTo>
                  <a:pt x="735103" y="433770"/>
                  <a:pt x="729023" y="436970"/>
                  <a:pt x="722623" y="439850"/>
                </a:cubicBezTo>
                <a:cubicBezTo>
                  <a:pt x="711103" y="444970"/>
                  <a:pt x="699263" y="449130"/>
                  <a:pt x="687423" y="453770"/>
                </a:cubicBezTo>
                <a:cubicBezTo>
                  <a:pt x="662623" y="463370"/>
                  <a:pt x="639103" y="475370"/>
                  <a:pt x="618143" y="492010"/>
                </a:cubicBezTo>
                <a:cubicBezTo>
                  <a:pt x="608063" y="500010"/>
                  <a:pt x="598783" y="508810"/>
                  <a:pt x="588863" y="516970"/>
                </a:cubicBezTo>
                <a:cubicBezTo>
                  <a:pt x="579103" y="524810"/>
                  <a:pt x="569983" y="534090"/>
                  <a:pt x="561343" y="543210"/>
                </a:cubicBezTo>
                <a:cubicBezTo>
                  <a:pt x="552223" y="552970"/>
                  <a:pt x="543103" y="562570"/>
                  <a:pt x="534303" y="572650"/>
                </a:cubicBezTo>
                <a:cubicBezTo>
                  <a:pt x="529983" y="577610"/>
                  <a:pt x="526143" y="582730"/>
                  <a:pt x="521823" y="587690"/>
                </a:cubicBezTo>
                <a:cubicBezTo>
                  <a:pt x="517823" y="592330"/>
                  <a:pt x="512863" y="596490"/>
                  <a:pt x="509183" y="601290"/>
                </a:cubicBezTo>
                <a:cubicBezTo>
                  <a:pt x="506623" y="599530"/>
                  <a:pt x="503903" y="597930"/>
                  <a:pt x="501183" y="596490"/>
                </a:cubicBezTo>
                <a:cubicBezTo>
                  <a:pt x="503743" y="592650"/>
                  <a:pt x="505183" y="586890"/>
                  <a:pt x="506623" y="583850"/>
                </a:cubicBezTo>
                <a:close/>
                <a:moveTo>
                  <a:pt x="533983" y="581610"/>
                </a:moveTo>
                <a:cubicBezTo>
                  <a:pt x="542303" y="571210"/>
                  <a:pt x="552063" y="562090"/>
                  <a:pt x="561023" y="552170"/>
                </a:cubicBezTo>
                <a:cubicBezTo>
                  <a:pt x="578303" y="532970"/>
                  <a:pt x="598303" y="516490"/>
                  <a:pt x="617983" y="500010"/>
                </a:cubicBezTo>
                <a:cubicBezTo>
                  <a:pt x="637503" y="483530"/>
                  <a:pt x="661183" y="469770"/>
                  <a:pt x="685343" y="461290"/>
                </a:cubicBezTo>
                <a:cubicBezTo>
                  <a:pt x="697183" y="457130"/>
                  <a:pt x="708703" y="452170"/>
                  <a:pt x="720383" y="447690"/>
                </a:cubicBezTo>
                <a:cubicBezTo>
                  <a:pt x="731903" y="443370"/>
                  <a:pt x="741823" y="436010"/>
                  <a:pt x="753983" y="433930"/>
                </a:cubicBezTo>
                <a:cubicBezTo>
                  <a:pt x="758623" y="435370"/>
                  <a:pt x="763263" y="436650"/>
                  <a:pt x="767903" y="438090"/>
                </a:cubicBezTo>
                <a:cubicBezTo>
                  <a:pt x="773663" y="439690"/>
                  <a:pt x="779103" y="441770"/>
                  <a:pt x="784543" y="444010"/>
                </a:cubicBezTo>
                <a:cubicBezTo>
                  <a:pt x="784223" y="444010"/>
                  <a:pt x="783903" y="444010"/>
                  <a:pt x="783583" y="444010"/>
                </a:cubicBezTo>
                <a:cubicBezTo>
                  <a:pt x="776703" y="444330"/>
                  <a:pt x="770303" y="446090"/>
                  <a:pt x="763583" y="446890"/>
                </a:cubicBezTo>
                <a:cubicBezTo>
                  <a:pt x="758783" y="447530"/>
                  <a:pt x="753343" y="450410"/>
                  <a:pt x="749023" y="452650"/>
                </a:cubicBezTo>
                <a:cubicBezTo>
                  <a:pt x="742463" y="455850"/>
                  <a:pt x="736063" y="459210"/>
                  <a:pt x="729503" y="462250"/>
                </a:cubicBezTo>
                <a:cubicBezTo>
                  <a:pt x="715583" y="468650"/>
                  <a:pt x="701823" y="476650"/>
                  <a:pt x="688863" y="484810"/>
                </a:cubicBezTo>
                <a:cubicBezTo>
                  <a:pt x="682943" y="488650"/>
                  <a:pt x="677343" y="492810"/>
                  <a:pt x="671903" y="497130"/>
                </a:cubicBezTo>
                <a:cubicBezTo>
                  <a:pt x="665823" y="501770"/>
                  <a:pt x="659263" y="505930"/>
                  <a:pt x="653183" y="510730"/>
                </a:cubicBezTo>
                <a:cubicBezTo>
                  <a:pt x="630143" y="528650"/>
                  <a:pt x="603263" y="541770"/>
                  <a:pt x="581343" y="561130"/>
                </a:cubicBezTo>
                <a:cubicBezTo>
                  <a:pt x="576223" y="565610"/>
                  <a:pt x="570143" y="569290"/>
                  <a:pt x="565023" y="573770"/>
                </a:cubicBezTo>
                <a:cubicBezTo>
                  <a:pt x="558943" y="578890"/>
                  <a:pt x="553023" y="584010"/>
                  <a:pt x="546943" y="588970"/>
                </a:cubicBezTo>
                <a:cubicBezTo>
                  <a:pt x="538303" y="596170"/>
                  <a:pt x="530143" y="604170"/>
                  <a:pt x="520063" y="608970"/>
                </a:cubicBezTo>
                <a:cubicBezTo>
                  <a:pt x="517823" y="607210"/>
                  <a:pt x="515423" y="605610"/>
                  <a:pt x="513183" y="604010"/>
                </a:cubicBezTo>
                <a:cubicBezTo>
                  <a:pt x="521023" y="597770"/>
                  <a:pt x="527583" y="589450"/>
                  <a:pt x="533983" y="581610"/>
                </a:cubicBezTo>
                <a:close/>
                <a:moveTo>
                  <a:pt x="543423" y="599050"/>
                </a:moveTo>
                <a:cubicBezTo>
                  <a:pt x="554463" y="589610"/>
                  <a:pt x="565823" y="579530"/>
                  <a:pt x="577663" y="571210"/>
                </a:cubicBezTo>
                <a:cubicBezTo>
                  <a:pt x="589663" y="562570"/>
                  <a:pt x="601183" y="553130"/>
                  <a:pt x="613663" y="545130"/>
                </a:cubicBezTo>
                <a:cubicBezTo>
                  <a:pt x="625983" y="537290"/>
                  <a:pt x="637983" y="529130"/>
                  <a:pt x="649983" y="520970"/>
                </a:cubicBezTo>
                <a:cubicBezTo>
                  <a:pt x="661343" y="513290"/>
                  <a:pt x="672383" y="504650"/>
                  <a:pt x="683263" y="496490"/>
                </a:cubicBezTo>
                <a:cubicBezTo>
                  <a:pt x="695743" y="487050"/>
                  <a:pt x="709983" y="479850"/>
                  <a:pt x="723743" y="472330"/>
                </a:cubicBezTo>
                <a:cubicBezTo>
                  <a:pt x="735583" y="465770"/>
                  <a:pt x="748383" y="459850"/>
                  <a:pt x="761023" y="455050"/>
                </a:cubicBezTo>
                <a:cubicBezTo>
                  <a:pt x="767583" y="452490"/>
                  <a:pt x="774943" y="451690"/>
                  <a:pt x="781823" y="451050"/>
                </a:cubicBezTo>
                <a:cubicBezTo>
                  <a:pt x="785023" y="450730"/>
                  <a:pt x="788223" y="450570"/>
                  <a:pt x="791263" y="450570"/>
                </a:cubicBezTo>
                <a:cubicBezTo>
                  <a:pt x="792863" y="450570"/>
                  <a:pt x="794303" y="450410"/>
                  <a:pt x="795743" y="450090"/>
                </a:cubicBezTo>
                <a:cubicBezTo>
                  <a:pt x="802463" y="454090"/>
                  <a:pt x="809023" y="458730"/>
                  <a:pt x="816383" y="461450"/>
                </a:cubicBezTo>
                <a:cubicBezTo>
                  <a:pt x="818303" y="462250"/>
                  <a:pt x="820223" y="462890"/>
                  <a:pt x="822143" y="463690"/>
                </a:cubicBezTo>
                <a:cubicBezTo>
                  <a:pt x="821183" y="463850"/>
                  <a:pt x="820063" y="464010"/>
                  <a:pt x="819103" y="464170"/>
                </a:cubicBezTo>
                <a:cubicBezTo>
                  <a:pt x="812543" y="465130"/>
                  <a:pt x="806143" y="467210"/>
                  <a:pt x="799903" y="469610"/>
                </a:cubicBezTo>
                <a:cubicBezTo>
                  <a:pt x="793823" y="472010"/>
                  <a:pt x="788223" y="475690"/>
                  <a:pt x="782623" y="479050"/>
                </a:cubicBezTo>
                <a:cubicBezTo>
                  <a:pt x="775903" y="483050"/>
                  <a:pt x="768863" y="486730"/>
                  <a:pt x="762303" y="490890"/>
                </a:cubicBezTo>
                <a:cubicBezTo>
                  <a:pt x="756543" y="494570"/>
                  <a:pt x="751103" y="498570"/>
                  <a:pt x="745503" y="502410"/>
                </a:cubicBezTo>
                <a:cubicBezTo>
                  <a:pt x="738943" y="506890"/>
                  <a:pt x="731583" y="510410"/>
                  <a:pt x="725183" y="515210"/>
                </a:cubicBezTo>
                <a:cubicBezTo>
                  <a:pt x="719423" y="519370"/>
                  <a:pt x="712863" y="522730"/>
                  <a:pt x="707103" y="526890"/>
                </a:cubicBezTo>
                <a:cubicBezTo>
                  <a:pt x="700863" y="531210"/>
                  <a:pt x="694783" y="535850"/>
                  <a:pt x="688863" y="540490"/>
                </a:cubicBezTo>
                <a:cubicBezTo>
                  <a:pt x="683423" y="544490"/>
                  <a:pt x="677663" y="548170"/>
                  <a:pt x="672703" y="552810"/>
                </a:cubicBezTo>
                <a:cubicBezTo>
                  <a:pt x="666943" y="558090"/>
                  <a:pt x="661983" y="563530"/>
                  <a:pt x="655423" y="567690"/>
                </a:cubicBezTo>
                <a:cubicBezTo>
                  <a:pt x="641823" y="576330"/>
                  <a:pt x="627423" y="584490"/>
                  <a:pt x="612703" y="590890"/>
                </a:cubicBezTo>
                <a:cubicBezTo>
                  <a:pt x="599103" y="596810"/>
                  <a:pt x="584383" y="601290"/>
                  <a:pt x="569983" y="604490"/>
                </a:cubicBezTo>
                <a:cubicBezTo>
                  <a:pt x="562943" y="605930"/>
                  <a:pt x="555903" y="607050"/>
                  <a:pt x="548863" y="608810"/>
                </a:cubicBezTo>
                <a:cubicBezTo>
                  <a:pt x="541183" y="610730"/>
                  <a:pt x="534303" y="613930"/>
                  <a:pt x="526463" y="614570"/>
                </a:cubicBezTo>
                <a:cubicBezTo>
                  <a:pt x="525663" y="613930"/>
                  <a:pt x="524703" y="613130"/>
                  <a:pt x="523903" y="612490"/>
                </a:cubicBezTo>
                <a:cubicBezTo>
                  <a:pt x="530943" y="609130"/>
                  <a:pt x="537503" y="604010"/>
                  <a:pt x="543423" y="599050"/>
                </a:cubicBezTo>
                <a:close/>
                <a:moveTo>
                  <a:pt x="544383" y="616650"/>
                </a:moveTo>
                <a:cubicBezTo>
                  <a:pt x="552383" y="613930"/>
                  <a:pt x="560703" y="612330"/>
                  <a:pt x="569023" y="610890"/>
                </a:cubicBezTo>
                <a:cubicBezTo>
                  <a:pt x="583743" y="608490"/>
                  <a:pt x="598943" y="603050"/>
                  <a:pt x="612703" y="597610"/>
                </a:cubicBezTo>
                <a:cubicBezTo>
                  <a:pt x="626783" y="591850"/>
                  <a:pt x="640223" y="584330"/>
                  <a:pt x="653183" y="576490"/>
                </a:cubicBezTo>
                <a:cubicBezTo>
                  <a:pt x="666463" y="568490"/>
                  <a:pt x="676543" y="557290"/>
                  <a:pt x="688863" y="548170"/>
                </a:cubicBezTo>
                <a:cubicBezTo>
                  <a:pt x="700863" y="539370"/>
                  <a:pt x="712703" y="530730"/>
                  <a:pt x="725183" y="522730"/>
                </a:cubicBezTo>
                <a:cubicBezTo>
                  <a:pt x="738303" y="514250"/>
                  <a:pt x="751423" y="505930"/>
                  <a:pt x="764223" y="496970"/>
                </a:cubicBezTo>
                <a:cubicBezTo>
                  <a:pt x="769983" y="492970"/>
                  <a:pt x="776383" y="489450"/>
                  <a:pt x="782463" y="485930"/>
                </a:cubicBezTo>
                <a:cubicBezTo>
                  <a:pt x="789663" y="481770"/>
                  <a:pt x="796223" y="477130"/>
                  <a:pt x="803903" y="473930"/>
                </a:cubicBezTo>
                <a:cubicBezTo>
                  <a:pt x="811743" y="470730"/>
                  <a:pt x="819743" y="468970"/>
                  <a:pt x="828063" y="468010"/>
                </a:cubicBezTo>
                <a:cubicBezTo>
                  <a:pt x="829823" y="467850"/>
                  <a:pt x="831423" y="467850"/>
                  <a:pt x="832703" y="467530"/>
                </a:cubicBezTo>
                <a:cubicBezTo>
                  <a:pt x="842143" y="471370"/>
                  <a:pt x="851583" y="475530"/>
                  <a:pt x="860543" y="480170"/>
                </a:cubicBezTo>
                <a:cubicBezTo>
                  <a:pt x="866463" y="483210"/>
                  <a:pt x="872543" y="486250"/>
                  <a:pt x="878943" y="488170"/>
                </a:cubicBezTo>
                <a:cubicBezTo>
                  <a:pt x="872863" y="490090"/>
                  <a:pt x="866943" y="492970"/>
                  <a:pt x="861503" y="496490"/>
                </a:cubicBezTo>
                <a:cubicBezTo>
                  <a:pt x="847903" y="505290"/>
                  <a:pt x="835103" y="515530"/>
                  <a:pt x="822463" y="525450"/>
                </a:cubicBezTo>
                <a:cubicBezTo>
                  <a:pt x="809183" y="535850"/>
                  <a:pt x="795263" y="545290"/>
                  <a:pt x="780863" y="554410"/>
                </a:cubicBezTo>
                <a:cubicBezTo>
                  <a:pt x="765983" y="563850"/>
                  <a:pt x="749663" y="570250"/>
                  <a:pt x="733823" y="577770"/>
                </a:cubicBezTo>
                <a:cubicBezTo>
                  <a:pt x="718303" y="585290"/>
                  <a:pt x="704223" y="592650"/>
                  <a:pt x="687263" y="596330"/>
                </a:cubicBezTo>
                <a:cubicBezTo>
                  <a:pt x="669983" y="600010"/>
                  <a:pt x="651583" y="599850"/>
                  <a:pt x="634463" y="604170"/>
                </a:cubicBezTo>
                <a:cubicBezTo>
                  <a:pt x="625983" y="606410"/>
                  <a:pt x="617183" y="608170"/>
                  <a:pt x="608543" y="609770"/>
                </a:cubicBezTo>
                <a:cubicBezTo>
                  <a:pt x="600223" y="611370"/>
                  <a:pt x="592223" y="613770"/>
                  <a:pt x="583903" y="615370"/>
                </a:cubicBezTo>
                <a:cubicBezTo>
                  <a:pt x="574943" y="617130"/>
                  <a:pt x="564543" y="616970"/>
                  <a:pt x="555423" y="617290"/>
                </a:cubicBezTo>
                <a:cubicBezTo>
                  <a:pt x="553823" y="617290"/>
                  <a:pt x="552383" y="617450"/>
                  <a:pt x="550783" y="617450"/>
                </a:cubicBezTo>
                <a:cubicBezTo>
                  <a:pt x="550303" y="617450"/>
                  <a:pt x="549663" y="617450"/>
                  <a:pt x="549183" y="617450"/>
                </a:cubicBezTo>
                <a:cubicBezTo>
                  <a:pt x="548703" y="617450"/>
                  <a:pt x="547263" y="617450"/>
                  <a:pt x="545343" y="617610"/>
                </a:cubicBezTo>
                <a:cubicBezTo>
                  <a:pt x="543423" y="617610"/>
                  <a:pt x="541503" y="617770"/>
                  <a:pt x="539743" y="617770"/>
                </a:cubicBezTo>
                <a:cubicBezTo>
                  <a:pt x="541023" y="617770"/>
                  <a:pt x="542623" y="617290"/>
                  <a:pt x="544383" y="616650"/>
                </a:cubicBezTo>
                <a:close/>
                <a:moveTo>
                  <a:pt x="830783" y="454730"/>
                </a:moveTo>
                <a:cubicBezTo>
                  <a:pt x="838303" y="453610"/>
                  <a:pt x="845343" y="452010"/>
                  <a:pt x="852543" y="449450"/>
                </a:cubicBezTo>
                <a:cubicBezTo>
                  <a:pt x="861663" y="446250"/>
                  <a:pt x="870623" y="442570"/>
                  <a:pt x="878783" y="437610"/>
                </a:cubicBezTo>
                <a:cubicBezTo>
                  <a:pt x="881663" y="435850"/>
                  <a:pt x="884063" y="433450"/>
                  <a:pt x="886783" y="431370"/>
                </a:cubicBezTo>
                <a:cubicBezTo>
                  <a:pt x="896703" y="430890"/>
                  <a:pt x="906463" y="430250"/>
                  <a:pt x="916223" y="428650"/>
                </a:cubicBezTo>
                <a:cubicBezTo>
                  <a:pt x="914623" y="429610"/>
                  <a:pt x="912863" y="430570"/>
                  <a:pt x="911103" y="431530"/>
                </a:cubicBezTo>
                <a:cubicBezTo>
                  <a:pt x="907903" y="433290"/>
                  <a:pt x="905183" y="436010"/>
                  <a:pt x="901823" y="437770"/>
                </a:cubicBezTo>
                <a:cubicBezTo>
                  <a:pt x="897503" y="440010"/>
                  <a:pt x="893183" y="441930"/>
                  <a:pt x="889023" y="444330"/>
                </a:cubicBezTo>
                <a:cubicBezTo>
                  <a:pt x="880863" y="448650"/>
                  <a:pt x="873823" y="454250"/>
                  <a:pt x="865343" y="457930"/>
                </a:cubicBezTo>
                <a:cubicBezTo>
                  <a:pt x="859423" y="460490"/>
                  <a:pt x="853663" y="461290"/>
                  <a:pt x="847743" y="461770"/>
                </a:cubicBezTo>
                <a:cubicBezTo>
                  <a:pt x="842143" y="459370"/>
                  <a:pt x="836383" y="457130"/>
                  <a:pt x="830783" y="454730"/>
                </a:cubicBezTo>
                <a:close/>
                <a:moveTo>
                  <a:pt x="872223" y="435370"/>
                </a:moveTo>
                <a:cubicBezTo>
                  <a:pt x="865343" y="439050"/>
                  <a:pt x="858143" y="441770"/>
                  <a:pt x="850783" y="444330"/>
                </a:cubicBezTo>
                <a:cubicBezTo>
                  <a:pt x="843583" y="446890"/>
                  <a:pt x="836703" y="448330"/>
                  <a:pt x="829183" y="449290"/>
                </a:cubicBezTo>
                <a:cubicBezTo>
                  <a:pt x="826143" y="449770"/>
                  <a:pt x="823263" y="450250"/>
                  <a:pt x="820543" y="450410"/>
                </a:cubicBezTo>
                <a:cubicBezTo>
                  <a:pt x="815903" y="448330"/>
                  <a:pt x="811263" y="445930"/>
                  <a:pt x="806783" y="443210"/>
                </a:cubicBezTo>
                <a:cubicBezTo>
                  <a:pt x="802783" y="440810"/>
                  <a:pt x="798943" y="438570"/>
                  <a:pt x="794943" y="436490"/>
                </a:cubicBezTo>
                <a:cubicBezTo>
                  <a:pt x="796703" y="436330"/>
                  <a:pt x="798463" y="436010"/>
                  <a:pt x="799903" y="434570"/>
                </a:cubicBezTo>
                <a:cubicBezTo>
                  <a:pt x="802303" y="434410"/>
                  <a:pt x="804223" y="434570"/>
                  <a:pt x="805183" y="434410"/>
                </a:cubicBezTo>
                <a:cubicBezTo>
                  <a:pt x="812223" y="433930"/>
                  <a:pt x="819103" y="432810"/>
                  <a:pt x="826303" y="432490"/>
                </a:cubicBezTo>
                <a:cubicBezTo>
                  <a:pt x="843263" y="431850"/>
                  <a:pt x="860063" y="432330"/>
                  <a:pt x="876863" y="431690"/>
                </a:cubicBezTo>
                <a:cubicBezTo>
                  <a:pt x="877503" y="431690"/>
                  <a:pt x="877983" y="431690"/>
                  <a:pt x="878623" y="431690"/>
                </a:cubicBezTo>
                <a:cubicBezTo>
                  <a:pt x="876543" y="432970"/>
                  <a:pt x="874463" y="434250"/>
                  <a:pt x="872223" y="435370"/>
                </a:cubicBezTo>
                <a:close/>
                <a:moveTo>
                  <a:pt x="829983" y="422890"/>
                </a:moveTo>
                <a:cubicBezTo>
                  <a:pt x="822783" y="423370"/>
                  <a:pt x="815423" y="424010"/>
                  <a:pt x="808543" y="425450"/>
                </a:cubicBezTo>
                <a:cubicBezTo>
                  <a:pt x="803903" y="426410"/>
                  <a:pt x="793183" y="426730"/>
                  <a:pt x="787583" y="430890"/>
                </a:cubicBezTo>
                <a:cubicBezTo>
                  <a:pt x="786623" y="431050"/>
                  <a:pt x="785503" y="431370"/>
                  <a:pt x="784703" y="431690"/>
                </a:cubicBezTo>
                <a:cubicBezTo>
                  <a:pt x="782463" y="430890"/>
                  <a:pt x="780223" y="430090"/>
                  <a:pt x="777983" y="429290"/>
                </a:cubicBezTo>
                <a:cubicBezTo>
                  <a:pt x="781663" y="426410"/>
                  <a:pt x="784703" y="423210"/>
                  <a:pt x="787903" y="419370"/>
                </a:cubicBezTo>
                <a:cubicBezTo>
                  <a:pt x="793663" y="412970"/>
                  <a:pt x="799903" y="407210"/>
                  <a:pt x="806303" y="401450"/>
                </a:cubicBezTo>
                <a:cubicBezTo>
                  <a:pt x="813663" y="395050"/>
                  <a:pt x="821343" y="389130"/>
                  <a:pt x="829183" y="383370"/>
                </a:cubicBezTo>
                <a:cubicBezTo>
                  <a:pt x="832703" y="380810"/>
                  <a:pt x="836383" y="378410"/>
                  <a:pt x="839903" y="375850"/>
                </a:cubicBezTo>
                <a:cubicBezTo>
                  <a:pt x="842623" y="373930"/>
                  <a:pt x="845023" y="372010"/>
                  <a:pt x="847903" y="370730"/>
                </a:cubicBezTo>
                <a:cubicBezTo>
                  <a:pt x="859423" y="372970"/>
                  <a:pt x="870623" y="376490"/>
                  <a:pt x="881503" y="380490"/>
                </a:cubicBezTo>
                <a:cubicBezTo>
                  <a:pt x="879103" y="380970"/>
                  <a:pt x="876863" y="381930"/>
                  <a:pt x="874303" y="383690"/>
                </a:cubicBezTo>
                <a:cubicBezTo>
                  <a:pt x="868543" y="387530"/>
                  <a:pt x="862783" y="391370"/>
                  <a:pt x="857183" y="395690"/>
                </a:cubicBezTo>
                <a:cubicBezTo>
                  <a:pt x="851743" y="399850"/>
                  <a:pt x="846783" y="404490"/>
                  <a:pt x="841823" y="409290"/>
                </a:cubicBezTo>
                <a:cubicBezTo>
                  <a:pt x="839423" y="411690"/>
                  <a:pt x="837183" y="413930"/>
                  <a:pt x="834783" y="416490"/>
                </a:cubicBezTo>
                <a:cubicBezTo>
                  <a:pt x="834783" y="417130"/>
                  <a:pt x="831103" y="420810"/>
                  <a:pt x="829983" y="422890"/>
                </a:cubicBezTo>
                <a:close/>
                <a:moveTo>
                  <a:pt x="833823" y="374570"/>
                </a:moveTo>
                <a:cubicBezTo>
                  <a:pt x="825343" y="379690"/>
                  <a:pt x="817343" y="385290"/>
                  <a:pt x="809503" y="391370"/>
                </a:cubicBezTo>
                <a:cubicBezTo>
                  <a:pt x="802303" y="396970"/>
                  <a:pt x="794943" y="402890"/>
                  <a:pt x="788543" y="409610"/>
                </a:cubicBezTo>
                <a:cubicBezTo>
                  <a:pt x="782783" y="415690"/>
                  <a:pt x="777983" y="422250"/>
                  <a:pt x="770783" y="426570"/>
                </a:cubicBezTo>
                <a:cubicBezTo>
                  <a:pt x="770623" y="426570"/>
                  <a:pt x="770463" y="426730"/>
                  <a:pt x="770303" y="426890"/>
                </a:cubicBezTo>
                <a:lnTo>
                  <a:pt x="769983" y="427050"/>
                </a:lnTo>
                <a:cubicBezTo>
                  <a:pt x="765663" y="425770"/>
                  <a:pt x="761503" y="424650"/>
                  <a:pt x="757183" y="423530"/>
                </a:cubicBezTo>
                <a:cubicBezTo>
                  <a:pt x="756383" y="423370"/>
                  <a:pt x="755743" y="423050"/>
                  <a:pt x="754943" y="422890"/>
                </a:cubicBezTo>
                <a:cubicBezTo>
                  <a:pt x="755583" y="420650"/>
                  <a:pt x="756703" y="418410"/>
                  <a:pt x="757343" y="416170"/>
                </a:cubicBezTo>
                <a:cubicBezTo>
                  <a:pt x="758303" y="413130"/>
                  <a:pt x="758783" y="409930"/>
                  <a:pt x="759583" y="406890"/>
                </a:cubicBezTo>
                <a:cubicBezTo>
                  <a:pt x="760223" y="405930"/>
                  <a:pt x="760703" y="405130"/>
                  <a:pt x="761503" y="404170"/>
                </a:cubicBezTo>
                <a:cubicBezTo>
                  <a:pt x="762943" y="402410"/>
                  <a:pt x="763903" y="400010"/>
                  <a:pt x="765023" y="397930"/>
                </a:cubicBezTo>
                <a:cubicBezTo>
                  <a:pt x="767103" y="394410"/>
                  <a:pt x="770143" y="391370"/>
                  <a:pt x="772863" y="388490"/>
                </a:cubicBezTo>
                <a:cubicBezTo>
                  <a:pt x="779743" y="380970"/>
                  <a:pt x="787263" y="373450"/>
                  <a:pt x="795903" y="367850"/>
                </a:cubicBezTo>
                <a:cubicBezTo>
                  <a:pt x="802783" y="367530"/>
                  <a:pt x="809023" y="365770"/>
                  <a:pt x="816063" y="366570"/>
                </a:cubicBezTo>
                <a:cubicBezTo>
                  <a:pt x="819903" y="366890"/>
                  <a:pt x="823583" y="367530"/>
                  <a:pt x="827423" y="368010"/>
                </a:cubicBezTo>
                <a:cubicBezTo>
                  <a:pt x="828063" y="368490"/>
                  <a:pt x="829023" y="368650"/>
                  <a:pt x="829983" y="368330"/>
                </a:cubicBezTo>
                <a:cubicBezTo>
                  <a:pt x="832063" y="368650"/>
                  <a:pt x="833983" y="368810"/>
                  <a:pt x="836063" y="369130"/>
                </a:cubicBezTo>
                <a:cubicBezTo>
                  <a:pt x="837983" y="369290"/>
                  <a:pt x="839903" y="369610"/>
                  <a:pt x="841823" y="369930"/>
                </a:cubicBezTo>
                <a:cubicBezTo>
                  <a:pt x="839263" y="371050"/>
                  <a:pt x="836703" y="372810"/>
                  <a:pt x="833823" y="374570"/>
                </a:cubicBezTo>
                <a:close/>
                <a:moveTo>
                  <a:pt x="915583" y="243530"/>
                </a:moveTo>
                <a:cubicBezTo>
                  <a:pt x="926623" y="245930"/>
                  <a:pt x="937823" y="248010"/>
                  <a:pt x="948703" y="250570"/>
                </a:cubicBezTo>
                <a:cubicBezTo>
                  <a:pt x="947423" y="250890"/>
                  <a:pt x="945983" y="251210"/>
                  <a:pt x="944703" y="251690"/>
                </a:cubicBezTo>
                <a:cubicBezTo>
                  <a:pt x="935423" y="254730"/>
                  <a:pt x="926463" y="259370"/>
                  <a:pt x="917343" y="262890"/>
                </a:cubicBezTo>
                <a:cubicBezTo>
                  <a:pt x="898623" y="270410"/>
                  <a:pt x="880863" y="281450"/>
                  <a:pt x="863263" y="291050"/>
                </a:cubicBezTo>
                <a:cubicBezTo>
                  <a:pt x="859903" y="292810"/>
                  <a:pt x="856863" y="294890"/>
                  <a:pt x="853503" y="296810"/>
                </a:cubicBezTo>
                <a:cubicBezTo>
                  <a:pt x="849663" y="298890"/>
                  <a:pt x="845503" y="300490"/>
                  <a:pt x="841503" y="302410"/>
                </a:cubicBezTo>
                <a:cubicBezTo>
                  <a:pt x="832863" y="306730"/>
                  <a:pt x="826303" y="315210"/>
                  <a:pt x="818143" y="320490"/>
                </a:cubicBezTo>
                <a:cubicBezTo>
                  <a:pt x="811423" y="324810"/>
                  <a:pt x="804223" y="328170"/>
                  <a:pt x="797343" y="332170"/>
                </a:cubicBezTo>
                <a:cubicBezTo>
                  <a:pt x="800383" y="326570"/>
                  <a:pt x="802783" y="320650"/>
                  <a:pt x="804703" y="314890"/>
                </a:cubicBezTo>
                <a:cubicBezTo>
                  <a:pt x="805183" y="313290"/>
                  <a:pt x="805663" y="311690"/>
                  <a:pt x="806303" y="309930"/>
                </a:cubicBezTo>
                <a:cubicBezTo>
                  <a:pt x="807103" y="308330"/>
                  <a:pt x="807903" y="306570"/>
                  <a:pt x="808703" y="304970"/>
                </a:cubicBezTo>
                <a:cubicBezTo>
                  <a:pt x="814943" y="299370"/>
                  <a:pt x="820703" y="293450"/>
                  <a:pt x="826463" y="287530"/>
                </a:cubicBezTo>
                <a:cubicBezTo>
                  <a:pt x="834463" y="279210"/>
                  <a:pt x="844703" y="272490"/>
                  <a:pt x="854303" y="266090"/>
                </a:cubicBezTo>
                <a:cubicBezTo>
                  <a:pt x="864543" y="259370"/>
                  <a:pt x="875263" y="254730"/>
                  <a:pt x="886783" y="250570"/>
                </a:cubicBezTo>
                <a:cubicBezTo>
                  <a:pt x="896223" y="247210"/>
                  <a:pt x="905983" y="245290"/>
                  <a:pt x="915583" y="243530"/>
                </a:cubicBezTo>
                <a:close/>
                <a:moveTo>
                  <a:pt x="827743" y="235530"/>
                </a:moveTo>
                <a:cubicBezTo>
                  <a:pt x="836703" y="232170"/>
                  <a:pt x="846303" y="233290"/>
                  <a:pt x="855903" y="234730"/>
                </a:cubicBezTo>
                <a:cubicBezTo>
                  <a:pt x="851263" y="236650"/>
                  <a:pt x="846783" y="239210"/>
                  <a:pt x="842463" y="241770"/>
                </a:cubicBezTo>
                <a:cubicBezTo>
                  <a:pt x="835583" y="245930"/>
                  <a:pt x="829983" y="250410"/>
                  <a:pt x="825023" y="256010"/>
                </a:cubicBezTo>
                <a:cubicBezTo>
                  <a:pt x="826143" y="249130"/>
                  <a:pt x="827103" y="242410"/>
                  <a:pt x="827743" y="235530"/>
                </a:cubicBezTo>
                <a:close/>
                <a:moveTo>
                  <a:pt x="823103" y="265930"/>
                </a:moveTo>
                <a:cubicBezTo>
                  <a:pt x="825183" y="263530"/>
                  <a:pt x="827103" y="260970"/>
                  <a:pt x="829183" y="258410"/>
                </a:cubicBezTo>
                <a:cubicBezTo>
                  <a:pt x="833663" y="253290"/>
                  <a:pt x="839903" y="249930"/>
                  <a:pt x="845503" y="246410"/>
                </a:cubicBezTo>
                <a:cubicBezTo>
                  <a:pt x="850783" y="243210"/>
                  <a:pt x="856543" y="240330"/>
                  <a:pt x="862303" y="238250"/>
                </a:cubicBezTo>
                <a:cubicBezTo>
                  <a:pt x="864223" y="237450"/>
                  <a:pt x="866463" y="237130"/>
                  <a:pt x="868703" y="236490"/>
                </a:cubicBezTo>
                <a:cubicBezTo>
                  <a:pt x="874943" y="237450"/>
                  <a:pt x="881023" y="238890"/>
                  <a:pt x="887263" y="239530"/>
                </a:cubicBezTo>
                <a:cubicBezTo>
                  <a:pt x="891263" y="240010"/>
                  <a:pt x="895263" y="240330"/>
                  <a:pt x="899263" y="240650"/>
                </a:cubicBezTo>
                <a:cubicBezTo>
                  <a:pt x="883583" y="244650"/>
                  <a:pt x="868543" y="250410"/>
                  <a:pt x="854623" y="259050"/>
                </a:cubicBezTo>
                <a:cubicBezTo>
                  <a:pt x="845023" y="264970"/>
                  <a:pt x="834943" y="271690"/>
                  <a:pt x="826783" y="279530"/>
                </a:cubicBezTo>
                <a:cubicBezTo>
                  <a:pt x="822623" y="283690"/>
                  <a:pt x="818783" y="288170"/>
                  <a:pt x="814623" y="292170"/>
                </a:cubicBezTo>
                <a:cubicBezTo>
                  <a:pt x="815903" y="289130"/>
                  <a:pt x="817183" y="285930"/>
                  <a:pt x="818303" y="282730"/>
                </a:cubicBezTo>
                <a:cubicBezTo>
                  <a:pt x="820223" y="277450"/>
                  <a:pt x="821823" y="271690"/>
                  <a:pt x="823103" y="265930"/>
                </a:cubicBezTo>
                <a:close/>
                <a:moveTo>
                  <a:pt x="807743" y="112970"/>
                </a:moveTo>
                <a:cubicBezTo>
                  <a:pt x="808063" y="112810"/>
                  <a:pt x="808383" y="112810"/>
                  <a:pt x="808543" y="112650"/>
                </a:cubicBezTo>
                <a:cubicBezTo>
                  <a:pt x="808543" y="112970"/>
                  <a:pt x="808703" y="113290"/>
                  <a:pt x="808703" y="113610"/>
                </a:cubicBezTo>
                <a:cubicBezTo>
                  <a:pt x="808383" y="118730"/>
                  <a:pt x="809023" y="124170"/>
                  <a:pt x="809023" y="128170"/>
                </a:cubicBezTo>
                <a:cubicBezTo>
                  <a:pt x="809183" y="134890"/>
                  <a:pt x="809503" y="141770"/>
                  <a:pt x="809823" y="148490"/>
                </a:cubicBezTo>
                <a:cubicBezTo>
                  <a:pt x="809503" y="151050"/>
                  <a:pt x="809343" y="153770"/>
                  <a:pt x="809343" y="156330"/>
                </a:cubicBezTo>
                <a:cubicBezTo>
                  <a:pt x="809343" y="161930"/>
                  <a:pt x="809823" y="167530"/>
                  <a:pt x="809983" y="173290"/>
                </a:cubicBezTo>
                <a:cubicBezTo>
                  <a:pt x="810303" y="184170"/>
                  <a:pt x="809983" y="194890"/>
                  <a:pt x="810623" y="205770"/>
                </a:cubicBezTo>
                <a:cubicBezTo>
                  <a:pt x="809023" y="213610"/>
                  <a:pt x="807903" y="221290"/>
                  <a:pt x="805023" y="228810"/>
                </a:cubicBezTo>
                <a:cubicBezTo>
                  <a:pt x="799263" y="244330"/>
                  <a:pt x="791423" y="258090"/>
                  <a:pt x="783103" y="272170"/>
                </a:cubicBezTo>
                <a:cubicBezTo>
                  <a:pt x="774783" y="286410"/>
                  <a:pt x="766623" y="300490"/>
                  <a:pt x="755423" y="312970"/>
                </a:cubicBezTo>
                <a:cubicBezTo>
                  <a:pt x="750303" y="318570"/>
                  <a:pt x="745823" y="324650"/>
                  <a:pt x="740383" y="329930"/>
                </a:cubicBezTo>
                <a:cubicBezTo>
                  <a:pt x="737663" y="332490"/>
                  <a:pt x="734303" y="334410"/>
                  <a:pt x="730783" y="335530"/>
                </a:cubicBezTo>
                <a:cubicBezTo>
                  <a:pt x="729023" y="336170"/>
                  <a:pt x="727903" y="336490"/>
                  <a:pt x="726783" y="337450"/>
                </a:cubicBezTo>
                <a:cubicBezTo>
                  <a:pt x="723743" y="338250"/>
                  <a:pt x="720543" y="338890"/>
                  <a:pt x="717663" y="340010"/>
                </a:cubicBezTo>
                <a:cubicBezTo>
                  <a:pt x="713823" y="341290"/>
                  <a:pt x="709823" y="341770"/>
                  <a:pt x="705823" y="342570"/>
                </a:cubicBezTo>
                <a:cubicBezTo>
                  <a:pt x="701343" y="343530"/>
                  <a:pt x="697183" y="345610"/>
                  <a:pt x="692543" y="346250"/>
                </a:cubicBezTo>
                <a:cubicBezTo>
                  <a:pt x="689023" y="346730"/>
                  <a:pt x="685023" y="348330"/>
                  <a:pt x="681663" y="349450"/>
                </a:cubicBezTo>
                <a:cubicBezTo>
                  <a:pt x="678783" y="350410"/>
                  <a:pt x="675903" y="351370"/>
                  <a:pt x="673023" y="352330"/>
                </a:cubicBezTo>
                <a:cubicBezTo>
                  <a:pt x="676543" y="348650"/>
                  <a:pt x="679903" y="344170"/>
                  <a:pt x="682623" y="340170"/>
                </a:cubicBezTo>
                <a:cubicBezTo>
                  <a:pt x="686943" y="333930"/>
                  <a:pt x="691903" y="328330"/>
                  <a:pt x="696223" y="322090"/>
                </a:cubicBezTo>
                <a:cubicBezTo>
                  <a:pt x="703903" y="311210"/>
                  <a:pt x="710783" y="299530"/>
                  <a:pt x="717983" y="288170"/>
                </a:cubicBezTo>
                <a:cubicBezTo>
                  <a:pt x="725503" y="276170"/>
                  <a:pt x="734463" y="264810"/>
                  <a:pt x="742943" y="253450"/>
                </a:cubicBezTo>
                <a:cubicBezTo>
                  <a:pt x="760223" y="230410"/>
                  <a:pt x="774783" y="205770"/>
                  <a:pt x="787423" y="180010"/>
                </a:cubicBezTo>
                <a:cubicBezTo>
                  <a:pt x="793183" y="168330"/>
                  <a:pt x="798463" y="156970"/>
                  <a:pt x="802623" y="144650"/>
                </a:cubicBezTo>
                <a:cubicBezTo>
                  <a:pt x="804543" y="138730"/>
                  <a:pt x="805823" y="132490"/>
                  <a:pt x="806783" y="126410"/>
                </a:cubicBezTo>
                <a:cubicBezTo>
                  <a:pt x="807743" y="121770"/>
                  <a:pt x="807743" y="117450"/>
                  <a:pt x="807743" y="112970"/>
                </a:cubicBezTo>
                <a:close/>
                <a:moveTo>
                  <a:pt x="748383" y="134730"/>
                </a:moveTo>
                <a:cubicBezTo>
                  <a:pt x="749183" y="133770"/>
                  <a:pt x="750303" y="131210"/>
                  <a:pt x="751423" y="129770"/>
                </a:cubicBezTo>
                <a:cubicBezTo>
                  <a:pt x="761663" y="126410"/>
                  <a:pt x="772223" y="124170"/>
                  <a:pt x="782143" y="119690"/>
                </a:cubicBezTo>
                <a:cubicBezTo>
                  <a:pt x="788383" y="116970"/>
                  <a:pt x="795263" y="115050"/>
                  <a:pt x="801983" y="114410"/>
                </a:cubicBezTo>
                <a:cubicBezTo>
                  <a:pt x="803103" y="114250"/>
                  <a:pt x="804383" y="114090"/>
                  <a:pt x="805343" y="113770"/>
                </a:cubicBezTo>
                <a:cubicBezTo>
                  <a:pt x="804703" y="116330"/>
                  <a:pt x="804383" y="118890"/>
                  <a:pt x="803743" y="121290"/>
                </a:cubicBezTo>
                <a:cubicBezTo>
                  <a:pt x="802303" y="127530"/>
                  <a:pt x="801023" y="133770"/>
                  <a:pt x="798943" y="139850"/>
                </a:cubicBezTo>
                <a:cubicBezTo>
                  <a:pt x="794943" y="152330"/>
                  <a:pt x="789023" y="163690"/>
                  <a:pt x="782943" y="175210"/>
                </a:cubicBezTo>
                <a:cubicBezTo>
                  <a:pt x="770143" y="200170"/>
                  <a:pt x="756063" y="224650"/>
                  <a:pt x="739103" y="247210"/>
                </a:cubicBezTo>
                <a:cubicBezTo>
                  <a:pt x="723583" y="268010"/>
                  <a:pt x="708863" y="289130"/>
                  <a:pt x="694943" y="310890"/>
                </a:cubicBezTo>
                <a:cubicBezTo>
                  <a:pt x="691263" y="316650"/>
                  <a:pt x="687583" y="321770"/>
                  <a:pt x="683103" y="327050"/>
                </a:cubicBezTo>
                <a:cubicBezTo>
                  <a:pt x="678943" y="332010"/>
                  <a:pt x="675743" y="337930"/>
                  <a:pt x="671583" y="343050"/>
                </a:cubicBezTo>
                <a:cubicBezTo>
                  <a:pt x="667583" y="347850"/>
                  <a:pt x="663103" y="352010"/>
                  <a:pt x="658783" y="356810"/>
                </a:cubicBezTo>
                <a:cubicBezTo>
                  <a:pt x="657823" y="357930"/>
                  <a:pt x="656543" y="358730"/>
                  <a:pt x="655423" y="359530"/>
                </a:cubicBezTo>
                <a:cubicBezTo>
                  <a:pt x="643583" y="365290"/>
                  <a:pt x="632223" y="372170"/>
                  <a:pt x="620383" y="378090"/>
                </a:cubicBezTo>
                <a:cubicBezTo>
                  <a:pt x="614143" y="381290"/>
                  <a:pt x="607583" y="383850"/>
                  <a:pt x="601023" y="386250"/>
                </a:cubicBezTo>
                <a:cubicBezTo>
                  <a:pt x="601983" y="384170"/>
                  <a:pt x="601983" y="381130"/>
                  <a:pt x="601663" y="378090"/>
                </a:cubicBezTo>
                <a:cubicBezTo>
                  <a:pt x="610783" y="372170"/>
                  <a:pt x="618303" y="363530"/>
                  <a:pt x="625823" y="356010"/>
                </a:cubicBezTo>
                <a:cubicBezTo>
                  <a:pt x="635263" y="346410"/>
                  <a:pt x="644383" y="336490"/>
                  <a:pt x="652703" y="325930"/>
                </a:cubicBezTo>
                <a:cubicBezTo>
                  <a:pt x="660383" y="316170"/>
                  <a:pt x="668383" y="306250"/>
                  <a:pt x="674463" y="295370"/>
                </a:cubicBezTo>
                <a:cubicBezTo>
                  <a:pt x="681023" y="283690"/>
                  <a:pt x="685663" y="270890"/>
                  <a:pt x="692543" y="259210"/>
                </a:cubicBezTo>
                <a:cubicBezTo>
                  <a:pt x="698463" y="248970"/>
                  <a:pt x="705343" y="239370"/>
                  <a:pt x="709503" y="228170"/>
                </a:cubicBezTo>
                <a:cubicBezTo>
                  <a:pt x="713663" y="216970"/>
                  <a:pt x="717663" y="205770"/>
                  <a:pt x="722463" y="194570"/>
                </a:cubicBezTo>
                <a:cubicBezTo>
                  <a:pt x="724863" y="189130"/>
                  <a:pt x="726783" y="183370"/>
                  <a:pt x="728863" y="177770"/>
                </a:cubicBezTo>
                <a:cubicBezTo>
                  <a:pt x="730943" y="172010"/>
                  <a:pt x="734143" y="166730"/>
                  <a:pt x="736063" y="160810"/>
                </a:cubicBezTo>
                <a:cubicBezTo>
                  <a:pt x="738143" y="154570"/>
                  <a:pt x="740543" y="148330"/>
                  <a:pt x="743263" y="142410"/>
                </a:cubicBezTo>
                <a:cubicBezTo>
                  <a:pt x="744863" y="139850"/>
                  <a:pt x="746463" y="137130"/>
                  <a:pt x="748383" y="134730"/>
                </a:cubicBezTo>
                <a:close/>
                <a:moveTo>
                  <a:pt x="681183" y="167690"/>
                </a:moveTo>
                <a:cubicBezTo>
                  <a:pt x="687263" y="163530"/>
                  <a:pt x="693343" y="159370"/>
                  <a:pt x="699423" y="155370"/>
                </a:cubicBezTo>
                <a:cubicBezTo>
                  <a:pt x="712063" y="147530"/>
                  <a:pt x="725023" y="141610"/>
                  <a:pt x="738303" y="134890"/>
                </a:cubicBezTo>
                <a:cubicBezTo>
                  <a:pt x="739423" y="134250"/>
                  <a:pt x="740703" y="133770"/>
                  <a:pt x="741823" y="133290"/>
                </a:cubicBezTo>
                <a:cubicBezTo>
                  <a:pt x="739263" y="136970"/>
                  <a:pt x="737343" y="141290"/>
                  <a:pt x="735583" y="145450"/>
                </a:cubicBezTo>
                <a:cubicBezTo>
                  <a:pt x="733343" y="150730"/>
                  <a:pt x="731423" y="156330"/>
                  <a:pt x="729663" y="161770"/>
                </a:cubicBezTo>
                <a:cubicBezTo>
                  <a:pt x="727583" y="167850"/>
                  <a:pt x="724223" y="173770"/>
                  <a:pt x="721983" y="179850"/>
                </a:cubicBezTo>
                <a:cubicBezTo>
                  <a:pt x="717983" y="190730"/>
                  <a:pt x="712863" y="201130"/>
                  <a:pt x="709183" y="212170"/>
                </a:cubicBezTo>
                <a:cubicBezTo>
                  <a:pt x="705023" y="224810"/>
                  <a:pt x="700223" y="236330"/>
                  <a:pt x="693183" y="247530"/>
                </a:cubicBezTo>
                <a:cubicBezTo>
                  <a:pt x="686143" y="258730"/>
                  <a:pt x="679583" y="270410"/>
                  <a:pt x="674623" y="282570"/>
                </a:cubicBezTo>
                <a:cubicBezTo>
                  <a:pt x="669183" y="296010"/>
                  <a:pt x="660063" y="307050"/>
                  <a:pt x="651423" y="318410"/>
                </a:cubicBezTo>
                <a:cubicBezTo>
                  <a:pt x="636383" y="338570"/>
                  <a:pt x="618143" y="355530"/>
                  <a:pt x="601183" y="373930"/>
                </a:cubicBezTo>
                <a:cubicBezTo>
                  <a:pt x="600863" y="372490"/>
                  <a:pt x="600543" y="371370"/>
                  <a:pt x="600383" y="370250"/>
                </a:cubicBezTo>
                <a:cubicBezTo>
                  <a:pt x="600223" y="369610"/>
                  <a:pt x="600063" y="368970"/>
                  <a:pt x="599903" y="368330"/>
                </a:cubicBezTo>
                <a:cubicBezTo>
                  <a:pt x="603263" y="362570"/>
                  <a:pt x="605503" y="356170"/>
                  <a:pt x="608063" y="349930"/>
                </a:cubicBezTo>
                <a:cubicBezTo>
                  <a:pt x="611263" y="341450"/>
                  <a:pt x="614303" y="332970"/>
                  <a:pt x="617663" y="324490"/>
                </a:cubicBezTo>
                <a:cubicBezTo>
                  <a:pt x="624863" y="306250"/>
                  <a:pt x="633023" y="288170"/>
                  <a:pt x="642143" y="270890"/>
                </a:cubicBezTo>
                <a:cubicBezTo>
                  <a:pt x="646303" y="262890"/>
                  <a:pt x="650623" y="254730"/>
                  <a:pt x="652863" y="246090"/>
                </a:cubicBezTo>
                <a:cubicBezTo>
                  <a:pt x="655423" y="236490"/>
                  <a:pt x="658943" y="228010"/>
                  <a:pt x="663583" y="219210"/>
                </a:cubicBezTo>
                <a:cubicBezTo>
                  <a:pt x="667743" y="211210"/>
                  <a:pt x="670463" y="203050"/>
                  <a:pt x="673183" y="194570"/>
                </a:cubicBezTo>
                <a:cubicBezTo>
                  <a:pt x="674623" y="189770"/>
                  <a:pt x="676063" y="184970"/>
                  <a:pt x="677823" y="180170"/>
                </a:cubicBezTo>
                <a:cubicBezTo>
                  <a:pt x="679263" y="176010"/>
                  <a:pt x="679423" y="171530"/>
                  <a:pt x="681183" y="167690"/>
                </a:cubicBezTo>
                <a:close/>
                <a:moveTo>
                  <a:pt x="657663" y="182730"/>
                </a:moveTo>
                <a:cubicBezTo>
                  <a:pt x="663743" y="179370"/>
                  <a:pt x="669663" y="175530"/>
                  <a:pt x="675583" y="171530"/>
                </a:cubicBezTo>
                <a:cubicBezTo>
                  <a:pt x="673503" y="176490"/>
                  <a:pt x="672223" y="181930"/>
                  <a:pt x="670463" y="186570"/>
                </a:cubicBezTo>
                <a:cubicBezTo>
                  <a:pt x="667103" y="195370"/>
                  <a:pt x="664543" y="204330"/>
                  <a:pt x="660543" y="212810"/>
                </a:cubicBezTo>
                <a:cubicBezTo>
                  <a:pt x="656703" y="220650"/>
                  <a:pt x="652383" y="228010"/>
                  <a:pt x="649663" y="236490"/>
                </a:cubicBezTo>
                <a:cubicBezTo>
                  <a:pt x="646303" y="246890"/>
                  <a:pt x="642783" y="256490"/>
                  <a:pt x="637823" y="266090"/>
                </a:cubicBezTo>
                <a:cubicBezTo>
                  <a:pt x="629023" y="282890"/>
                  <a:pt x="620703" y="300010"/>
                  <a:pt x="613823" y="317610"/>
                </a:cubicBezTo>
                <a:cubicBezTo>
                  <a:pt x="608223" y="331850"/>
                  <a:pt x="603903" y="347690"/>
                  <a:pt x="596863" y="361450"/>
                </a:cubicBezTo>
                <a:cubicBezTo>
                  <a:pt x="592703" y="355370"/>
                  <a:pt x="586143" y="350730"/>
                  <a:pt x="579743" y="346730"/>
                </a:cubicBezTo>
                <a:cubicBezTo>
                  <a:pt x="579743" y="345770"/>
                  <a:pt x="579743" y="344970"/>
                  <a:pt x="579583" y="344170"/>
                </a:cubicBezTo>
                <a:cubicBezTo>
                  <a:pt x="579423" y="340970"/>
                  <a:pt x="580703" y="337130"/>
                  <a:pt x="581183" y="333930"/>
                </a:cubicBezTo>
                <a:cubicBezTo>
                  <a:pt x="581823" y="330090"/>
                  <a:pt x="582463" y="326250"/>
                  <a:pt x="583263" y="322410"/>
                </a:cubicBezTo>
                <a:cubicBezTo>
                  <a:pt x="586303" y="307050"/>
                  <a:pt x="592863" y="291850"/>
                  <a:pt x="599103" y="277610"/>
                </a:cubicBezTo>
                <a:cubicBezTo>
                  <a:pt x="605823" y="262410"/>
                  <a:pt x="612383" y="247210"/>
                  <a:pt x="619583" y="232330"/>
                </a:cubicBezTo>
                <a:cubicBezTo>
                  <a:pt x="623263" y="224650"/>
                  <a:pt x="627263" y="217290"/>
                  <a:pt x="630783" y="209610"/>
                </a:cubicBezTo>
                <a:cubicBezTo>
                  <a:pt x="632383" y="206250"/>
                  <a:pt x="633983" y="202890"/>
                  <a:pt x="635583" y="199690"/>
                </a:cubicBezTo>
                <a:cubicBezTo>
                  <a:pt x="636863" y="197450"/>
                  <a:pt x="637823" y="194730"/>
                  <a:pt x="639103" y="192490"/>
                </a:cubicBezTo>
                <a:cubicBezTo>
                  <a:pt x="645183" y="188810"/>
                  <a:pt x="651583" y="186090"/>
                  <a:pt x="657663" y="182730"/>
                </a:cubicBezTo>
                <a:close/>
                <a:moveTo>
                  <a:pt x="632383" y="157450"/>
                </a:moveTo>
                <a:cubicBezTo>
                  <a:pt x="633823" y="158410"/>
                  <a:pt x="635423" y="159210"/>
                  <a:pt x="636703" y="160170"/>
                </a:cubicBezTo>
                <a:cubicBezTo>
                  <a:pt x="641663" y="163530"/>
                  <a:pt x="649343" y="168810"/>
                  <a:pt x="652863" y="174410"/>
                </a:cubicBezTo>
                <a:cubicBezTo>
                  <a:pt x="650303" y="175850"/>
                  <a:pt x="647743" y="177290"/>
                  <a:pt x="645023" y="178570"/>
                </a:cubicBezTo>
                <a:cubicBezTo>
                  <a:pt x="640863" y="180650"/>
                  <a:pt x="636863" y="182890"/>
                  <a:pt x="633023" y="185450"/>
                </a:cubicBezTo>
                <a:cubicBezTo>
                  <a:pt x="633503" y="181450"/>
                  <a:pt x="633983" y="177450"/>
                  <a:pt x="634143" y="173290"/>
                </a:cubicBezTo>
                <a:cubicBezTo>
                  <a:pt x="634303" y="168330"/>
                  <a:pt x="634143" y="162410"/>
                  <a:pt x="632383" y="157450"/>
                </a:cubicBezTo>
                <a:close/>
                <a:moveTo>
                  <a:pt x="621343" y="149130"/>
                </a:moveTo>
                <a:cubicBezTo>
                  <a:pt x="621343" y="148970"/>
                  <a:pt x="621503" y="148970"/>
                  <a:pt x="621343" y="149130"/>
                </a:cubicBezTo>
                <a:cubicBezTo>
                  <a:pt x="621983" y="149130"/>
                  <a:pt x="622463" y="149450"/>
                  <a:pt x="622943" y="149930"/>
                </a:cubicBezTo>
                <a:cubicBezTo>
                  <a:pt x="624383" y="151850"/>
                  <a:pt x="626303" y="153450"/>
                  <a:pt x="628383" y="154890"/>
                </a:cubicBezTo>
                <a:cubicBezTo>
                  <a:pt x="629503" y="161450"/>
                  <a:pt x="629663" y="168170"/>
                  <a:pt x="629023" y="174730"/>
                </a:cubicBezTo>
                <a:cubicBezTo>
                  <a:pt x="628543" y="180010"/>
                  <a:pt x="627263" y="184970"/>
                  <a:pt x="626463" y="190090"/>
                </a:cubicBezTo>
                <a:cubicBezTo>
                  <a:pt x="620063" y="195050"/>
                  <a:pt x="614303" y="200650"/>
                  <a:pt x="609023" y="207050"/>
                </a:cubicBezTo>
                <a:cubicBezTo>
                  <a:pt x="605983" y="210730"/>
                  <a:pt x="603263" y="214410"/>
                  <a:pt x="600383" y="218250"/>
                </a:cubicBezTo>
                <a:cubicBezTo>
                  <a:pt x="601183" y="214410"/>
                  <a:pt x="601183" y="210410"/>
                  <a:pt x="600863" y="205610"/>
                </a:cubicBezTo>
                <a:cubicBezTo>
                  <a:pt x="600863" y="204490"/>
                  <a:pt x="600703" y="203370"/>
                  <a:pt x="600543" y="202410"/>
                </a:cubicBezTo>
                <a:cubicBezTo>
                  <a:pt x="600543" y="201290"/>
                  <a:pt x="600543" y="200170"/>
                  <a:pt x="600703" y="199210"/>
                </a:cubicBezTo>
                <a:cubicBezTo>
                  <a:pt x="601343" y="193450"/>
                  <a:pt x="601823" y="187850"/>
                  <a:pt x="603423" y="182250"/>
                </a:cubicBezTo>
                <a:cubicBezTo>
                  <a:pt x="605183" y="176330"/>
                  <a:pt x="607263" y="170730"/>
                  <a:pt x="609983" y="165290"/>
                </a:cubicBezTo>
                <a:cubicBezTo>
                  <a:pt x="613023" y="159690"/>
                  <a:pt x="615903" y="152490"/>
                  <a:pt x="621343" y="149130"/>
                </a:cubicBezTo>
                <a:close/>
                <a:moveTo>
                  <a:pt x="606623" y="155370"/>
                </a:moveTo>
                <a:cubicBezTo>
                  <a:pt x="609343" y="154250"/>
                  <a:pt x="611903" y="152810"/>
                  <a:pt x="614623" y="151690"/>
                </a:cubicBezTo>
                <a:cubicBezTo>
                  <a:pt x="607743" y="158250"/>
                  <a:pt x="603263" y="168330"/>
                  <a:pt x="600223" y="176650"/>
                </a:cubicBezTo>
                <a:cubicBezTo>
                  <a:pt x="599103" y="180010"/>
                  <a:pt x="598143" y="183210"/>
                  <a:pt x="597503" y="186570"/>
                </a:cubicBezTo>
                <a:cubicBezTo>
                  <a:pt x="596863" y="183370"/>
                  <a:pt x="596223" y="180170"/>
                  <a:pt x="595743" y="176970"/>
                </a:cubicBezTo>
                <a:cubicBezTo>
                  <a:pt x="594943" y="171050"/>
                  <a:pt x="593503" y="165130"/>
                  <a:pt x="591583" y="159530"/>
                </a:cubicBezTo>
                <a:cubicBezTo>
                  <a:pt x="596863" y="159050"/>
                  <a:pt x="601983" y="157130"/>
                  <a:pt x="606623" y="155370"/>
                </a:cubicBezTo>
                <a:close/>
                <a:moveTo>
                  <a:pt x="618623" y="209930"/>
                </a:moveTo>
                <a:cubicBezTo>
                  <a:pt x="622783" y="204970"/>
                  <a:pt x="627423" y="200970"/>
                  <a:pt x="632383" y="197130"/>
                </a:cubicBezTo>
                <a:cubicBezTo>
                  <a:pt x="626623" y="205290"/>
                  <a:pt x="622143" y="215210"/>
                  <a:pt x="617823" y="223530"/>
                </a:cubicBezTo>
                <a:cubicBezTo>
                  <a:pt x="609823" y="238890"/>
                  <a:pt x="602943" y="254890"/>
                  <a:pt x="596063" y="270730"/>
                </a:cubicBezTo>
                <a:cubicBezTo>
                  <a:pt x="589823" y="284810"/>
                  <a:pt x="584863" y="298890"/>
                  <a:pt x="579903" y="313290"/>
                </a:cubicBezTo>
                <a:cubicBezTo>
                  <a:pt x="577503" y="320170"/>
                  <a:pt x="576383" y="327370"/>
                  <a:pt x="575263" y="334570"/>
                </a:cubicBezTo>
                <a:cubicBezTo>
                  <a:pt x="574943" y="337290"/>
                  <a:pt x="573983" y="340010"/>
                  <a:pt x="573823" y="342730"/>
                </a:cubicBezTo>
                <a:cubicBezTo>
                  <a:pt x="573823" y="342890"/>
                  <a:pt x="573823" y="343050"/>
                  <a:pt x="573823" y="343210"/>
                </a:cubicBezTo>
                <a:cubicBezTo>
                  <a:pt x="562943" y="337130"/>
                  <a:pt x="551583" y="332170"/>
                  <a:pt x="539743" y="328330"/>
                </a:cubicBezTo>
                <a:cubicBezTo>
                  <a:pt x="540383" y="324970"/>
                  <a:pt x="540543" y="321450"/>
                  <a:pt x="541823" y="318090"/>
                </a:cubicBezTo>
                <a:cubicBezTo>
                  <a:pt x="542303" y="316970"/>
                  <a:pt x="542783" y="315850"/>
                  <a:pt x="543103" y="314890"/>
                </a:cubicBezTo>
                <a:cubicBezTo>
                  <a:pt x="544703" y="312010"/>
                  <a:pt x="546303" y="309450"/>
                  <a:pt x="547903" y="307050"/>
                </a:cubicBezTo>
                <a:cubicBezTo>
                  <a:pt x="552063" y="300490"/>
                  <a:pt x="557343" y="294410"/>
                  <a:pt x="562143" y="288170"/>
                </a:cubicBezTo>
                <a:cubicBezTo>
                  <a:pt x="570623" y="276970"/>
                  <a:pt x="578783" y="265450"/>
                  <a:pt x="586623" y="253930"/>
                </a:cubicBezTo>
                <a:cubicBezTo>
                  <a:pt x="586783" y="253770"/>
                  <a:pt x="586943" y="253770"/>
                  <a:pt x="587103" y="253610"/>
                </a:cubicBezTo>
                <a:cubicBezTo>
                  <a:pt x="588383" y="252170"/>
                  <a:pt x="589343" y="250570"/>
                  <a:pt x="590143" y="248970"/>
                </a:cubicBezTo>
                <a:cubicBezTo>
                  <a:pt x="599423" y="235690"/>
                  <a:pt x="608223" y="222250"/>
                  <a:pt x="618623" y="209930"/>
                </a:cubicBezTo>
                <a:close/>
                <a:moveTo>
                  <a:pt x="558303" y="113130"/>
                </a:moveTo>
                <a:cubicBezTo>
                  <a:pt x="563743" y="121770"/>
                  <a:pt x="568383" y="130890"/>
                  <a:pt x="572543" y="140170"/>
                </a:cubicBezTo>
                <a:cubicBezTo>
                  <a:pt x="576703" y="149290"/>
                  <a:pt x="581023" y="158250"/>
                  <a:pt x="583743" y="168010"/>
                </a:cubicBezTo>
                <a:cubicBezTo>
                  <a:pt x="586463" y="177290"/>
                  <a:pt x="587423" y="187210"/>
                  <a:pt x="589663" y="196650"/>
                </a:cubicBezTo>
                <a:cubicBezTo>
                  <a:pt x="590943" y="202090"/>
                  <a:pt x="591583" y="208010"/>
                  <a:pt x="591743" y="213770"/>
                </a:cubicBezTo>
                <a:cubicBezTo>
                  <a:pt x="591263" y="218570"/>
                  <a:pt x="590623" y="223370"/>
                  <a:pt x="589663" y="228170"/>
                </a:cubicBezTo>
                <a:cubicBezTo>
                  <a:pt x="589023" y="231050"/>
                  <a:pt x="588383" y="233930"/>
                  <a:pt x="587583" y="236970"/>
                </a:cubicBezTo>
                <a:cubicBezTo>
                  <a:pt x="585183" y="240650"/>
                  <a:pt x="582623" y="244170"/>
                  <a:pt x="580063" y="247690"/>
                </a:cubicBezTo>
                <a:cubicBezTo>
                  <a:pt x="569983" y="261610"/>
                  <a:pt x="560863" y="276010"/>
                  <a:pt x="550143" y="289450"/>
                </a:cubicBezTo>
                <a:cubicBezTo>
                  <a:pt x="543903" y="297290"/>
                  <a:pt x="536703" y="307050"/>
                  <a:pt x="533663" y="317290"/>
                </a:cubicBezTo>
                <a:cubicBezTo>
                  <a:pt x="533343" y="317450"/>
                  <a:pt x="533023" y="317930"/>
                  <a:pt x="533023" y="318410"/>
                </a:cubicBezTo>
                <a:cubicBezTo>
                  <a:pt x="533023" y="319210"/>
                  <a:pt x="533023" y="319850"/>
                  <a:pt x="532863" y="320650"/>
                </a:cubicBezTo>
                <a:cubicBezTo>
                  <a:pt x="532863" y="320810"/>
                  <a:pt x="532703" y="321130"/>
                  <a:pt x="532703" y="321290"/>
                </a:cubicBezTo>
                <a:cubicBezTo>
                  <a:pt x="532063" y="322730"/>
                  <a:pt x="531903" y="324330"/>
                  <a:pt x="531423" y="326090"/>
                </a:cubicBezTo>
                <a:lnTo>
                  <a:pt x="531423" y="326090"/>
                </a:lnTo>
                <a:cubicBezTo>
                  <a:pt x="528703" y="325450"/>
                  <a:pt x="526143" y="324810"/>
                  <a:pt x="523423" y="324170"/>
                </a:cubicBezTo>
                <a:cubicBezTo>
                  <a:pt x="525503" y="322090"/>
                  <a:pt x="527103" y="319530"/>
                  <a:pt x="528863" y="317450"/>
                </a:cubicBezTo>
                <a:cubicBezTo>
                  <a:pt x="532383" y="312970"/>
                  <a:pt x="535583" y="308010"/>
                  <a:pt x="538623" y="303210"/>
                </a:cubicBezTo>
                <a:cubicBezTo>
                  <a:pt x="545023" y="293130"/>
                  <a:pt x="548543" y="280330"/>
                  <a:pt x="550303" y="268650"/>
                </a:cubicBezTo>
                <a:cubicBezTo>
                  <a:pt x="552063" y="257610"/>
                  <a:pt x="551103" y="246410"/>
                  <a:pt x="551903" y="235370"/>
                </a:cubicBezTo>
                <a:cubicBezTo>
                  <a:pt x="552863" y="223850"/>
                  <a:pt x="552863" y="212170"/>
                  <a:pt x="552703" y="200490"/>
                </a:cubicBezTo>
                <a:cubicBezTo>
                  <a:pt x="552543" y="188010"/>
                  <a:pt x="552383" y="175370"/>
                  <a:pt x="552223" y="162890"/>
                </a:cubicBezTo>
                <a:cubicBezTo>
                  <a:pt x="552063" y="148490"/>
                  <a:pt x="549823" y="134890"/>
                  <a:pt x="548223" y="120650"/>
                </a:cubicBezTo>
                <a:cubicBezTo>
                  <a:pt x="546783" y="107690"/>
                  <a:pt x="542783" y="94890"/>
                  <a:pt x="538143" y="82570"/>
                </a:cubicBezTo>
                <a:cubicBezTo>
                  <a:pt x="537823" y="81930"/>
                  <a:pt x="537663" y="81290"/>
                  <a:pt x="537503" y="80490"/>
                </a:cubicBezTo>
                <a:cubicBezTo>
                  <a:pt x="545343" y="90730"/>
                  <a:pt x="551583" y="102250"/>
                  <a:pt x="558303" y="113130"/>
                </a:cubicBezTo>
                <a:close/>
                <a:moveTo>
                  <a:pt x="525503" y="66890"/>
                </a:moveTo>
                <a:cubicBezTo>
                  <a:pt x="527263" y="68490"/>
                  <a:pt x="529023" y="70250"/>
                  <a:pt x="530783" y="72170"/>
                </a:cubicBezTo>
                <a:cubicBezTo>
                  <a:pt x="532543" y="77770"/>
                  <a:pt x="533023" y="84330"/>
                  <a:pt x="534463" y="88810"/>
                </a:cubicBezTo>
                <a:cubicBezTo>
                  <a:pt x="538143" y="100810"/>
                  <a:pt x="540863" y="113130"/>
                  <a:pt x="542303" y="125610"/>
                </a:cubicBezTo>
                <a:cubicBezTo>
                  <a:pt x="543743" y="138250"/>
                  <a:pt x="545983" y="150410"/>
                  <a:pt x="545663" y="163210"/>
                </a:cubicBezTo>
                <a:cubicBezTo>
                  <a:pt x="545343" y="175050"/>
                  <a:pt x="546463" y="187050"/>
                  <a:pt x="546143" y="198890"/>
                </a:cubicBezTo>
                <a:cubicBezTo>
                  <a:pt x="545983" y="203530"/>
                  <a:pt x="546623" y="208010"/>
                  <a:pt x="546463" y="212650"/>
                </a:cubicBezTo>
                <a:cubicBezTo>
                  <a:pt x="546463" y="217930"/>
                  <a:pt x="545663" y="223210"/>
                  <a:pt x="545663" y="228490"/>
                </a:cubicBezTo>
                <a:cubicBezTo>
                  <a:pt x="545503" y="239370"/>
                  <a:pt x="545663" y="250410"/>
                  <a:pt x="544703" y="261290"/>
                </a:cubicBezTo>
                <a:cubicBezTo>
                  <a:pt x="543743" y="273130"/>
                  <a:pt x="540543" y="284010"/>
                  <a:pt x="535903" y="294730"/>
                </a:cubicBezTo>
                <a:cubicBezTo>
                  <a:pt x="533663" y="300010"/>
                  <a:pt x="530143" y="304490"/>
                  <a:pt x="526943" y="309290"/>
                </a:cubicBezTo>
                <a:cubicBezTo>
                  <a:pt x="524383" y="313130"/>
                  <a:pt x="520863" y="319370"/>
                  <a:pt x="516543" y="321610"/>
                </a:cubicBezTo>
                <a:cubicBezTo>
                  <a:pt x="516063" y="321930"/>
                  <a:pt x="515743" y="322250"/>
                  <a:pt x="515423" y="322730"/>
                </a:cubicBezTo>
                <a:cubicBezTo>
                  <a:pt x="508543" y="321610"/>
                  <a:pt x="501663" y="320810"/>
                  <a:pt x="494623" y="320490"/>
                </a:cubicBezTo>
                <a:cubicBezTo>
                  <a:pt x="493343" y="320490"/>
                  <a:pt x="492063" y="320330"/>
                  <a:pt x="490943" y="320330"/>
                </a:cubicBezTo>
                <a:cubicBezTo>
                  <a:pt x="491103" y="320170"/>
                  <a:pt x="491103" y="320170"/>
                  <a:pt x="491263" y="320010"/>
                </a:cubicBezTo>
                <a:cubicBezTo>
                  <a:pt x="492863" y="318410"/>
                  <a:pt x="494143" y="316490"/>
                  <a:pt x="495743" y="314730"/>
                </a:cubicBezTo>
                <a:cubicBezTo>
                  <a:pt x="498463" y="311530"/>
                  <a:pt x="501023" y="308010"/>
                  <a:pt x="503263" y="304490"/>
                </a:cubicBezTo>
                <a:cubicBezTo>
                  <a:pt x="505823" y="300170"/>
                  <a:pt x="508863" y="296170"/>
                  <a:pt x="510943" y="291530"/>
                </a:cubicBezTo>
                <a:cubicBezTo>
                  <a:pt x="513183" y="286730"/>
                  <a:pt x="516223" y="282250"/>
                  <a:pt x="518623" y="277290"/>
                </a:cubicBezTo>
                <a:cubicBezTo>
                  <a:pt x="521343" y="271850"/>
                  <a:pt x="522623" y="265610"/>
                  <a:pt x="524223" y="259690"/>
                </a:cubicBezTo>
                <a:cubicBezTo>
                  <a:pt x="527583" y="247850"/>
                  <a:pt x="530143" y="235690"/>
                  <a:pt x="532223" y="223530"/>
                </a:cubicBezTo>
                <a:cubicBezTo>
                  <a:pt x="534303" y="212010"/>
                  <a:pt x="533823" y="200650"/>
                  <a:pt x="533823" y="188970"/>
                </a:cubicBezTo>
                <a:cubicBezTo>
                  <a:pt x="533663" y="176330"/>
                  <a:pt x="531743" y="164490"/>
                  <a:pt x="528383" y="152330"/>
                </a:cubicBezTo>
                <a:cubicBezTo>
                  <a:pt x="525663" y="142570"/>
                  <a:pt x="522943" y="132810"/>
                  <a:pt x="519103" y="123370"/>
                </a:cubicBezTo>
                <a:cubicBezTo>
                  <a:pt x="518943" y="121450"/>
                  <a:pt x="518783" y="119690"/>
                  <a:pt x="518463" y="117770"/>
                </a:cubicBezTo>
                <a:cubicBezTo>
                  <a:pt x="517023" y="108970"/>
                  <a:pt x="515903" y="100330"/>
                  <a:pt x="514463" y="91530"/>
                </a:cubicBezTo>
                <a:cubicBezTo>
                  <a:pt x="512863" y="81930"/>
                  <a:pt x="511583" y="72330"/>
                  <a:pt x="509343" y="62890"/>
                </a:cubicBezTo>
                <a:cubicBezTo>
                  <a:pt x="508383" y="58570"/>
                  <a:pt x="507263" y="54250"/>
                  <a:pt x="506143" y="49930"/>
                </a:cubicBezTo>
                <a:cubicBezTo>
                  <a:pt x="506143" y="49930"/>
                  <a:pt x="506143" y="49770"/>
                  <a:pt x="506143" y="49770"/>
                </a:cubicBezTo>
                <a:cubicBezTo>
                  <a:pt x="512543" y="55210"/>
                  <a:pt x="519103" y="61130"/>
                  <a:pt x="525503" y="66890"/>
                </a:cubicBezTo>
                <a:close/>
                <a:moveTo>
                  <a:pt x="482943" y="32810"/>
                </a:moveTo>
                <a:cubicBezTo>
                  <a:pt x="488383" y="37130"/>
                  <a:pt x="494143" y="40970"/>
                  <a:pt x="499583" y="44970"/>
                </a:cubicBezTo>
                <a:cubicBezTo>
                  <a:pt x="499743" y="45610"/>
                  <a:pt x="500063" y="46250"/>
                  <a:pt x="500223" y="46890"/>
                </a:cubicBezTo>
                <a:cubicBezTo>
                  <a:pt x="501823" y="51690"/>
                  <a:pt x="502143" y="57290"/>
                  <a:pt x="503103" y="62250"/>
                </a:cubicBezTo>
                <a:cubicBezTo>
                  <a:pt x="505503" y="73610"/>
                  <a:pt x="506783" y="84970"/>
                  <a:pt x="508543" y="96490"/>
                </a:cubicBezTo>
                <a:cubicBezTo>
                  <a:pt x="509023" y="99690"/>
                  <a:pt x="509503" y="103050"/>
                  <a:pt x="510143" y="106410"/>
                </a:cubicBezTo>
                <a:cubicBezTo>
                  <a:pt x="509663" y="105290"/>
                  <a:pt x="509183" y="104170"/>
                  <a:pt x="508863" y="103050"/>
                </a:cubicBezTo>
                <a:cubicBezTo>
                  <a:pt x="507903" y="99690"/>
                  <a:pt x="504223" y="96970"/>
                  <a:pt x="500863" y="96330"/>
                </a:cubicBezTo>
                <a:cubicBezTo>
                  <a:pt x="498463" y="95850"/>
                  <a:pt x="496383" y="97290"/>
                  <a:pt x="495743" y="99690"/>
                </a:cubicBezTo>
                <a:cubicBezTo>
                  <a:pt x="494783" y="103370"/>
                  <a:pt x="493343" y="103850"/>
                  <a:pt x="490303" y="106570"/>
                </a:cubicBezTo>
                <a:cubicBezTo>
                  <a:pt x="485663" y="110730"/>
                  <a:pt x="481183" y="115050"/>
                  <a:pt x="476543" y="119370"/>
                </a:cubicBezTo>
                <a:cubicBezTo>
                  <a:pt x="474143" y="121610"/>
                  <a:pt x="471583" y="123850"/>
                  <a:pt x="469023" y="126090"/>
                </a:cubicBezTo>
                <a:cubicBezTo>
                  <a:pt x="469983" y="122890"/>
                  <a:pt x="470783" y="119850"/>
                  <a:pt x="471583" y="117130"/>
                </a:cubicBezTo>
                <a:cubicBezTo>
                  <a:pt x="474943" y="105130"/>
                  <a:pt x="474623" y="93290"/>
                  <a:pt x="474943" y="81130"/>
                </a:cubicBezTo>
                <a:cubicBezTo>
                  <a:pt x="475263" y="67850"/>
                  <a:pt x="474783" y="54730"/>
                  <a:pt x="473823" y="41450"/>
                </a:cubicBezTo>
                <a:cubicBezTo>
                  <a:pt x="473503" y="36970"/>
                  <a:pt x="473343" y="30090"/>
                  <a:pt x="471583" y="24330"/>
                </a:cubicBezTo>
                <a:cubicBezTo>
                  <a:pt x="475423" y="27050"/>
                  <a:pt x="479263" y="29770"/>
                  <a:pt x="482943" y="32810"/>
                </a:cubicBezTo>
                <a:close/>
                <a:moveTo>
                  <a:pt x="439903" y="24010"/>
                </a:moveTo>
                <a:cubicBezTo>
                  <a:pt x="440223" y="23690"/>
                  <a:pt x="440383" y="23370"/>
                  <a:pt x="440703" y="23050"/>
                </a:cubicBezTo>
                <a:cubicBezTo>
                  <a:pt x="442943" y="20490"/>
                  <a:pt x="443743" y="17130"/>
                  <a:pt x="445823" y="14730"/>
                </a:cubicBezTo>
                <a:cubicBezTo>
                  <a:pt x="446783" y="13610"/>
                  <a:pt x="447583" y="12170"/>
                  <a:pt x="448543" y="10890"/>
                </a:cubicBezTo>
                <a:cubicBezTo>
                  <a:pt x="449663" y="9130"/>
                  <a:pt x="449823" y="8490"/>
                  <a:pt x="449823" y="8490"/>
                </a:cubicBezTo>
                <a:cubicBezTo>
                  <a:pt x="449823" y="8490"/>
                  <a:pt x="449823" y="8970"/>
                  <a:pt x="450303" y="9130"/>
                </a:cubicBezTo>
                <a:cubicBezTo>
                  <a:pt x="453343" y="11210"/>
                  <a:pt x="455903" y="14090"/>
                  <a:pt x="458943" y="16010"/>
                </a:cubicBezTo>
                <a:cubicBezTo>
                  <a:pt x="461183" y="17450"/>
                  <a:pt x="463263" y="18890"/>
                  <a:pt x="465503" y="20330"/>
                </a:cubicBezTo>
                <a:cubicBezTo>
                  <a:pt x="469343" y="27690"/>
                  <a:pt x="468383" y="38410"/>
                  <a:pt x="468703" y="46090"/>
                </a:cubicBezTo>
                <a:cubicBezTo>
                  <a:pt x="469183" y="57930"/>
                  <a:pt x="469183" y="69610"/>
                  <a:pt x="468703" y="81450"/>
                </a:cubicBezTo>
                <a:cubicBezTo>
                  <a:pt x="468383" y="91690"/>
                  <a:pt x="468703" y="101610"/>
                  <a:pt x="466463" y="111690"/>
                </a:cubicBezTo>
                <a:cubicBezTo>
                  <a:pt x="465183" y="117450"/>
                  <a:pt x="463583" y="123850"/>
                  <a:pt x="461183" y="129290"/>
                </a:cubicBezTo>
                <a:cubicBezTo>
                  <a:pt x="460063" y="132010"/>
                  <a:pt x="458303" y="134090"/>
                  <a:pt x="456863" y="136330"/>
                </a:cubicBezTo>
                <a:cubicBezTo>
                  <a:pt x="453343" y="139210"/>
                  <a:pt x="449823" y="142090"/>
                  <a:pt x="446303" y="144970"/>
                </a:cubicBezTo>
                <a:cubicBezTo>
                  <a:pt x="438943" y="151050"/>
                  <a:pt x="431743" y="157130"/>
                  <a:pt x="424703" y="163370"/>
                </a:cubicBezTo>
                <a:cubicBezTo>
                  <a:pt x="424063" y="152970"/>
                  <a:pt x="423583" y="142410"/>
                  <a:pt x="423583" y="131850"/>
                </a:cubicBezTo>
                <a:cubicBezTo>
                  <a:pt x="423583" y="117450"/>
                  <a:pt x="425663" y="103210"/>
                  <a:pt x="427263" y="88970"/>
                </a:cubicBezTo>
                <a:cubicBezTo>
                  <a:pt x="428703" y="76970"/>
                  <a:pt x="429343" y="64650"/>
                  <a:pt x="431583" y="52650"/>
                </a:cubicBezTo>
                <a:cubicBezTo>
                  <a:pt x="433503" y="42890"/>
                  <a:pt x="436703" y="33450"/>
                  <a:pt x="439903" y="24010"/>
                </a:cubicBezTo>
                <a:close/>
                <a:moveTo>
                  <a:pt x="403903" y="65130"/>
                </a:moveTo>
                <a:cubicBezTo>
                  <a:pt x="405183" y="61610"/>
                  <a:pt x="406623" y="58250"/>
                  <a:pt x="407263" y="54570"/>
                </a:cubicBezTo>
                <a:cubicBezTo>
                  <a:pt x="410303" y="51690"/>
                  <a:pt x="413343" y="48970"/>
                  <a:pt x="416543" y="46410"/>
                </a:cubicBezTo>
                <a:cubicBezTo>
                  <a:pt x="421983" y="41770"/>
                  <a:pt x="427423" y="37450"/>
                  <a:pt x="432383" y="32490"/>
                </a:cubicBezTo>
                <a:cubicBezTo>
                  <a:pt x="425663" y="49930"/>
                  <a:pt x="423903" y="69290"/>
                  <a:pt x="421823" y="87850"/>
                </a:cubicBezTo>
                <a:cubicBezTo>
                  <a:pt x="420383" y="101130"/>
                  <a:pt x="418303" y="114250"/>
                  <a:pt x="417663" y="127690"/>
                </a:cubicBezTo>
                <a:cubicBezTo>
                  <a:pt x="417183" y="141290"/>
                  <a:pt x="418143" y="155050"/>
                  <a:pt x="418943" y="168650"/>
                </a:cubicBezTo>
                <a:cubicBezTo>
                  <a:pt x="409343" y="177290"/>
                  <a:pt x="400063" y="186090"/>
                  <a:pt x="391423" y="195530"/>
                </a:cubicBezTo>
                <a:cubicBezTo>
                  <a:pt x="389183" y="197930"/>
                  <a:pt x="387103" y="200330"/>
                  <a:pt x="384863" y="202730"/>
                </a:cubicBezTo>
                <a:cubicBezTo>
                  <a:pt x="383743" y="192490"/>
                  <a:pt x="382463" y="182410"/>
                  <a:pt x="381823" y="172010"/>
                </a:cubicBezTo>
                <a:cubicBezTo>
                  <a:pt x="381023" y="157770"/>
                  <a:pt x="383903" y="142730"/>
                  <a:pt x="385983" y="128650"/>
                </a:cubicBezTo>
                <a:cubicBezTo>
                  <a:pt x="388223" y="113930"/>
                  <a:pt x="391743" y="99850"/>
                  <a:pt x="396863" y="85770"/>
                </a:cubicBezTo>
                <a:cubicBezTo>
                  <a:pt x="399263" y="78890"/>
                  <a:pt x="401343" y="71850"/>
                  <a:pt x="403903" y="65130"/>
                </a:cubicBezTo>
                <a:close/>
                <a:moveTo>
                  <a:pt x="372703" y="96810"/>
                </a:moveTo>
                <a:cubicBezTo>
                  <a:pt x="373823" y="93770"/>
                  <a:pt x="375103" y="90730"/>
                  <a:pt x="376383" y="87850"/>
                </a:cubicBezTo>
                <a:cubicBezTo>
                  <a:pt x="384223" y="77930"/>
                  <a:pt x="392703" y="68650"/>
                  <a:pt x="401663" y="59850"/>
                </a:cubicBezTo>
                <a:cubicBezTo>
                  <a:pt x="400543" y="62250"/>
                  <a:pt x="399423" y="64650"/>
                  <a:pt x="398463" y="67050"/>
                </a:cubicBezTo>
                <a:cubicBezTo>
                  <a:pt x="395743" y="73770"/>
                  <a:pt x="393343" y="80810"/>
                  <a:pt x="390783" y="87690"/>
                </a:cubicBezTo>
                <a:cubicBezTo>
                  <a:pt x="385663" y="101290"/>
                  <a:pt x="382463" y="115370"/>
                  <a:pt x="380223" y="129770"/>
                </a:cubicBezTo>
                <a:cubicBezTo>
                  <a:pt x="378143" y="142730"/>
                  <a:pt x="375263" y="157130"/>
                  <a:pt x="375903" y="170250"/>
                </a:cubicBezTo>
                <a:cubicBezTo>
                  <a:pt x="376223" y="177290"/>
                  <a:pt x="376543" y="184330"/>
                  <a:pt x="377183" y="191210"/>
                </a:cubicBezTo>
                <a:cubicBezTo>
                  <a:pt x="377823" y="197130"/>
                  <a:pt x="378783" y="203050"/>
                  <a:pt x="379583" y="208970"/>
                </a:cubicBezTo>
                <a:cubicBezTo>
                  <a:pt x="375743" y="213610"/>
                  <a:pt x="372063" y="218570"/>
                  <a:pt x="368543" y="223530"/>
                </a:cubicBezTo>
                <a:cubicBezTo>
                  <a:pt x="362143" y="232490"/>
                  <a:pt x="357023" y="242570"/>
                  <a:pt x="351903" y="252330"/>
                </a:cubicBezTo>
                <a:cubicBezTo>
                  <a:pt x="350623" y="247530"/>
                  <a:pt x="350143" y="242410"/>
                  <a:pt x="349823" y="237610"/>
                </a:cubicBezTo>
                <a:cubicBezTo>
                  <a:pt x="349343" y="229930"/>
                  <a:pt x="349183" y="222250"/>
                  <a:pt x="349023" y="214730"/>
                </a:cubicBezTo>
                <a:cubicBezTo>
                  <a:pt x="348703" y="198250"/>
                  <a:pt x="349183" y="181450"/>
                  <a:pt x="351263" y="164970"/>
                </a:cubicBezTo>
                <a:cubicBezTo>
                  <a:pt x="353343" y="149130"/>
                  <a:pt x="358783" y="134730"/>
                  <a:pt x="364063" y="119850"/>
                </a:cubicBezTo>
                <a:cubicBezTo>
                  <a:pt x="366783" y="112010"/>
                  <a:pt x="369663" y="104490"/>
                  <a:pt x="372703" y="96810"/>
                </a:cubicBezTo>
                <a:close/>
                <a:moveTo>
                  <a:pt x="323583" y="205130"/>
                </a:moveTo>
                <a:cubicBezTo>
                  <a:pt x="323583" y="195210"/>
                  <a:pt x="326303" y="186090"/>
                  <a:pt x="329343" y="176650"/>
                </a:cubicBezTo>
                <a:cubicBezTo>
                  <a:pt x="334943" y="159370"/>
                  <a:pt x="343263" y="142410"/>
                  <a:pt x="351583" y="126250"/>
                </a:cubicBezTo>
                <a:cubicBezTo>
                  <a:pt x="355583" y="118570"/>
                  <a:pt x="359903" y="111050"/>
                  <a:pt x="364703" y="103850"/>
                </a:cubicBezTo>
                <a:cubicBezTo>
                  <a:pt x="364383" y="104650"/>
                  <a:pt x="363903" y="105610"/>
                  <a:pt x="363583" y="106410"/>
                </a:cubicBezTo>
                <a:cubicBezTo>
                  <a:pt x="356863" y="122570"/>
                  <a:pt x="350143" y="139690"/>
                  <a:pt x="346783" y="156970"/>
                </a:cubicBezTo>
                <a:cubicBezTo>
                  <a:pt x="345183" y="165290"/>
                  <a:pt x="344543" y="173930"/>
                  <a:pt x="344063" y="182410"/>
                </a:cubicBezTo>
                <a:cubicBezTo>
                  <a:pt x="343583" y="191690"/>
                  <a:pt x="342943" y="201290"/>
                  <a:pt x="343103" y="210570"/>
                </a:cubicBezTo>
                <a:cubicBezTo>
                  <a:pt x="343583" y="225930"/>
                  <a:pt x="341663" y="243530"/>
                  <a:pt x="347583" y="258090"/>
                </a:cubicBezTo>
                <a:cubicBezTo>
                  <a:pt x="347743" y="258410"/>
                  <a:pt x="347903" y="258730"/>
                  <a:pt x="348223" y="259050"/>
                </a:cubicBezTo>
                <a:cubicBezTo>
                  <a:pt x="346303" y="262730"/>
                  <a:pt x="344543" y="266730"/>
                  <a:pt x="342943" y="270730"/>
                </a:cubicBezTo>
                <a:cubicBezTo>
                  <a:pt x="341343" y="263850"/>
                  <a:pt x="339423" y="256970"/>
                  <a:pt x="337343" y="250090"/>
                </a:cubicBezTo>
                <a:cubicBezTo>
                  <a:pt x="334943" y="242250"/>
                  <a:pt x="333343" y="234410"/>
                  <a:pt x="329663" y="227050"/>
                </a:cubicBezTo>
                <a:cubicBezTo>
                  <a:pt x="327903" y="223530"/>
                  <a:pt x="325663" y="220330"/>
                  <a:pt x="323423" y="217290"/>
                </a:cubicBezTo>
                <a:cubicBezTo>
                  <a:pt x="324543" y="213290"/>
                  <a:pt x="323583" y="208970"/>
                  <a:pt x="323583" y="205130"/>
                </a:cubicBezTo>
                <a:close/>
                <a:moveTo>
                  <a:pt x="322303" y="229450"/>
                </a:moveTo>
                <a:cubicBezTo>
                  <a:pt x="326463" y="237130"/>
                  <a:pt x="327903" y="245930"/>
                  <a:pt x="330463" y="254410"/>
                </a:cubicBezTo>
                <a:cubicBezTo>
                  <a:pt x="332543" y="261290"/>
                  <a:pt x="334943" y="268490"/>
                  <a:pt x="335903" y="275530"/>
                </a:cubicBezTo>
                <a:cubicBezTo>
                  <a:pt x="336863" y="282570"/>
                  <a:pt x="337983" y="289930"/>
                  <a:pt x="340383" y="296650"/>
                </a:cubicBezTo>
                <a:cubicBezTo>
                  <a:pt x="342783" y="303690"/>
                  <a:pt x="344863" y="310410"/>
                  <a:pt x="345663" y="317770"/>
                </a:cubicBezTo>
                <a:cubicBezTo>
                  <a:pt x="346463" y="325770"/>
                  <a:pt x="347583" y="333610"/>
                  <a:pt x="348063" y="341610"/>
                </a:cubicBezTo>
                <a:cubicBezTo>
                  <a:pt x="348223" y="345930"/>
                  <a:pt x="349503" y="349930"/>
                  <a:pt x="349983" y="354090"/>
                </a:cubicBezTo>
                <a:cubicBezTo>
                  <a:pt x="350463" y="358890"/>
                  <a:pt x="350463" y="363850"/>
                  <a:pt x="350783" y="368650"/>
                </a:cubicBezTo>
                <a:cubicBezTo>
                  <a:pt x="351103" y="373130"/>
                  <a:pt x="351423" y="377610"/>
                  <a:pt x="351263" y="382090"/>
                </a:cubicBezTo>
                <a:cubicBezTo>
                  <a:pt x="351263" y="384490"/>
                  <a:pt x="349983" y="386090"/>
                  <a:pt x="349503" y="388330"/>
                </a:cubicBezTo>
                <a:cubicBezTo>
                  <a:pt x="349343" y="388970"/>
                  <a:pt x="349343" y="389610"/>
                  <a:pt x="349503" y="390250"/>
                </a:cubicBezTo>
                <a:cubicBezTo>
                  <a:pt x="343583" y="387210"/>
                  <a:pt x="337503" y="384330"/>
                  <a:pt x="331423" y="381770"/>
                </a:cubicBezTo>
                <a:cubicBezTo>
                  <a:pt x="330623" y="379850"/>
                  <a:pt x="329503" y="377930"/>
                  <a:pt x="329183" y="375850"/>
                </a:cubicBezTo>
                <a:cubicBezTo>
                  <a:pt x="328543" y="372330"/>
                  <a:pt x="329823" y="368810"/>
                  <a:pt x="330143" y="365290"/>
                </a:cubicBezTo>
                <a:cubicBezTo>
                  <a:pt x="330623" y="357130"/>
                  <a:pt x="328223" y="349130"/>
                  <a:pt x="328863" y="340970"/>
                </a:cubicBezTo>
                <a:cubicBezTo>
                  <a:pt x="329983" y="325450"/>
                  <a:pt x="328383" y="309130"/>
                  <a:pt x="326623" y="293610"/>
                </a:cubicBezTo>
                <a:cubicBezTo>
                  <a:pt x="325663" y="284970"/>
                  <a:pt x="323903" y="276490"/>
                  <a:pt x="322943" y="268010"/>
                </a:cubicBezTo>
                <a:cubicBezTo>
                  <a:pt x="321983" y="259370"/>
                  <a:pt x="321183" y="250570"/>
                  <a:pt x="319743" y="241930"/>
                </a:cubicBezTo>
                <a:cubicBezTo>
                  <a:pt x="318463" y="234410"/>
                  <a:pt x="316543" y="227050"/>
                  <a:pt x="314943" y="219690"/>
                </a:cubicBezTo>
                <a:cubicBezTo>
                  <a:pt x="314783" y="219050"/>
                  <a:pt x="314623" y="218410"/>
                  <a:pt x="314623" y="217930"/>
                </a:cubicBezTo>
                <a:cubicBezTo>
                  <a:pt x="317183" y="221610"/>
                  <a:pt x="320063" y="225290"/>
                  <a:pt x="322303" y="229450"/>
                </a:cubicBezTo>
                <a:close/>
                <a:moveTo>
                  <a:pt x="306143" y="207050"/>
                </a:moveTo>
                <a:cubicBezTo>
                  <a:pt x="306303" y="207370"/>
                  <a:pt x="306463" y="207850"/>
                  <a:pt x="306783" y="208170"/>
                </a:cubicBezTo>
                <a:cubicBezTo>
                  <a:pt x="307263" y="209770"/>
                  <a:pt x="307743" y="211210"/>
                  <a:pt x="308223" y="212650"/>
                </a:cubicBezTo>
                <a:cubicBezTo>
                  <a:pt x="310783" y="221130"/>
                  <a:pt x="312063" y="231050"/>
                  <a:pt x="313663" y="239850"/>
                </a:cubicBezTo>
                <a:cubicBezTo>
                  <a:pt x="315103" y="248490"/>
                  <a:pt x="315903" y="257290"/>
                  <a:pt x="316703" y="265930"/>
                </a:cubicBezTo>
                <a:cubicBezTo>
                  <a:pt x="317663" y="275370"/>
                  <a:pt x="319423" y="284650"/>
                  <a:pt x="320543" y="293930"/>
                </a:cubicBezTo>
                <a:cubicBezTo>
                  <a:pt x="322463" y="310090"/>
                  <a:pt x="323583" y="327050"/>
                  <a:pt x="322303" y="343210"/>
                </a:cubicBezTo>
                <a:cubicBezTo>
                  <a:pt x="321663" y="351210"/>
                  <a:pt x="325663" y="360490"/>
                  <a:pt x="323103" y="368330"/>
                </a:cubicBezTo>
                <a:cubicBezTo>
                  <a:pt x="321823" y="372330"/>
                  <a:pt x="322783" y="375530"/>
                  <a:pt x="323903" y="378890"/>
                </a:cubicBezTo>
                <a:cubicBezTo>
                  <a:pt x="317343" y="376650"/>
                  <a:pt x="310783" y="374890"/>
                  <a:pt x="304223" y="373770"/>
                </a:cubicBezTo>
                <a:cubicBezTo>
                  <a:pt x="301823" y="373290"/>
                  <a:pt x="299423" y="373130"/>
                  <a:pt x="297023" y="372810"/>
                </a:cubicBezTo>
                <a:cubicBezTo>
                  <a:pt x="296383" y="371370"/>
                  <a:pt x="295903" y="370090"/>
                  <a:pt x="295743" y="368330"/>
                </a:cubicBezTo>
                <a:cubicBezTo>
                  <a:pt x="295583" y="364170"/>
                  <a:pt x="295263" y="360010"/>
                  <a:pt x="295103" y="355850"/>
                </a:cubicBezTo>
                <a:cubicBezTo>
                  <a:pt x="294783" y="346250"/>
                  <a:pt x="296863" y="336810"/>
                  <a:pt x="297823" y="327370"/>
                </a:cubicBezTo>
                <a:cubicBezTo>
                  <a:pt x="298783" y="318410"/>
                  <a:pt x="298463" y="309130"/>
                  <a:pt x="299743" y="300170"/>
                </a:cubicBezTo>
                <a:cubicBezTo>
                  <a:pt x="301023" y="290730"/>
                  <a:pt x="302463" y="281290"/>
                  <a:pt x="303103" y="271690"/>
                </a:cubicBezTo>
                <a:cubicBezTo>
                  <a:pt x="303743" y="262250"/>
                  <a:pt x="303743" y="253290"/>
                  <a:pt x="301983" y="244010"/>
                </a:cubicBezTo>
                <a:cubicBezTo>
                  <a:pt x="300223" y="234570"/>
                  <a:pt x="297503" y="225930"/>
                  <a:pt x="297023" y="216330"/>
                </a:cubicBezTo>
                <a:cubicBezTo>
                  <a:pt x="296863" y="212490"/>
                  <a:pt x="294623" y="208490"/>
                  <a:pt x="293983" y="204650"/>
                </a:cubicBezTo>
                <a:cubicBezTo>
                  <a:pt x="293183" y="200330"/>
                  <a:pt x="292223" y="196170"/>
                  <a:pt x="291103" y="192010"/>
                </a:cubicBezTo>
                <a:cubicBezTo>
                  <a:pt x="290623" y="190250"/>
                  <a:pt x="290143" y="188650"/>
                  <a:pt x="289663" y="186890"/>
                </a:cubicBezTo>
                <a:cubicBezTo>
                  <a:pt x="290623" y="187850"/>
                  <a:pt x="291583" y="188650"/>
                  <a:pt x="292543" y="189610"/>
                </a:cubicBezTo>
                <a:cubicBezTo>
                  <a:pt x="297503" y="194890"/>
                  <a:pt x="301983" y="201130"/>
                  <a:pt x="306143" y="207050"/>
                </a:cubicBezTo>
                <a:close/>
                <a:moveTo>
                  <a:pt x="211423" y="93930"/>
                </a:moveTo>
                <a:cubicBezTo>
                  <a:pt x="211903" y="94090"/>
                  <a:pt x="212383" y="93610"/>
                  <a:pt x="212383" y="93130"/>
                </a:cubicBezTo>
                <a:cubicBezTo>
                  <a:pt x="216863" y="93610"/>
                  <a:pt x="224383" y="95210"/>
                  <a:pt x="225983" y="95690"/>
                </a:cubicBezTo>
                <a:cubicBezTo>
                  <a:pt x="232863" y="97130"/>
                  <a:pt x="239263" y="100970"/>
                  <a:pt x="245343" y="104490"/>
                </a:cubicBezTo>
                <a:cubicBezTo>
                  <a:pt x="257823" y="111850"/>
                  <a:pt x="268063" y="121930"/>
                  <a:pt x="273023" y="135850"/>
                </a:cubicBezTo>
                <a:cubicBezTo>
                  <a:pt x="275583" y="143050"/>
                  <a:pt x="277343" y="150410"/>
                  <a:pt x="280863" y="157130"/>
                </a:cubicBezTo>
                <a:cubicBezTo>
                  <a:pt x="284383" y="164010"/>
                  <a:pt x="288543" y="170410"/>
                  <a:pt x="292383" y="177130"/>
                </a:cubicBezTo>
                <a:cubicBezTo>
                  <a:pt x="293503" y="179050"/>
                  <a:pt x="294463" y="180810"/>
                  <a:pt x="295423" y="182730"/>
                </a:cubicBezTo>
                <a:cubicBezTo>
                  <a:pt x="286463" y="173450"/>
                  <a:pt x="277023" y="164490"/>
                  <a:pt x="267903" y="155210"/>
                </a:cubicBezTo>
                <a:cubicBezTo>
                  <a:pt x="256383" y="143530"/>
                  <a:pt x="245343" y="131210"/>
                  <a:pt x="233823" y="119370"/>
                </a:cubicBezTo>
                <a:cubicBezTo>
                  <a:pt x="232383" y="117930"/>
                  <a:pt x="213823" y="101610"/>
                  <a:pt x="211103" y="93930"/>
                </a:cubicBezTo>
                <a:cubicBezTo>
                  <a:pt x="211263" y="93930"/>
                  <a:pt x="211423" y="93930"/>
                  <a:pt x="211423" y="93930"/>
                </a:cubicBezTo>
                <a:close/>
                <a:moveTo>
                  <a:pt x="217023" y="204650"/>
                </a:moveTo>
                <a:cubicBezTo>
                  <a:pt x="216543" y="191370"/>
                  <a:pt x="215263" y="178250"/>
                  <a:pt x="214783" y="164970"/>
                </a:cubicBezTo>
                <a:cubicBezTo>
                  <a:pt x="214303" y="152650"/>
                  <a:pt x="214623" y="140490"/>
                  <a:pt x="213823" y="128170"/>
                </a:cubicBezTo>
                <a:cubicBezTo>
                  <a:pt x="213343" y="119690"/>
                  <a:pt x="211743" y="111370"/>
                  <a:pt x="210783" y="103050"/>
                </a:cubicBezTo>
                <a:cubicBezTo>
                  <a:pt x="211743" y="104490"/>
                  <a:pt x="212703" y="105930"/>
                  <a:pt x="213343" y="106890"/>
                </a:cubicBezTo>
                <a:cubicBezTo>
                  <a:pt x="216383" y="111370"/>
                  <a:pt x="220543" y="114730"/>
                  <a:pt x="224383" y="118570"/>
                </a:cubicBezTo>
                <a:cubicBezTo>
                  <a:pt x="224383" y="118730"/>
                  <a:pt x="224543" y="118890"/>
                  <a:pt x="224863" y="119050"/>
                </a:cubicBezTo>
                <a:cubicBezTo>
                  <a:pt x="224863" y="119050"/>
                  <a:pt x="224863" y="119050"/>
                  <a:pt x="225023" y="119050"/>
                </a:cubicBezTo>
                <a:cubicBezTo>
                  <a:pt x="225023" y="119050"/>
                  <a:pt x="225183" y="119210"/>
                  <a:pt x="225183" y="119210"/>
                </a:cubicBezTo>
                <a:cubicBezTo>
                  <a:pt x="225503" y="119530"/>
                  <a:pt x="225663" y="119850"/>
                  <a:pt x="225983" y="120010"/>
                </a:cubicBezTo>
                <a:cubicBezTo>
                  <a:pt x="227423" y="122410"/>
                  <a:pt x="228063" y="127370"/>
                  <a:pt x="228383" y="129130"/>
                </a:cubicBezTo>
                <a:cubicBezTo>
                  <a:pt x="229183" y="133130"/>
                  <a:pt x="229823" y="137130"/>
                  <a:pt x="230623" y="141130"/>
                </a:cubicBezTo>
                <a:cubicBezTo>
                  <a:pt x="231903" y="147210"/>
                  <a:pt x="233023" y="152970"/>
                  <a:pt x="233343" y="159370"/>
                </a:cubicBezTo>
                <a:cubicBezTo>
                  <a:pt x="233663" y="166090"/>
                  <a:pt x="235423" y="172650"/>
                  <a:pt x="235743" y="179370"/>
                </a:cubicBezTo>
                <a:cubicBezTo>
                  <a:pt x="236543" y="192170"/>
                  <a:pt x="235903" y="204970"/>
                  <a:pt x="236223" y="217610"/>
                </a:cubicBezTo>
                <a:cubicBezTo>
                  <a:pt x="236543" y="230090"/>
                  <a:pt x="237663" y="242410"/>
                  <a:pt x="237503" y="254890"/>
                </a:cubicBezTo>
                <a:cubicBezTo>
                  <a:pt x="237343" y="267210"/>
                  <a:pt x="236063" y="279210"/>
                  <a:pt x="235583" y="291530"/>
                </a:cubicBezTo>
                <a:cubicBezTo>
                  <a:pt x="235103" y="304490"/>
                  <a:pt x="233023" y="317290"/>
                  <a:pt x="233663" y="330250"/>
                </a:cubicBezTo>
                <a:cubicBezTo>
                  <a:pt x="234143" y="340490"/>
                  <a:pt x="233183" y="350730"/>
                  <a:pt x="233503" y="360970"/>
                </a:cubicBezTo>
                <a:cubicBezTo>
                  <a:pt x="233503" y="361610"/>
                  <a:pt x="233503" y="362410"/>
                  <a:pt x="233663" y="363210"/>
                </a:cubicBezTo>
                <a:cubicBezTo>
                  <a:pt x="230623" y="358890"/>
                  <a:pt x="231103" y="352650"/>
                  <a:pt x="229663" y="347690"/>
                </a:cubicBezTo>
                <a:cubicBezTo>
                  <a:pt x="226303" y="336650"/>
                  <a:pt x="225983" y="325290"/>
                  <a:pt x="224543" y="314090"/>
                </a:cubicBezTo>
                <a:cubicBezTo>
                  <a:pt x="223263" y="302890"/>
                  <a:pt x="221023" y="291850"/>
                  <a:pt x="220383" y="280650"/>
                </a:cubicBezTo>
                <a:cubicBezTo>
                  <a:pt x="219743" y="268330"/>
                  <a:pt x="217823" y="256170"/>
                  <a:pt x="217023" y="244010"/>
                </a:cubicBezTo>
                <a:cubicBezTo>
                  <a:pt x="216383" y="230570"/>
                  <a:pt x="217663" y="217610"/>
                  <a:pt x="217023" y="204650"/>
                </a:cubicBezTo>
                <a:close/>
                <a:moveTo>
                  <a:pt x="111583" y="165130"/>
                </a:moveTo>
                <a:cubicBezTo>
                  <a:pt x="119263" y="166890"/>
                  <a:pt x="126623" y="167690"/>
                  <a:pt x="134623" y="167370"/>
                </a:cubicBezTo>
                <a:cubicBezTo>
                  <a:pt x="142943" y="167210"/>
                  <a:pt x="150783" y="170410"/>
                  <a:pt x="158943" y="170890"/>
                </a:cubicBezTo>
                <a:cubicBezTo>
                  <a:pt x="163423" y="171050"/>
                  <a:pt x="167423" y="171050"/>
                  <a:pt x="171903" y="172170"/>
                </a:cubicBezTo>
                <a:cubicBezTo>
                  <a:pt x="177023" y="173290"/>
                  <a:pt x="181503" y="175850"/>
                  <a:pt x="186303" y="177770"/>
                </a:cubicBezTo>
                <a:cubicBezTo>
                  <a:pt x="189503" y="179050"/>
                  <a:pt x="192383" y="180330"/>
                  <a:pt x="195263" y="181930"/>
                </a:cubicBezTo>
                <a:cubicBezTo>
                  <a:pt x="197023" y="182890"/>
                  <a:pt x="199583" y="183370"/>
                  <a:pt x="201503" y="184490"/>
                </a:cubicBezTo>
                <a:cubicBezTo>
                  <a:pt x="201823" y="186250"/>
                  <a:pt x="202943" y="187850"/>
                  <a:pt x="204863" y="188010"/>
                </a:cubicBezTo>
                <a:cubicBezTo>
                  <a:pt x="205663" y="190090"/>
                  <a:pt x="206623" y="192010"/>
                  <a:pt x="207263" y="194090"/>
                </a:cubicBezTo>
                <a:cubicBezTo>
                  <a:pt x="207583" y="199210"/>
                  <a:pt x="207903" y="204490"/>
                  <a:pt x="208063" y="209610"/>
                </a:cubicBezTo>
                <a:cubicBezTo>
                  <a:pt x="208223" y="216490"/>
                  <a:pt x="208223" y="223370"/>
                  <a:pt x="207743" y="230250"/>
                </a:cubicBezTo>
                <a:cubicBezTo>
                  <a:pt x="207263" y="237930"/>
                  <a:pt x="207903" y="245450"/>
                  <a:pt x="208383" y="253130"/>
                </a:cubicBezTo>
                <a:cubicBezTo>
                  <a:pt x="208543" y="256010"/>
                  <a:pt x="208863" y="258890"/>
                  <a:pt x="209183" y="261770"/>
                </a:cubicBezTo>
                <a:cubicBezTo>
                  <a:pt x="205343" y="256170"/>
                  <a:pt x="201023" y="250890"/>
                  <a:pt x="197503" y="244970"/>
                </a:cubicBezTo>
                <a:cubicBezTo>
                  <a:pt x="189343" y="231370"/>
                  <a:pt x="179263" y="218250"/>
                  <a:pt x="167583" y="207210"/>
                </a:cubicBezTo>
                <a:cubicBezTo>
                  <a:pt x="161343" y="201290"/>
                  <a:pt x="155743" y="195690"/>
                  <a:pt x="148863" y="190570"/>
                </a:cubicBezTo>
                <a:cubicBezTo>
                  <a:pt x="142463" y="185770"/>
                  <a:pt x="135583" y="181610"/>
                  <a:pt x="128703" y="177290"/>
                </a:cubicBezTo>
                <a:cubicBezTo>
                  <a:pt x="121183" y="172490"/>
                  <a:pt x="113343" y="168970"/>
                  <a:pt x="105343" y="165450"/>
                </a:cubicBezTo>
                <a:cubicBezTo>
                  <a:pt x="103423" y="164650"/>
                  <a:pt x="101503" y="163850"/>
                  <a:pt x="99583" y="163050"/>
                </a:cubicBezTo>
                <a:cubicBezTo>
                  <a:pt x="103743" y="163690"/>
                  <a:pt x="107743" y="164170"/>
                  <a:pt x="111583" y="165130"/>
                </a:cubicBezTo>
                <a:close/>
                <a:moveTo>
                  <a:pt x="65983" y="160810"/>
                </a:moveTo>
                <a:cubicBezTo>
                  <a:pt x="71743" y="160170"/>
                  <a:pt x="77503" y="160970"/>
                  <a:pt x="83263" y="161450"/>
                </a:cubicBezTo>
                <a:cubicBezTo>
                  <a:pt x="85983" y="161770"/>
                  <a:pt x="88703" y="161930"/>
                  <a:pt x="91263" y="162250"/>
                </a:cubicBezTo>
                <a:cubicBezTo>
                  <a:pt x="92063" y="162890"/>
                  <a:pt x="92703" y="163530"/>
                  <a:pt x="93503" y="164330"/>
                </a:cubicBezTo>
                <a:cubicBezTo>
                  <a:pt x="95743" y="166570"/>
                  <a:pt x="100543" y="167850"/>
                  <a:pt x="103423" y="169290"/>
                </a:cubicBezTo>
                <a:cubicBezTo>
                  <a:pt x="110623" y="172970"/>
                  <a:pt x="117823" y="176170"/>
                  <a:pt x="124543" y="180490"/>
                </a:cubicBezTo>
                <a:cubicBezTo>
                  <a:pt x="131583" y="184970"/>
                  <a:pt x="138623" y="189450"/>
                  <a:pt x="145183" y="194570"/>
                </a:cubicBezTo>
                <a:cubicBezTo>
                  <a:pt x="152063" y="199690"/>
                  <a:pt x="157503" y="205610"/>
                  <a:pt x="163743" y="211370"/>
                </a:cubicBezTo>
                <a:cubicBezTo>
                  <a:pt x="174943" y="221770"/>
                  <a:pt x="184543" y="235210"/>
                  <a:pt x="192383" y="248170"/>
                </a:cubicBezTo>
                <a:cubicBezTo>
                  <a:pt x="196063" y="254410"/>
                  <a:pt x="200543" y="260010"/>
                  <a:pt x="204703" y="265930"/>
                </a:cubicBezTo>
                <a:cubicBezTo>
                  <a:pt x="206783" y="268810"/>
                  <a:pt x="209343" y="272330"/>
                  <a:pt x="210623" y="275850"/>
                </a:cubicBezTo>
                <a:cubicBezTo>
                  <a:pt x="210943" y="280810"/>
                  <a:pt x="211103" y="285930"/>
                  <a:pt x="211583" y="290890"/>
                </a:cubicBezTo>
                <a:cubicBezTo>
                  <a:pt x="212703" y="302890"/>
                  <a:pt x="215263" y="314730"/>
                  <a:pt x="215903" y="326890"/>
                </a:cubicBezTo>
                <a:cubicBezTo>
                  <a:pt x="216063" y="328490"/>
                  <a:pt x="216223" y="330090"/>
                  <a:pt x="216383" y="331850"/>
                </a:cubicBezTo>
                <a:cubicBezTo>
                  <a:pt x="215903" y="330890"/>
                  <a:pt x="215423" y="329930"/>
                  <a:pt x="214783" y="328970"/>
                </a:cubicBezTo>
                <a:cubicBezTo>
                  <a:pt x="208863" y="319050"/>
                  <a:pt x="202943" y="308970"/>
                  <a:pt x="196223" y="299690"/>
                </a:cubicBezTo>
                <a:cubicBezTo>
                  <a:pt x="181663" y="279370"/>
                  <a:pt x="167743" y="257450"/>
                  <a:pt x="150463" y="239050"/>
                </a:cubicBezTo>
                <a:cubicBezTo>
                  <a:pt x="142623" y="230570"/>
                  <a:pt x="133183" y="223530"/>
                  <a:pt x="124863" y="215370"/>
                </a:cubicBezTo>
                <a:cubicBezTo>
                  <a:pt x="120223" y="210890"/>
                  <a:pt x="114783" y="207210"/>
                  <a:pt x="109823" y="203050"/>
                </a:cubicBezTo>
                <a:cubicBezTo>
                  <a:pt x="105183" y="199210"/>
                  <a:pt x="100703" y="195050"/>
                  <a:pt x="95903" y="191210"/>
                </a:cubicBezTo>
                <a:cubicBezTo>
                  <a:pt x="85983" y="183370"/>
                  <a:pt x="75583" y="175850"/>
                  <a:pt x="65343" y="168330"/>
                </a:cubicBezTo>
                <a:cubicBezTo>
                  <a:pt x="62463" y="166250"/>
                  <a:pt x="59263" y="163690"/>
                  <a:pt x="55743" y="161450"/>
                </a:cubicBezTo>
                <a:cubicBezTo>
                  <a:pt x="59263" y="161610"/>
                  <a:pt x="62623" y="161130"/>
                  <a:pt x="65983" y="160810"/>
                </a:cubicBezTo>
                <a:close/>
                <a:moveTo>
                  <a:pt x="46943" y="161450"/>
                </a:moveTo>
                <a:cubicBezTo>
                  <a:pt x="54623" y="164970"/>
                  <a:pt x="61343" y="170730"/>
                  <a:pt x="67743" y="175850"/>
                </a:cubicBezTo>
                <a:cubicBezTo>
                  <a:pt x="77023" y="183210"/>
                  <a:pt x="86783" y="190090"/>
                  <a:pt x="95903" y="197610"/>
                </a:cubicBezTo>
                <a:cubicBezTo>
                  <a:pt x="113823" y="212490"/>
                  <a:pt x="132543" y="227690"/>
                  <a:pt x="148223" y="244810"/>
                </a:cubicBezTo>
                <a:cubicBezTo>
                  <a:pt x="157183" y="254570"/>
                  <a:pt x="164543" y="265930"/>
                  <a:pt x="172383" y="276490"/>
                </a:cubicBezTo>
                <a:cubicBezTo>
                  <a:pt x="179743" y="286410"/>
                  <a:pt x="186623" y="296330"/>
                  <a:pt x="193663" y="306570"/>
                </a:cubicBezTo>
                <a:cubicBezTo>
                  <a:pt x="199743" y="315370"/>
                  <a:pt x="205343" y="324970"/>
                  <a:pt x="210783" y="334090"/>
                </a:cubicBezTo>
                <a:cubicBezTo>
                  <a:pt x="213503" y="338570"/>
                  <a:pt x="216063" y="343690"/>
                  <a:pt x="217823" y="348490"/>
                </a:cubicBezTo>
                <a:cubicBezTo>
                  <a:pt x="218783" y="351210"/>
                  <a:pt x="219583" y="353610"/>
                  <a:pt x="221183" y="355530"/>
                </a:cubicBezTo>
                <a:cubicBezTo>
                  <a:pt x="221823" y="357930"/>
                  <a:pt x="222303" y="360170"/>
                  <a:pt x="223103" y="362410"/>
                </a:cubicBezTo>
                <a:cubicBezTo>
                  <a:pt x="224223" y="365770"/>
                  <a:pt x="226623" y="370250"/>
                  <a:pt x="229823" y="373770"/>
                </a:cubicBezTo>
                <a:cubicBezTo>
                  <a:pt x="229023" y="374250"/>
                  <a:pt x="228063" y="374570"/>
                  <a:pt x="227103" y="374890"/>
                </a:cubicBezTo>
                <a:cubicBezTo>
                  <a:pt x="226143" y="373610"/>
                  <a:pt x="224543" y="373450"/>
                  <a:pt x="223103" y="374090"/>
                </a:cubicBezTo>
                <a:cubicBezTo>
                  <a:pt x="213023" y="369770"/>
                  <a:pt x="205343" y="359690"/>
                  <a:pt x="199583" y="351050"/>
                </a:cubicBezTo>
                <a:cubicBezTo>
                  <a:pt x="196703" y="346730"/>
                  <a:pt x="195103" y="342250"/>
                  <a:pt x="191103" y="338570"/>
                </a:cubicBezTo>
                <a:cubicBezTo>
                  <a:pt x="186783" y="334730"/>
                  <a:pt x="184863" y="329290"/>
                  <a:pt x="181503" y="324810"/>
                </a:cubicBezTo>
                <a:cubicBezTo>
                  <a:pt x="173503" y="314090"/>
                  <a:pt x="165823" y="303050"/>
                  <a:pt x="158463" y="291850"/>
                </a:cubicBezTo>
                <a:cubicBezTo>
                  <a:pt x="150943" y="280170"/>
                  <a:pt x="141663" y="270410"/>
                  <a:pt x="132383" y="260170"/>
                </a:cubicBezTo>
                <a:cubicBezTo>
                  <a:pt x="115103" y="240970"/>
                  <a:pt x="97663" y="221930"/>
                  <a:pt x="79743" y="203370"/>
                </a:cubicBezTo>
                <a:cubicBezTo>
                  <a:pt x="70943" y="194250"/>
                  <a:pt x="61023" y="186250"/>
                  <a:pt x="51583" y="177930"/>
                </a:cubicBezTo>
                <a:cubicBezTo>
                  <a:pt x="47263" y="174250"/>
                  <a:pt x="43103" y="170410"/>
                  <a:pt x="38303" y="167530"/>
                </a:cubicBezTo>
                <a:cubicBezTo>
                  <a:pt x="37023" y="166730"/>
                  <a:pt x="35583" y="166090"/>
                  <a:pt x="34143" y="165610"/>
                </a:cubicBezTo>
                <a:cubicBezTo>
                  <a:pt x="32383" y="164170"/>
                  <a:pt x="30143" y="163050"/>
                  <a:pt x="28223" y="161770"/>
                </a:cubicBezTo>
                <a:cubicBezTo>
                  <a:pt x="27743" y="161450"/>
                  <a:pt x="27423" y="161290"/>
                  <a:pt x="26943" y="160970"/>
                </a:cubicBezTo>
                <a:cubicBezTo>
                  <a:pt x="33663" y="160810"/>
                  <a:pt x="40223" y="161130"/>
                  <a:pt x="46943" y="161450"/>
                </a:cubicBezTo>
                <a:close/>
                <a:moveTo>
                  <a:pt x="121343" y="368650"/>
                </a:moveTo>
                <a:cubicBezTo>
                  <a:pt x="123743" y="372330"/>
                  <a:pt x="124063" y="376650"/>
                  <a:pt x="124543" y="380970"/>
                </a:cubicBezTo>
                <a:cubicBezTo>
                  <a:pt x="124543" y="382410"/>
                  <a:pt x="124543" y="383850"/>
                  <a:pt x="124543" y="385290"/>
                </a:cubicBezTo>
                <a:cubicBezTo>
                  <a:pt x="124543" y="386570"/>
                  <a:pt x="124703" y="388010"/>
                  <a:pt x="124703" y="389290"/>
                </a:cubicBezTo>
                <a:cubicBezTo>
                  <a:pt x="123903" y="388330"/>
                  <a:pt x="123263" y="387210"/>
                  <a:pt x="122463" y="386410"/>
                </a:cubicBezTo>
                <a:cubicBezTo>
                  <a:pt x="119103" y="383210"/>
                  <a:pt x="117503" y="379530"/>
                  <a:pt x="115103" y="375690"/>
                </a:cubicBezTo>
                <a:cubicBezTo>
                  <a:pt x="110783" y="368330"/>
                  <a:pt x="106303" y="360970"/>
                  <a:pt x="101823" y="353770"/>
                </a:cubicBezTo>
                <a:cubicBezTo>
                  <a:pt x="97343" y="346570"/>
                  <a:pt x="93183" y="339210"/>
                  <a:pt x="89503" y="331530"/>
                </a:cubicBezTo>
                <a:cubicBezTo>
                  <a:pt x="85503" y="323370"/>
                  <a:pt x="82463" y="314890"/>
                  <a:pt x="78463" y="306730"/>
                </a:cubicBezTo>
                <a:cubicBezTo>
                  <a:pt x="70303" y="290250"/>
                  <a:pt x="64863" y="272650"/>
                  <a:pt x="56063" y="256330"/>
                </a:cubicBezTo>
                <a:cubicBezTo>
                  <a:pt x="51583" y="248170"/>
                  <a:pt x="48383" y="239690"/>
                  <a:pt x="44543" y="231370"/>
                </a:cubicBezTo>
                <a:cubicBezTo>
                  <a:pt x="43743" y="229770"/>
                  <a:pt x="43103" y="227850"/>
                  <a:pt x="42303" y="225770"/>
                </a:cubicBezTo>
                <a:cubicBezTo>
                  <a:pt x="43583" y="226730"/>
                  <a:pt x="45023" y="227850"/>
                  <a:pt x="46303" y="228810"/>
                </a:cubicBezTo>
                <a:cubicBezTo>
                  <a:pt x="52223" y="233610"/>
                  <a:pt x="58143" y="238570"/>
                  <a:pt x="64223" y="243050"/>
                </a:cubicBezTo>
                <a:cubicBezTo>
                  <a:pt x="66943" y="245130"/>
                  <a:pt x="69823" y="247050"/>
                  <a:pt x="72543" y="249130"/>
                </a:cubicBezTo>
                <a:cubicBezTo>
                  <a:pt x="81823" y="269290"/>
                  <a:pt x="92543" y="288970"/>
                  <a:pt x="103423" y="308330"/>
                </a:cubicBezTo>
                <a:cubicBezTo>
                  <a:pt x="109983" y="320010"/>
                  <a:pt x="115903" y="332010"/>
                  <a:pt x="122303" y="343850"/>
                </a:cubicBezTo>
                <a:cubicBezTo>
                  <a:pt x="126143" y="350890"/>
                  <a:pt x="128223" y="359050"/>
                  <a:pt x="131903" y="366250"/>
                </a:cubicBezTo>
                <a:cubicBezTo>
                  <a:pt x="131263" y="366090"/>
                  <a:pt x="130623" y="365930"/>
                  <a:pt x="129983" y="365770"/>
                </a:cubicBezTo>
                <a:cubicBezTo>
                  <a:pt x="129823" y="365130"/>
                  <a:pt x="129023" y="364810"/>
                  <a:pt x="128703" y="365450"/>
                </a:cubicBezTo>
                <a:cubicBezTo>
                  <a:pt x="127903" y="365290"/>
                  <a:pt x="127103" y="364970"/>
                  <a:pt x="126463" y="364650"/>
                </a:cubicBezTo>
                <a:cubicBezTo>
                  <a:pt x="125503" y="364170"/>
                  <a:pt x="124383" y="364810"/>
                  <a:pt x="124223" y="365770"/>
                </a:cubicBezTo>
                <a:cubicBezTo>
                  <a:pt x="122143" y="365130"/>
                  <a:pt x="120063" y="366890"/>
                  <a:pt x="121343" y="368650"/>
                </a:cubicBezTo>
                <a:close/>
                <a:moveTo>
                  <a:pt x="129503" y="375370"/>
                </a:moveTo>
                <a:cubicBezTo>
                  <a:pt x="129983" y="376650"/>
                  <a:pt x="130623" y="378090"/>
                  <a:pt x="131103" y="379370"/>
                </a:cubicBezTo>
                <a:cubicBezTo>
                  <a:pt x="133663" y="385450"/>
                  <a:pt x="135263" y="392010"/>
                  <a:pt x="136863" y="398250"/>
                </a:cubicBezTo>
                <a:cubicBezTo>
                  <a:pt x="138623" y="404970"/>
                  <a:pt x="141503" y="411210"/>
                  <a:pt x="143263" y="417930"/>
                </a:cubicBezTo>
                <a:cubicBezTo>
                  <a:pt x="144863" y="424330"/>
                  <a:pt x="149183" y="429610"/>
                  <a:pt x="151103" y="435850"/>
                </a:cubicBezTo>
                <a:cubicBezTo>
                  <a:pt x="154463" y="447690"/>
                  <a:pt x="161823" y="458250"/>
                  <a:pt x="168543" y="468490"/>
                </a:cubicBezTo>
                <a:cubicBezTo>
                  <a:pt x="176383" y="480330"/>
                  <a:pt x="184863" y="491850"/>
                  <a:pt x="193663" y="503210"/>
                </a:cubicBezTo>
                <a:cubicBezTo>
                  <a:pt x="201983" y="513770"/>
                  <a:pt x="212703" y="521770"/>
                  <a:pt x="221823" y="531370"/>
                </a:cubicBezTo>
                <a:cubicBezTo>
                  <a:pt x="230783" y="541130"/>
                  <a:pt x="241823" y="548650"/>
                  <a:pt x="252863" y="556010"/>
                </a:cubicBezTo>
                <a:cubicBezTo>
                  <a:pt x="248223" y="553770"/>
                  <a:pt x="243583" y="551530"/>
                  <a:pt x="239103" y="549290"/>
                </a:cubicBezTo>
                <a:cubicBezTo>
                  <a:pt x="231583" y="545450"/>
                  <a:pt x="223903" y="541770"/>
                  <a:pt x="217343" y="536650"/>
                </a:cubicBezTo>
                <a:cubicBezTo>
                  <a:pt x="210143" y="531050"/>
                  <a:pt x="203263" y="525130"/>
                  <a:pt x="196383" y="519210"/>
                </a:cubicBezTo>
                <a:cubicBezTo>
                  <a:pt x="190623" y="514250"/>
                  <a:pt x="186303" y="508650"/>
                  <a:pt x="181663" y="502570"/>
                </a:cubicBezTo>
                <a:cubicBezTo>
                  <a:pt x="176063" y="495370"/>
                  <a:pt x="169983" y="488650"/>
                  <a:pt x="165503" y="480490"/>
                </a:cubicBezTo>
                <a:cubicBezTo>
                  <a:pt x="161503" y="473450"/>
                  <a:pt x="158623" y="466090"/>
                  <a:pt x="154303" y="459210"/>
                </a:cubicBezTo>
                <a:cubicBezTo>
                  <a:pt x="152063" y="455530"/>
                  <a:pt x="149503" y="452170"/>
                  <a:pt x="147103" y="448650"/>
                </a:cubicBezTo>
                <a:cubicBezTo>
                  <a:pt x="143903" y="443850"/>
                  <a:pt x="141983" y="438730"/>
                  <a:pt x="140063" y="433450"/>
                </a:cubicBezTo>
                <a:cubicBezTo>
                  <a:pt x="136703" y="424330"/>
                  <a:pt x="133663" y="415850"/>
                  <a:pt x="132543" y="406250"/>
                </a:cubicBezTo>
                <a:cubicBezTo>
                  <a:pt x="131743" y="400010"/>
                  <a:pt x="130943" y="393610"/>
                  <a:pt x="130303" y="387370"/>
                </a:cubicBezTo>
                <a:cubicBezTo>
                  <a:pt x="130463" y="384010"/>
                  <a:pt x="130463" y="379530"/>
                  <a:pt x="129503" y="375370"/>
                </a:cubicBezTo>
                <a:close/>
                <a:moveTo>
                  <a:pt x="225023" y="527850"/>
                </a:moveTo>
                <a:cubicBezTo>
                  <a:pt x="215103" y="517610"/>
                  <a:pt x="204063" y="508810"/>
                  <a:pt x="195263" y="497450"/>
                </a:cubicBezTo>
                <a:cubicBezTo>
                  <a:pt x="187423" y="487210"/>
                  <a:pt x="179743" y="476810"/>
                  <a:pt x="172383" y="466090"/>
                </a:cubicBezTo>
                <a:cubicBezTo>
                  <a:pt x="165343" y="455690"/>
                  <a:pt x="158303" y="444970"/>
                  <a:pt x="154783" y="432810"/>
                </a:cubicBezTo>
                <a:cubicBezTo>
                  <a:pt x="153183" y="427050"/>
                  <a:pt x="149023" y="422410"/>
                  <a:pt x="147263" y="416650"/>
                </a:cubicBezTo>
                <a:cubicBezTo>
                  <a:pt x="145503" y="410730"/>
                  <a:pt x="142943" y="404970"/>
                  <a:pt x="141183" y="399050"/>
                </a:cubicBezTo>
                <a:cubicBezTo>
                  <a:pt x="139423" y="393290"/>
                  <a:pt x="137503" y="387690"/>
                  <a:pt x="135583" y="381930"/>
                </a:cubicBezTo>
                <a:cubicBezTo>
                  <a:pt x="134303" y="378090"/>
                  <a:pt x="131903" y="374890"/>
                  <a:pt x="129983" y="371370"/>
                </a:cubicBezTo>
                <a:cubicBezTo>
                  <a:pt x="130303" y="371370"/>
                  <a:pt x="130463" y="371530"/>
                  <a:pt x="130783" y="371530"/>
                </a:cubicBezTo>
                <a:cubicBezTo>
                  <a:pt x="131263" y="371690"/>
                  <a:pt x="131743" y="371850"/>
                  <a:pt x="132223" y="371850"/>
                </a:cubicBezTo>
                <a:cubicBezTo>
                  <a:pt x="132223" y="372010"/>
                  <a:pt x="132223" y="372330"/>
                  <a:pt x="132383" y="372490"/>
                </a:cubicBezTo>
                <a:cubicBezTo>
                  <a:pt x="133823" y="373770"/>
                  <a:pt x="135423" y="374250"/>
                  <a:pt x="137023" y="375370"/>
                </a:cubicBezTo>
                <a:cubicBezTo>
                  <a:pt x="139263" y="376970"/>
                  <a:pt x="140863" y="380810"/>
                  <a:pt x="142463" y="383050"/>
                </a:cubicBezTo>
                <a:cubicBezTo>
                  <a:pt x="146463" y="388490"/>
                  <a:pt x="151743" y="392490"/>
                  <a:pt x="155743" y="397770"/>
                </a:cubicBezTo>
                <a:cubicBezTo>
                  <a:pt x="160063" y="403530"/>
                  <a:pt x="163423" y="410250"/>
                  <a:pt x="167423" y="416330"/>
                </a:cubicBezTo>
                <a:cubicBezTo>
                  <a:pt x="171743" y="422730"/>
                  <a:pt x="175423" y="429450"/>
                  <a:pt x="179263" y="436010"/>
                </a:cubicBezTo>
                <a:cubicBezTo>
                  <a:pt x="194303" y="461770"/>
                  <a:pt x="214783" y="483850"/>
                  <a:pt x="235423" y="505130"/>
                </a:cubicBezTo>
                <a:cubicBezTo>
                  <a:pt x="257023" y="527370"/>
                  <a:pt x="279743" y="548490"/>
                  <a:pt x="304063" y="567690"/>
                </a:cubicBezTo>
                <a:cubicBezTo>
                  <a:pt x="314303" y="575690"/>
                  <a:pt x="325983" y="582570"/>
                  <a:pt x="337983" y="588010"/>
                </a:cubicBezTo>
                <a:cubicBezTo>
                  <a:pt x="334303" y="587370"/>
                  <a:pt x="330463" y="587050"/>
                  <a:pt x="326783" y="586570"/>
                </a:cubicBezTo>
                <a:cubicBezTo>
                  <a:pt x="324863" y="586250"/>
                  <a:pt x="322943" y="585770"/>
                  <a:pt x="321023" y="585130"/>
                </a:cubicBezTo>
                <a:cubicBezTo>
                  <a:pt x="320863" y="584970"/>
                  <a:pt x="320543" y="584650"/>
                  <a:pt x="320223" y="584650"/>
                </a:cubicBezTo>
                <a:cubicBezTo>
                  <a:pt x="319743" y="584490"/>
                  <a:pt x="319103" y="584330"/>
                  <a:pt x="318623" y="584330"/>
                </a:cubicBezTo>
                <a:cubicBezTo>
                  <a:pt x="316543" y="583530"/>
                  <a:pt x="314463" y="582570"/>
                  <a:pt x="312383" y="581770"/>
                </a:cubicBezTo>
                <a:cubicBezTo>
                  <a:pt x="310303" y="580810"/>
                  <a:pt x="308063" y="580010"/>
                  <a:pt x="305983" y="579370"/>
                </a:cubicBezTo>
                <a:cubicBezTo>
                  <a:pt x="304863" y="578890"/>
                  <a:pt x="303583" y="578250"/>
                  <a:pt x="302463" y="577770"/>
                </a:cubicBezTo>
                <a:cubicBezTo>
                  <a:pt x="296703" y="575370"/>
                  <a:pt x="291103" y="573130"/>
                  <a:pt x="285663" y="570090"/>
                </a:cubicBezTo>
                <a:cubicBezTo>
                  <a:pt x="280063" y="566890"/>
                  <a:pt x="274623" y="563850"/>
                  <a:pt x="268703" y="561290"/>
                </a:cubicBezTo>
                <a:cubicBezTo>
                  <a:pt x="264063" y="559210"/>
                  <a:pt x="259583" y="555050"/>
                  <a:pt x="255423" y="552170"/>
                </a:cubicBezTo>
                <a:cubicBezTo>
                  <a:pt x="244703" y="544970"/>
                  <a:pt x="234143" y="537290"/>
                  <a:pt x="225023" y="527850"/>
                </a:cubicBezTo>
                <a:close/>
                <a:moveTo>
                  <a:pt x="127743" y="343050"/>
                </a:moveTo>
                <a:cubicBezTo>
                  <a:pt x="121183" y="331370"/>
                  <a:pt x="115263" y="319210"/>
                  <a:pt x="108543" y="307690"/>
                </a:cubicBezTo>
                <a:cubicBezTo>
                  <a:pt x="102303" y="296970"/>
                  <a:pt x="96223" y="286250"/>
                  <a:pt x="90303" y="275370"/>
                </a:cubicBezTo>
                <a:cubicBezTo>
                  <a:pt x="86143" y="267530"/>
                  <a:pt x="81183" y="260170"/>
                  <a:pt x="76543" y="252490"/>
                </a:cubicBezTo>
                <a:cubicBezTo>
                  <a:pt x="84703" y="258250"/>
                  <a:pt x="93023" y="264010"/>
                  <a:pt x="101183" y="269930"/>
                </a:cubicBezTo>
                <a:cubicBezTo>
                  <a:pt x="107103" y="274250"/>
                  <a:pt x="113023" y="278730"/>
                  <a:pt x="118623" y="283370"/>
                </a:cubicBezTo>
                <a:cubicBezTo>
                  <a:pt x="121983" y="288490"/>
                  <a:pt x="124703" y="293450"/>
                  <a:pt x="127103" y="299050"/>
                </a:cubicBezTo>
                <a:cubicBezTo>
                  <a:pt x="130943" y="307850"/>
                  <a:pt x="135423" y="316490"/>
                  <a:pt x="139423" y="325290"/>
                </a:cubicBezTo>
                <a:cubicBezTo>
                  <a:pt x="143263" y="333770"/>
                  <a:pt x="146143" y="342730"/>
                  <a:pt x="149663" y="351530"/>
                </a:cubicBezTo>
                <a:cubicBezTo>
                  <a:pt x="152223" y="357770"/>
                  <a:pt x="155903" y="364330"/>
                  <a:pt x="157983" y="370890"/>
                </a:cubicBezTo>
                <a:cubicBezTo>
                  <a:pt x="152383" y="369770"/>
                  <a:pt x="146783" y="369290"/>
                  <a:pt x="141183" y="368010"/>
                </a:cubicBezTo>
                <a:cubicBezTo>
                  <a:pt x="140383" y="367850"/>
                  <a:pt x="139583" y="367690"/>
                  <a:pt x="138623" y="367530"/>
                </a:cubicBezTo>
                <a:cubicBezTo>
                  <a:pt x="134623" y="359530"/>
                  <a:pt x="132223" y="351050"/>
                  <a:pt x="127743" y="343050"/>
                </a:cubicBezTo>
                <a:close/>
                <a:moveTo>
                  <a:pt x="156063" y="352330"/>
                </a:moveTo>
                <a:cubicBezTo>
                  <a:pt x="151263" y="343370"/>
                  <a:pt x="148543" y="333130"/>
                  <a:pt x="144383" y="323690"/>
                </a:cubicBezTo>
                <a:cubicBezTo>
                  <a:pt x="140223" y="314090"/>
                  <a:pt x="135103" y="305130"/>
                  <a:pt x="130623" y="295690"/>
                </a:cubicBezTo>
                <a:cubicBezTo>
                  <a:pt x="129983" y="294250"/>
                  <a:pt x="129183" y="292810"/>
                  <a:pt x="128543" y="291530"/>
                </a:cubicBezTo>
                <a:cubicBezTo>
                  <a:pt x="141503" y="302890"/>
                  <a:pt x="153503" y="315370"/>
                  <a:pt x="163743" y="328810"/>
                </a:cubicBezTo>
                <a:cubicBezTo>
                  <a:pt x="172063" y="339850"/>
                  <a:pt x="180383" y="351210"/>
                  <a:pt x="188223" y="362730"/>
                </a:cubicBezTo>
                <a:cubicBezTo>
                  <a:pt x="191743" y="368010"/>
                  <a:pt x="195263" y="373130"/>
                  <a:pt x="199103" y="378090"/>
                </a:cubicBezTo>
                <a:cubicBezTo>
                  <a:pt x="199583" y="378570"/>
                  <a:pt x="199903" y="379050"/>
                  <a:pt x="200383" y="379530"/>
                </a:cubicBezTo>
                <a:cubicBezTo>
                  <a:pt x="199103" y="379690"/>
                  <a:pt x="197823" y="379690"/>
                  <a:pt x="196383" y="379690"/>
                </a:cubicBezTo>
                <a:cubicBezTo>
                  <a:pt x="196063" y="378730"/>
                  <a:pt x="195263" y="377930"/>
                  <a:pt x="193823" y="377610"/>
                </a:cubicBezTo>
                <a:cubicBezTo>
                  <a:pt x="187743" y="376330"/>
                  <a:pt x="181503" y="375850"/>
                  <a:pt x="175423" y="374890"/>
                </a:cubicBezTo>
                <a:cubicBezTo>
                  <a:pt x="171583" y="374410"/>
                  <a:pt x="167903" y="373290"/>
                  <a:pt x="164063" y="372170"/>
                </a:cubicBezTo>
                <a:cubicBezTo>
                  <a:pt x="163423" y="369610"/>
                  <a:pt x="162623" y="367050"/>
                  <a:pt x="161823" y="364810"/>
                </a:cubicBezTo>
                <a:cubicBezTo>
                  <a:pt x="161183" y="362730"/>
                  <a:pt x="159103" y="360490"/>
                  <a:pt x="158303" y="358570"/>
                </a:cubicBezTo>
                <a:cubicBezTo>
                  <a:pt x="157343" y="356490"/>
                  <a:pt x="157023" y="354250"/>
                  <a:pt x="156063" y="352330"/>
                </a:cubicBezTo>
                <a:close/>
                <a:moveTo>
                  <a:pt x="206783" y="386570"/>
                </a:moveTo>
                <a:cubicBezTo>
                  <a:pt x="206783" y="386570"/>
                  <a:pt x="206943" y="386570"/>
                  <a:pt x="206943" y="386730"/>
                </a:cubicBezTo>
                <a:cubicBezTo>
                  <a:pt x="208543" y="387370"/>
                  <a:pt x="209983" y="387050"/>
                  <a:pt x="211103" y="386410"/>
                </a:cubicBezTo>
                <a:cubicBezTo>
                  <a:pt x="211903" y="386410"/>
                  <a:pt x="212703" y="386250"/>
                  <a:pt x="213503" y="386250"/>
                </a:cubicBezTo>
                <a:cubicBezTo>
                  <a:pt x="216543" y="386090"/>
                  <a:pt x="219743" y="385610"/>
                  <a:pt x="222943" y="384970"/>
                </a:cubicBezTo>
                <a:cubicBezTo>
                  <a:pt x="226143" y="387050"/>
                  <a:pt x="230783" y="387850"/>
                  <a:pt x="233663" y="388810"/>
                </a:cubicBezTo>
                <a:cubicBezTo>
                  <a:pt x="247423" y="393130"/>
                  <a:pt x="259263" y="403050"/>
                  <a:pt x="269983" y="412490"/>
                </a:cubicBezTo>
                <a:cubicBezTo>
                  <a:pt x="280543" y="421770"/>
                  <a:pt x="292223" y="429770"/>
                  <a:pt x="302623" y="439210"/>
                </a:cubicBezTo>
                <a:cubicBezTo>
                  <a:pt x="313343" y="448970"/>
                  <a:pt x="323263" y="459690"/>
                  <a:pt x="332063" y="471210"/>
                </a:cubicBezTo>
                <a:cubicBezTo>
                  <a:pt x="335743" y="476170"/>
                  <a:pt x="340063" y="480490"/>
                  <a:pt x="344223" y="484970"/>
                </a:cubicBezTo>
                <a:cubicBezTo>
                  <a:pt x="349503" y="490730"/>
                  <a:pt x="353183" y="497770"/>
                  <a:pt x="357503" y="504170"/>
                </a:cubicBezTo>
                <a:cubicBezTo>
                  <a:pt x="361183" y="509450"/>
                  <a:pt x="364383" y="514730"/>
                  <a:pt x="367263" y="520650"/>
                </a:cubicBezTo>
                <a:cubicBezTo>
                  <a:pt x="370463" y="526890"/>
                  <a:pt x="374463" y="532650"/>
                  <a:pt x="377183" y="539210"/>
                </a:cubicBezTo>
                <a:cubicBezTo>
                  <a:pt x="382463" y="551370"/>
                  <a:pt x="391263" y="561290"/>
                  <a:pt x="397343" y="572970"/>
                </a:cubicBezTo>
                <a:cubicBezTo>
                  <a:pt x="399743" y="577610"/>
                  <a:pt x="402463" y="582250"/>
                  <a:pt x="405023" y="586890"/>
                </a:cubicBezTo>
                <a:cubicBezTo>
                  <a:pt x="400383" y="582410"/>
                  <a:pt x="395903" y="577770"/>
                  <a:pt x="391583" y="572970"/>
                </a:cubicBezTo>
                <a:cubicBezTo>
                  <a:pt x="382143" y="562410"/>
                  <a:pt x="372703" y="551850"/>
                  <a:pt x="364383" y="540330"/>
                </a:cubicBezTo>
                <a:cubicBezTo>
                  <a:pt x="356703" y="529610"/>
                  <a:pt x="349183" y="518570"/>
                  <a:pt x="340383" y="508810"/>
                </a:cubicBezTo>
                <a:cubicBezTo>
                  <a:pt x="336543" y="504650"/>
                  <a:pt x="332863" y="500170"/>
                  <a:pt x="328703" y="496170"/>
                </a:cubicBezTo>
                <a:cubicBezTo>
                  <a:pt x="325983" y="493610"/>
                  <a:pt x="323103" y="491850"/>
                  <a:pt x="320703" y="488810"/>
                </a:cubicBezTo>
                <a:cubicBezTo>
                  <a:pt x="318943" y="486570"/>
                  <a:pt x="317183" y="484330"/>
                  <a:pt x="315103" y="482250"/>
                </a:cubicBezTo>
                <a:cubicBezTo>
                  <a:pt x="294783" y="462250"/>
                  <a:pt x="276063" y="439530"/>
                  <a:pt x="253183" y="422410"/>
                </a:cubicBezTo>
                <a:cubicBezTo>
                  <a:pt x="242783" y="414570"/>
                  <a:pt x="232063" y="407050"/>
                  <a:pt x="220863" y="400170"/>
                </a:cubicBezTo>
                <a:cubicBezTo>
                  <a:pt x="214463" y="396170"/>
                  <a:pt x="208063" y="392170"/>
                  <a:pt x="201983" y="387850"/>
                </a:cubicBezTo>
                <a:cubicBezTo>
                  <a:pt x="201343" y="387370"/>
                  <a:pt x="200543" y="387050"/>
                  <a:pt x="199583" y="386730"/>
                </a:cubicBezTo>
                <a:cubicBezTo>
                  <a:pt x="201983" y="386730"/>
                  <a:pt x="204383" y="386570"/>
                  <a:pt x="206783" y="386570"/>
                </a:cubicBezTo>
                <a:close/>
                <a:moveTo>
                  <a:pt x="18143" y="161130"/>
                </a:moveTo>
                <a:cubicBezTo>
                  <a:pt x="19263" y="161770"/>
                  <a:pt x="20863" y="161770"/>
                  <a:pt x="22303" y="162090"/>
                </a:cubicBezTo>
                <a:cubicBezTo>
                  <a:pt x="23423" y="164330"/>
                  <a:pt x="26303" y="165290"/>
                  <a:pt x="28223" y="166730"/>
                </a:cubicBezTo>
                <a:cubicBezTo>
                  <a:pt x="30143" y="168330"/>
                  <a:pt x="32543" y="169290"/>
                  <a:pt x="34783" y="170410"/>
                </a:cubicBezTo>
                <a:cubicBezTo>
                  <a:pt x="37983" y="172170"/>
                  <a:pt x="40863" y="174730"/>
                  <a:pt x="43583" y="177130"/>
                </a:cubicBezTo>
                <a:cubicBezTo>
                  <a:pt x="53663" y="186090"/>
                  <a:pt x="63583" y="195050"/>
                  <a:pt x="73343" y="204330"/>
                </a:cubicBezTo>
                <a:cubicBezTo>
                  <a:pt x="77983" y="208810"/>
                  <a:pt x="81663" y="213930"/>
                  <a:pt x="86143" y="218410"/>
                </a:cubicBezTo>
                <a:cubicBezTo>
                  <a:pt x="90943" y="223370"/>
                  <a:pt x="95743" y="227850"/>
                  <a:pt x="100223" y="232970"/>
                </a:cubicBezTo>
                <a:cubicBezTo>
                  <a:pt x="109503" y="243690"/>
                  <a:pt x="119423" y="253770"/>
                  <a:pt x="128703" y="264330"/>
                </a:cubicBezTo>
                <a:cubicBezTo>
                  <a:pt x="138463" y="275370"/>
                  <a:pt x="147743" y="286090"/>
                  <a:pt x="155903" y="298410"/>
                </a:cubicBezTo>
                <a:cubicBezTo>
                  <a:pt x="159583" y="304010"/>
                  <a:pt x="163263" y="309610"/>
                  <a:pt x="167103" y="315050"/>
                </a:cubicBezTo>
                <a:cubicBezTo>
                  <a:pt x="171583" y="321290"/>
                  <a:pt x="177183" y="327370"/>
                  <a:pt x="180543" y="334410"/>
                </a:cubicBezTo>
                <a:cubicBezTo>
                  <a:pt x="182303" y="338090"/>
                  <a:pt x="185343" y="341450"/>
                  <a:pt x="188383" y="344170"/>
                </a:cubicBezTo>
                <a:cubicBezTo>
                  <a:pt x="192863" y="348170"/>
                  <a:pt x="194143" y="355050"/>
                  <a:pt x="198463" y="359370"/>
                </a:cubicBezTo>
                <a:cubicBezTo>
                  <a:pt x="203103" y="364010"/>
                  <a:pt x="205823" y="369450"/>
                  <a:pt x="211423" y="373450"/>
                </a:cubicBezTo>
                <a:cubicBezTo>
                  <a:pt x="213343" y="374890"/>
                  <a:pt x="215263" y="376170"/>
                  <a:pt x="217183" y="377450"/>
                </a:cubicBezTo>
                <a:cubicBezTo>
                  <a:pt x="215263" y="377770"/>
                  <a:pt x="213343" y="378090"/>
                  <a:pt x="211423" y="378250"/>
                </a:cubicBezTo>
                <a:cubicBezTo>
                  <a:pt x="211423" y="378250"/>
                  <a:pt x="211423" y="378250"/>
                  <a:pt x="211263" y="378250"/>
                </a:cubicBezTo>
                <a:cubicBezTo>
                  <a:pt x="211103" y="378090"/>
                  <a:pt x="208703" y="374570"/>
                  <a:pt x="208223" y="374090"/>
                </a:cubicBezTo>
                <a:cubicBezTo>
                  <a:pt x="206463" y="372490"/>
                  <a:pt x="205343" y="370570"/>
                  <a:pt x="203743" y="368810"/>
                </a:cubicBezTo>
                <a:cubicBezTo>
                  <a:pt x="199743" y="364010"/>
                  <a:pt x="196703" y="358730"/>
                  <a:pt x="193183" y="353770"/>
                </a:cubicBezTo>
                <a:cubicBezTo>
                  <a:pt x="185823" y="343050"/>
                  <a:pt x="177823" y="332490"/>
                  <a:pt x="169823" y="322250"/>
                </a:cubicBezTo>
                <a:cubicBezTo>
                  <a:pt x="158143" y="307370"/>
                  <a:pt x="144063" y="293770"/>
                  <a:pt x="129343" y="281450"/>
                </a:cubicBezTo>
                <a:cubicBezTo>
                  <a:pt x="129023" y="281130"/>
                  <a:pt x="128703" y="280810"/>
                  <a:pt x="128383" y="280650"/>
                </a:cubicBezTo>
                <a:cubicBezTo>
                  <a:pt x="122463" y="275210"/>
                  <a:pt x="116543" y="269930"/>
                  <a:pt x="110143" y="264970"/>
                </a:cubicBezTo>
                <a:cubicBezTo>
                  <a:pt x="103743" y="260170"/>
                  <a:pt x="98143" y="254410"/>
                  <a:pt x="91903" y="249290"/>
                </a:cubicBezTo>
                <a:cubicBezTo>
                  <a:pt x="85663" y="244330"/>
                  <a:pt x="79423" y="239370"/>
                  <a:pt x="73503" y="233930"/>
                </a:cubicBezTo>
                <a:cubicBezTo>
                  <a:pt x="67103" y="228010"/>
                  <a:pt x="61823" y="221130"/>
                  <a:pt x="56223" y="214410"/>
                </a:cubicBezTo>
                <a:cubicBezTo>
                  <a:pt x="51423" y="208490"/>
                  <a:pt x="45983" y="203210"/>
                  <a:pt x="40543" y="197770"/>
                </a:cubicBezTo>
                <a:cubicBezTo>
                  <a:pt x="34623" y="191850"/>
                  <a:pt x="28223" y="185450"/>
                  <a:pt x="22943" y="178890"/>
                </a:cubicBezTo>
                <a:cubicBezTo>
                  <a:pt x="18943" y="173610"/>
                  <a:pt x="14463" y="168490"/>
                  <a:pt x="12063" y="162410"/>
                </a:cubicBezTo>
                <a:cubicBezTo>
                  <a:pt x="14143" y="161610"/>
                  <a:pt x="16063" y="161290"/>
                  <a:pt x="18143" y="161130"/>
                </a:cubicBezTo>
                <a:close/>
                <a:moveTo>
                  <a:pt x="6783" y="164970"/>
                </a:moveTo>
                <a:cubicBezTo>
                  <a:pt x="6943" y="164810"/>
                  <a:pt x="7103" y="164810"/>
                  <a:pt x="7263" y="164650"/>
                </a:cubicBezTo>
                <a:cubicBezTo>
                  <a:pt x="8063" y="164010"/>
                  <a:pt x="8863" y="163530"/>
                  <a:pt x="9663" y="163210"/>
                </a:cubicBezTo>
                <a:cubicBezTo>
                  <a:pt x="11743" y="175690"/>
                  <a:pt x="23263" y="185770"/>
                  <a:pt x="31423" y="194730"/>
                </a:cubicBezTo>
                <a:cubicBezTo>
                  <a:pt x="37343" y="201290"/>
                  <a:pt x="43743" y="207050"/>
                  <a:pt x="49503" y="213770"/>
                </a:cubicBezTo>
                <a:cubicBezTo>
                  <a:pt x="54943" y="220170"/>
                  <a:pt x="59743" y="227210"/>
                  <a:pt x="65503" y="233290"/>
                </a:cubicBezTo>
                <a:cubicBezTo>
                  <a:pt x="66623" y="234410"/>
                  <a:pt x="67743" y="235530"/>
                  <a:pt x="68863" y="236650"/>
                </a:cubicBezTo>
                <a:cubicBezTo>
                  <a:pt x="62303" y="231850"/>
                  <a:pt x="55743" y="227050"/>
                  <a:pt x="49343" y="222090"/>
                </a:cubicBezTo>
                <a:cubicBezTo>
                  <a:pt x="38943" y="213930"/>
                  <a:pt x="28383" y="206090"/>
                  <a:pt x="21183" y="194730"/>
                </a:cubicBezTo>
                <a:cubicBezTo>
                  <a:pt x="18143" y="190090"/>
                  <a:pt x="14623" y="185930"/>
                  <a:pt x="11583" y="181290"/>
                </a:cubicBezTo>
                <a:cubicBezTo>
                  <a:pt x="10623" y="179850"/>
                  <a:pt x="9663" y="178570"/>
                  <a:pt x="8703" y="177130"/>
                </a:cubicBezTo>
                <a:cubicBezTo>
                  <a:pt x="8063" y="172970"/>
                  <a:pt x="7423" y="168970"/>
                  <a:pt x="6783" y="164970"/>
                </a:cubicBezTo>
                <a:close/>
                <a:moveTo>
                  <a:pt x="87103" y="356010"/>
                </a:moveTo>
                <a:cubicBezTo>
                  <a:pt x="83903" y="351850"/>
                  <a:pt x="83103" y="346410"/>
                  <a:pt x="80223" y="342090"/>
                </a:cubicBezTo>
                <a:cubicBezTo>
                  <a:pt x="77183" y="337450"/>
                  <a:pt x="74303" y="332810"/>
                  <a:pt x="71263" y="328170"/>
                </a:cubicBezTo>
                <a:cubicBezTo>
                  <a:pt x="69503" y="323690"/>
                  <a:pt x="67903" y="319210"/>
                  <a:pt x="66143" y="314570"/>
                </a:cubicBezTo>
                <a:cubicBezTo>
                  <a:pt x="59423" y="297450"/>
                  <a:pt x="50303" y="281770"/>
                  <a:pt x="41823" y="265450"/>
                </a:cubicBezTo>
                <a:cubicBezTo>
                  <a:pt x="37503" y="257130"/>
                  <a:pt x="32383" y="249450"/>
                  <a:pt x="29503" y="240490"/>
                </a:cubicBezTo>
                <a:cubicBezTo>
                  <a:pt x="28063" y="236010"/>
                  <a:pt x="24863" y="232490"/>
                  <a:pt x="22783" y="228170"/>
                </a:cubicBezTo>
                <a:cubicBezTo>
                  <a:pt x="20703" y="223690"/>
                  <a:pt x="19103" y="218730"/>
                  <a:pt x="17663" y="214090"/>
                </a:cubicBezTo>
                <a:cubicBezTo>
                  <a:pt x="17183" y="212650"/>
                  <a:pt x="16703" y="211050"/>
                  <a:pt x="16223" y="209610"/>
                </a:cubicBezTo>
                <a:cubicBezTo>
                  <a:pt x="15103" y="205610"/>
                  <a:pt x="14143" y="201610"/>
                  <a:pt x="13023" y="197610"/>
                </a:cubicBezTo>
                <a:cubicBezTo>
                  <a:pt x="12703" y="196490"/>
                  <a:pt x="12383" y="195210"/>
                  <a:pt x="12063" y="194090"/>
                </a:cubicBezTo>
                <a:cubicBezTo>
                  <a:pt x="11903" y="193770"/>
                  <a:pt x="11903" y="193290"/>
                  <a:pt x="11743" y="192970"/>
                </a:cubicBezTo>
                <a:cubicBezTo>
                  <a:pt x="13663" y="196010"/>
                  <a:pt x="15903" y="198730"/>
                  <a:pt x="17823" y="201770"/>
                </a:cubicBezTo>
                <a:cubicBezTo>
                  <a:pt x="21183" y="207370"/>
                  <a:pt x="26143" y="212010"/>
                  <a:pt x="30623" y="216650"/>
                </a:cubicBezTo>
                <a:cubicBezTo>
                  <a:pt x="32383" y="218410"/>
                  <a:pt x="34303" y="220170"/>
                  <a:pt x="36223" y="221610"/>
                </a:cubicBezTo>
                <a:cubicBezTo>
                  <a:pt x="36543" y="222730"/>
                  <a:pt x="36703" y="223850"/>
                  <a:pt x="37023" y="224810"/>
                </a:cubicBezTo>
                <a:cubicBezTo>
                  <a:pt x="38143" y="228810"/>
                  <a:pt x="40063" y="232810"/>
                  <a:pt x="41823" y="236650"/>
                </a:cubicBezTo>
                <a:cubicBezTo>
                  <a:pt x="45343" y="244810"/>
                  <a:pt x="48703" y="252970"/>
                  <a:pt x="52703" y="260970"/>
                </a:cubicBezTo>
                <a:cubicBezTo>
                  <a:pt x="57503" y="270250"/>
                  <a:pt x="61503" y="279690"/>
                  <a:pt x="65183" y="289610"/>
                </a:cubicBezTo>
                <a:cubicBezTo>
                  <a:pt x="68703" y="299210"/>
                  <a:pt x="73183" y="308170"/>
                  <a:pt x="77343" y="317450"/>
                </a:cubicBezTo>
                <a:cubicBezTo>
                  <a:pt x="80863" y="325130"/>
                  <a:pt x="83743" y="332810"/>
                  <a:pt x="87583" y="340330"/>
                </a:cubicBezTo>
                <a:cubicBezTo>
                  <a:pt x="91743" y="348490"/>
                  <a:pt x="97023" y="356010"/>
                  <a:pt x="101023" y="364330"/>
                </a:cubicBezTo>
                <a:cubicBezTo>
                  <a:pt x="102943" y="368170"/>
                  <a:pt x="105503" y="371530"/>
                  <a:pt x="107903" y="375050"/>
                </a:cubicBezTo>
                <a:cubicBezTo>
                  <a:pt x="110623" y="379050"/>
                  <a:pt x="112543" y="383530"/>
                  <a:pt x="115423" y="387370"/>
                </a:cubicBezTo>
                <a:cubicBezTo>
                  <a:pt x="117503" y="390250"/>
                  <a:pt x="120863" y="395370"/>
                  <a:pt x="124543" y="396650"/>
                </a:cubicBezTo>
                <a:cubicBezTo>
                  <a:pt x="124543" y="398250"/>
                  <a:pt x="124703" y="399850"/>
                  <a:pt x="124703" y="401290"/>
                </a:cubicBezTo>
                <a:cubicBezTo>
                  <a:pt x="111423" y="387050"/>
                  <a:pt x="99263" y="371530"/>
                  <a:pt x="87103" y="356010"/>
                </a:cubicBezTo>
                <a:close/>
                <a:moveTo>
                  <a:pt x="40543" y="423530"/>
                </a:moveTo>
                <a:cubicBezTo>
                  <a:pt x="44383" y="420650"/>
                  <a:pt x="48223" y="417770"/>
                  <a:pt x="52383" y="415370"/>
                </a:cubicBezTo>
                <a:cubicBezTo>
                  <a:pt x="57343" y="412650"/>
                  <a:pt x="62463" y="413130"/>
                  <a:pt x="67743" y="411850"/>
                </a:cubicBezTo>
                <a:cubicBezTo>
                  <a:pt x="72863" y="410730"/>
                  <a:pt x="77503" y="408970"/>
                  <a:pt x="82783" y="408650"/>
                </a:cubicBezTo>
                <a:cubicBezTo>
                  <a:pt x="87743" y="408490"/>
                  <a:pt x="93183" y="408330"/>
                  <a:pt x="98143" y="408970"/>
                </a:cubicBezTo>
                <a:cubicBezTo>
                  <a:pt x="103423" y="409770"/>
                  <a:pt x="108223" y="410090"/>
                  <a:pt x="113503" y="411370"/>
                </a:cubicBezTo>
                <a:cubicBezTo>
                  <a:pt x="117663" y="412490"/>
                  <a:pt x="121343" y="415210"/>
                  <a:pt x="125503" y="415210"/>
                </a:cubicBezTo>
                <a:cubicBezTo>
                  <a:pt x="125663" y="415210"/>
                  <a:pt x="125983" y="415210"/>
                  <a:pt x="126143" y="415210"/>
                </a:cubicBezTo>
                <a:cubicBezTo>
                  <a:pt x="127263" y="423050"/>
                  <a:pt x="130623" y="430570"/>
                  <a:pt x="133343" y="437930"/>
                </a:cubicBezTo>
                <a:cubicBezTo>
                  <a:pt x="134303" y="440810"/>
                  <a:pt x="135583" y="443370"/>
                  <a:pt x="136863" y="445930"/>
                </a:cubicBezTo>
                <a:cubicBezTo>
                  <a:pt x="130943" y="442250"/>
                  <a:pt x="124223" y="439850"/>
                  <a:pt x="117983" y="436810"/>
                </a:cubicBezTo>
                <a:cubicBezTo>
                  <a:pt x="111583" y="433770"/>
                  <a:pt x="104863" y="430890"/>
                  <a:pt x="98143" y="428490"/>
                </a:cubicBezTo>
                <a:cubicBezTo>
                  <a:pt x="83903" y="423690"/>
                  <a:pt x="69343" y="423690"/>
                  <a:pt x="54463" y="422570"/>
                </a:cubicBezTo>
                <a:cubicBezTo>
                  <a:pt x="49983" y="422250"/>
                  <a:pt x="45023" y="422410"/>
                  <a:pt x="40383" y="423370"/>
                </a:cubicBezTo>
                <a:cubicBezTo>
                  <a:pt x="40383" y="423530"/>
                  <a:pt x="40383" y="423530"/>
                  <a:pt x="40543" y="423530"/>
                </a:cubicBezTo>
                <a:close/>
                <a:moveTo>
                  <a:pt x="39423" y="428330"/>
                </a:moveTo>
                <a:cubicBezTo>
                  <a:pt x="46143" y="426410"/>
                  <a:pt x="53023" y="427210"/>
                  <a:pt x="59743" y="428170"/>
                </a:cubicBezTo>
                <a:cubicBezTo>
                  <a:pt x="65343" y="428970"/>
                  <a:pt x="71263" y="428810"/>
                  <a:pt x="77023" y="429130"/>
                </a:cubicBezTo>
                <a:cubicBezTo>
                  <a:pt x="84383" y="429610"/>
                  <a:pt x="91423" y="431530"/>
                  <a:pt x="98303" y="434090"/>
                </a:cubicBezTo>
                <a:cubicBezTo>
                  <a:pt x="109823" y="438250"/>
                  <a:pt x="121823" y="443530"/>
                  <a:pt x="132383" y="449450"/>
                </a:cubicBezTo>
                <a:cubicBezTo>
                  <a:pt x="136383" y="451690"/>
                  <a:pt x="139583" y="455050"/>
                  <a:pt x="143103" y="458090"/>
                </a:cubicBezTo>
                <a:cubicBezTo>
                  <a:pt x="143583" y="458570"/>
                  <a:pt x="144063" y="459050"/>
                  <a:pt x="144703" y="459530"/>
                </a:cubicBezTo>
                <a:cubicBezTo>
                  <a:pt x="145183" y="460330"/>
                  <a:pt x="145823" y="461290"/>
                  <a:pt x="146463" y="462090"/>
                </a:cubicBezTo>
                <a:cubicBezTo>
                  <a:pt x="150943" y="468810"/>
                  <a:pt x="154143" y="476330"/>
                  <a:pt x="157663" y="483370"/>
                </a:cubicBezTo>
                <a:cubicBezTo>
                  <a:pt x="161823" y="491530"/>
                  <a:pt x="167583" y="498730"/>
                  <a:pt x="173343" y="505610"/>
                </a:cubicBezTo>
                <a:cubicBezTo>
                  <a:pt x="177823" y="510890"/>
                  <a:pt x="181663" y="517130"/>
                  <a:pt x="186623" y="521770"/>
                </a:cubicBezTo>
                <a:cubicBezTo>
                  <a:pt x="192863" y="527690"/>
                  <a:pt x="199743" y="533450"/>
                  <a:pt x="206623" y="538890"/>
                </a:cubicBezTo>
                <a:cubicBezTo>
                  <a:pt x="207263" y="539370"/>
                  <a:pt x="207743" y="539690"/>
                  <a:pt x="208383" y="540170"/>
                </a:cubicBezTo>
                <a:cubicBezTo>
                  <a:pt x="202463" y="536970"/>
                  <a:pt x="197023" y="533130"/>
                  <a:pt x="192063" y="528330"/>
                </a:cubicBezTo>
                <a:cubicBezTo>
                  <a:pt x="184543" y="521290"/>
                  <a:pt x="177663" y="514090"/>
                  <a:pt x="169023" y="508490"/>
                </a:cubicBezTo>
                <a:cubicBezTo>
                  <a:pt x="158303" y="501450"/>
                  <a:pt x="148543" y="491370"/>
                  <a:pt x="139423" y="482410"/>
                </a:cubicBezTo>
                <a:cubicBezTo>
                  <a:pt x="123583" y="466730"/>
                  <a:pt x="104703" y="455370"/>
                  <a:pt x="85983" y="444010"/>
                </a:cubicBezTo>
                <a:cubicBezTo>
                  <a:pt x="81983" y="441610"/>
                  <a:pt x="76863" y="440010"/>
                  <a:pt x="72383" y="438570"/>
                </a:cubicBezTo>
                <a:cubicBezTo>
                  <a:pt x="66783" y="436810"/>
                  <a:pt x="61343" y="434570"/>
                  <a:pt x="55743" y="433290"/>
                </a:cubicBezTo>
                <a:cubicBezTo>
                  <a:pt x="50943" y="432170"/>
                  <a:pt x="45663" y="432010"/>
                  <a:pt x="40703" y="431690"/>
                </a:cubicBezTo>
                <a:cubicBezTo>
                  <a:pt x="38623" y="431530"/>
                  <a:pt x="35743" y="431530"/>
                  <a:pt x="32863" y="431210"/>
                </a:cubicBezTo>
                <a:cubicBezTo>
                  <a:pt x="34783" y="429930"/>
                  <a:pt x="37023" y="428970"/>
                  <a:pt x="39423" y="428330"/>
                </a:cubicBezTo>
                <a:close/>
                <a:moveTo>
                  <a:pt x="27263" y="435210"/>
                </a:moveTo>
                <a:cubicBezTo>
                  <a:pt x="27103" y="435050"/>
                  <a:pt x="27103" y="434890"/>
                  <a:pt x="26943" y="434730"/>
                </a:cubicBezTo>
                <a:cubicBezTo>
                  <a:pt x="27263" y="434570"/>
                  <a:pt x="27583" y="434250"/>
                  <a:pt x="27903" y="434090"/>
                </a:cubicBezTo>
                <a:cubicBezTo>
                  <a:pt x="33663" y="436010"/>
                  <a:pt x="40703" y="435850"/>
                  <a:pt x="46143" y="436330"/>
                </a:cubicBezTo>
                <a:cubicBezTo>
                  <a:pt x="58463" y="437290"/>
                  <a:pt x="70943" y="442730"/>
                  <a:pt x="82143" y="447690"/>
                </a:cubicBezTo>
                <a:cubicBezTo>
                  <a:pt x="84383" y="448650"/>
                  <a:pt x="86143" y="450250"/>
                  <a:pt x="87903" y="451850"/>
                </a:cubicBezTo>
                <a:cubicBezTo>
                  <a:pt x="89343" y="453130"/>
                  <a:pt x="92223" y="453930"/>
                  <a:pt x="93983" y="454730"/>
                </a:cubicBezTo>
                <a:cubicBezTo>
                  <a:pt x="99583" y="457130"/>
                  <a:pt x="104223" y="461930"/>
                  <a:pt x="109183" y="465450"/>
                </a:cubicBezTo>
                <a:cubicBezTo>
                  <a:pt x="113983" y="468810"/>
                  <a:pt x="119103" y="471530"/>
                  <a:pt x="123743" y="475210"/>
                </a:cubicBezTo>
                <a:cubicBezTo>
                  <a:pt x="128543" y="479050"/>
                  <a:pt x="132703" y="483530"/>
                  <a:pt x="137023" y="487850"/>
                </a:cubicBezTo>
                <a:cubicBezTo>
                  <a:pt x="145343" y="496170"/>
                  <a:pt x="154303" y="504970"/>
                  <a:pt x="163903" y="511850"/>
                </a:cubicBezTo>
                <a:cubicBezTo>
                  <a:pt x="173343" y="518570"/>
                  <a:pt x="181023" y="525930"/>
                  <a:pt x="189343" y="533930"/>
                </a:cubicBezTo>
                <a:cubicBezTo>
                  <a:pt x="197023" y="541290"/>
                  <a:pt x="206623" y="546570"/>
                  <a:pt x="216543" y="550410"/>
                </a:cubicBezTo>
                <a:cubicBezTo>
                  <a:pt x="223743" y="553130"/>
                  <a:pt x="231263" y="556170"/>
                  <a:pt x="238783" y="558410"/>
                </a:cubicBezTo>
                <a:cubicBezTo>
                  <a:pt x="243103" y="560490"/>
                  <a:pt x="247423" y="562410"/>
                  <a:pt x="251743" y="564330"/>
                </a:cubicBezTo>
                <a:cubicBezTo>
                  <a:pt x="259743" y="567850"/>
                  <a:pt x="267583" y="571370"/>
                  <a:pt x="275263" y="575370"/>
                </a:cubicBezTo>
                <a:cubicBezTo>
                  <a:pt x="282783" y="579210"/>
                  <a:pt x="290143" y="582730"/>
                  <a:pt x="298303" y="584970"/>
                </a:cubicBezTo>
                <a:cubicBezTo>
                  <a:pt x="306623" y="587210"/>
                  <a:pt x="314303" y="592970"/>
                  <a:pt x="322783" y="594250"/>
                </a:cubicBezTo>
                <a:cubicBezTo>
                  <a:pt x="331583" y="595530"/>
                  <a:pt x="340063" y="596970"/>
                  <a:pt x="348703" y="598890"/>
                </a:cubicBezTo>
                <a:cubicBezTo>
                  <a:pt x="331743" y="598410"/>
                  <a:pt x="314943" y="596650"/>
                  <a:pt x="298303" y="593610"/>
                </a:cubicBezTo>
                <a:cubicBezTo>
                  <a:pt x="289503" y="592010"/>
                  <a:pt x="281023" y="589610"/>
                  <a:pt x="272383" y="587370"/>
                </a:cubicBezTo>
                <a:cubicBezTo>
                  <a:pt x="263743" y="585130"/>
                  <a:pt x="254623" y="583530"/>
                  <a:pt x="246623" y="579210"/>
                </a:cubicBezTo>
                <a:cubicBezTo>
                  <a:pt x="242943" y="577290"/>
                  <a:pt x="238143" y="576330"/>
                  <a:pt x="234303" y="574730"/>
                </a:cubicBezTo>
                <a:cubicBezTo>
                  <a:pt x="230143" y="572970"/>
                  <a:pt x="226303" y="571050"/>
                  <a:pt x="222303" y="569130"/>
                </a:cubicBezTo>
                <a:cubicBezTo>
                  <a:pt x="213823" y="564810"/>
                  <a:pt x="205823" y="560010"/>
                  <a:pt x="197663" y="555210"/>
                </a:cubicBezTo>
                <a:cubicBezTo>
                  <a:pt x="181983" y="545930"/>
                  <a:pt x="165983" y="536490"/>
                  <a:pt x="151743" y="525130"/>
                </a:cubicBezTo>
                <a:cubicBezTo>
                  <a:pt x="136543" y="513130"/>
                  <a:pt x="121663" y="500490"/>
                  <a:pt x="106623" y="488170"/>
                </a:cubicBezTo>
                <a:cubicBezTo>
                  <a:pt x="92703" y="476810"/>
                  <a:pt x="79903" y="464650"/>
                  <a:pt x="64703" y="454890"/>
                </a:cubicBezTo>
                <a:cubicBezTo>
                  <a:pt x="57663" y="450410"/>
                  <a:pt x="50463" y="446570"/>
                  <a:pt x="43103" y="442570"/>
                </a:cubicBezTo>
                <a:cubicBezTo>
                  <a:pt x="38143" y="439370"/>
                  <a:pt x="33343" y="435690"/>
                  <a:pt x="27263" y="435210"/>
                </a:cubicBezTo>
                <a:close/>
                <a:moveTo>
                  <a:pt x="257343" y="631210"/>
                </a:moveTo>
                <a:cubicBezTo>
                  <a:pt x="238943" y="631850"/>
                  <a:pt x="220383" y="630410"/>
                  <a:pt x="202303" y="626890"/>
                </a:cubicBezTo>
                <a:cubicBezTo>
                  <a:pt x="193983" y="625290"/>
                  <a:pt x="185343" y="623050"/>
                  <a:pt x="177503" y="620010"/>
                </a:cubicBezTo>
                <a:cubicBezTo>
                  <a:pt x="173663" y="618570"/>
                  <a:pt x="169983" y="616810"/>
                  <a:pt x="166303" y="615050"/>
                </a:cubicBezTo>
                <a:cubicBezTo>
                  <a:pt x="161823" y="612810"/>
                  <a:pt x="158303" y="609450"/>
                  <a:pt x="154143" y="607050"/>
                </a:cubicBezTo>
                <a:cubicBezTo>
                  <a:pt x="139743" y="598570"/>
                  <a:pt x="128543" y="583210"/>
                  <a:pt x="119423" y="569290"/>
                </a:cubicBezTo>
                <a:cubicBezTo>
                  <a:pt x="114783" y="562410"/>
                  <a:pt x="110623" y="554890"/>
                  <a:pt x="106783" y="547690"/>
                </a:cubicBezTo>
                <a:cubicBezTo>
                  <a:pt x="106783" y="547690"/>
                  <a:pt x="106783" y="547690"/>
                  <a:pt x="106783" y="547690"/>
                </a:cubicBezTo>
                <a:cubicBezTo>
                  <a:pt x="109663" y="551690"/>
                  <a:pt x="112383" y="555690"/>
                  <a:pt x="115103" y="559850"/>
                </a:cubicBezTo>
                <a:cubicBezTo>
                  <a:pt x="118143" y="564490"/>
                  <a:pt x="122463" y="568490"/>
                  <a:pt x="125983" y="572650"/>
                </a:cubicBezTo>
                <a:cubicBezTo>
                  <a:pt x="130143" y="577450"/>
                  <a:pt x="134783" y="581610"/>
                  <a:pt x="139743" y="585610"/>
                </a:cubicBezTo>
                <a:cubicBezTo>
                  <a:pt x="149663" y="593450"/>
                  <a:pt x="160383" y="600170"/>
                  <a:pt x="171423" y="606410"/>
                </a:cubicBezTo>
                <a:cubicBezTo>
                  <a:pt x="181823" y="612170"/>
                  <a:pt x="192223" y="618250"/>
                  <a:pt x="203583" y="621930"/>
                </a:cubicBezTo>
                <a:cubicBezTo>
                  <a:pt x="214943" y="625610"/>
                  <a:pt x="226943" y="627210"/>
                  <a:pt x="238783" y="628970"/>
                </a:cubicBezTo>
                <a:cubicBezTo>
                  <a:pt x="246303" y="630090"/>
                  <a:pt x="253663" y="630730"/>
                  <a:pt x="261183" y="631210"/>
                </a:cubicBezTo>
                <a:cubicBezTo>
                  <a:pt x="260063" y="631050"/>
                  <a:pt x="258783" y="631050"/>
                  <a:pt x="257343" y="631210"/>
                </a:cubicBezTo>
                <a:close/>
                <a:moveTo>
                  <a:pt x="326783" y="621290"/>
                </a:moveTo>
                <a:cubicBezTo>
                  <a:pt x="321663" y="622570"/>
                  <a:pt x="317183" y="624970"/>
                  <a:pt x="311903" y="625770"/>
                </a:cubicBezTo>
                <a:cubicBezTo>
                  <a:pt x="310943" y="625930"/>
                  <a:pt x="309823" y="626090"/>
                  <a:pt x="308863" y="626250"/>
                </a:cubicBezTo>
                <a:cubicBezTo>
                  <a:pt x="308703" y="626250"/>
                  <a:pt x="308543" y="626090"/>
                  <a:pt x="308383" y="626090"/>
                </a:cubicBezTo>
                <a:cubicBezTo>
                  <a:pt x="303263" y="625450"/>
                  <a:pt x="298143" y="625770"/>
                  <a:pt x="293023" y="626090"/>
                </a:cubicBezTo>
                <a:cubicBezTo>
                  <a:pt x="287263" y="626410"/>
                  <a:pt x="281823" y="625610"/>
                  <a:pt x="276063" y="625770"/>
                </a:cubicBezTo>
                <a:cubicBezTo>
                  <a:pt x="264223" y="625930"/>
                  <a:pt x="252063" y="624330"/>
                  <a:pt x="240223" y="622730"/>
                </a:cubicBezTo>
                <a:cubicBezTo>
                  <a:pt x="229023" y="621130"/>
                  <a:pt x="217823" y="619370"/>
                  <a:pt x="206783" y="616330"/>
                </a:cubicBezTo>
                <a:cubicBezTo>
                  <a:pt x="194623" y="612970"/>
                  <a:pt x="183263" y="605930"/>
                  <a:pt x="172223" y="599850"/>
                </a:cubicBezTo>
                <a:cubicBezTo>
                  <a:pt x="161023" y="593610"/>
                  <a:pt x="150463" y="586570"/>
                  <a:pt x="140383" y="578570"/>
                </a:cubicBezTo>
                <a:cubicBezTo>
                  <a:pt x="130783" y="570730"/>
                  <a:pt x="122943" y="560650"/>
                  <a:pt x="115263" y="551050"/>
                </a:cubicBezTo>
                <a:cubicBezTo>
                  <a:pt x="107423" y="541290"/>
                  <a:pt x="100703" y="530410"/>
                  <a:pt x="93823" y="520010"/>
                </a:cubicBezTo>
                <a:cubicBezTo>
                  <a:pt x="91263" y="516170"/>
                  <a:pt x="88383" y="512810"/>
                  <a:pt x="85503" y="509130"/>
                </a:cubicBezTo>
                <a:cubicBezTo>
                  <a:pt x="79903" y="498570"/>
                  <a:pt x="73503" y="488490"/>
                  <a:pt x="66303" y="479530"/>
                </a:cubicBezTo>
                <a:cubicBezTo>
                  <a:pt x="73503" y="485930"/>
                  <a:pt x="80863" y="492170"/>
                  <a:pt x="87583" y="499370"/>
                </a:cubicBezTo>
                <a:cubicBezTo>
                  <a:pt x="99423" y="512010"/>
                  <a:pt x="110623" y="525290"/>
                  <a:pt x="123583" y="536970"/>
                </a:cubicBezTo>
                <a:cubicBezTo>
                  <a:pt x="147583" y="558890"/>
                  <a:pt x="171903" y="580810"/>
                  <a:pt x="201343" y="595210"/>
                </a:cubicBezTo>
                <a:cubicBezTo>
                  <a:pt x="207583" y="598250"/>
                  <a:pt x="213823" y="600650"/>
                  <a:pt x="219903" y="603850"/>
                </a:cubicBezTo>
                <a:cubicBezTo>
                  <a:pt x="225823" y="607050"/>
                  <a:pt x="234303" y="607690"/>
                  <a:pt x="240863" y="609450"/>
                </a:cubicBezTo>
                <a:cubicBezTo>
                  <a:pt x="258623" y="614250"/>
                  <a:pt x="277343" y="617130"/>
                  <a:pt x="295583" y="618890"/>
                </a:cubicBezTo>
                <a:cubicBezTo>
                  <a:pt x="303903" y="619690"/>
                  <a:pt x="312223" y="620010"/>
                  <a:pt x="320703" y="619690"/>
                </a:cubicBezTo>
                <a:cubicBezTo>
                  <a:pt x="325663" y="619370"/>
                  <a:pt x="330783" y="619530"/>
                  <a:pt x="335743" y="619690"/>
                </a:cubicBezTo>
                <a:cubicBezTo>
                  <a:pt x="332703" y="620330"/>
                  <a:pt x="329663" y="620650"/>
                  <a:pt x="326783" y="621290"/>
                </a:cubicBezTo>
                <a:close/>
                <a:moveTo>
                  <a:pt x="374143" y="609290"/>
                </a:moveTo>
                <a:cubicBezTo>
                  <a:pt x="365663" y="611690"/>
                  <a:pt x="356223" y="612650"/>
                  <a:pt x="347583" y="613290"/>
                </a:cubicBezTo>
                <a:cubicBezTo>
                  <a:pt x="339903" y="613930"/>
                  <a:pt x="332063" y="613290"/>
                  <a:pt x="324383" y="613450"/>
                </a:cubicBezTo>
                <a:cubicBezTo>
                  <a:pt x="315103" y="613770"/>
                  <a:pt x="306143" y="613770"/>
                  <a:pt x="297023" y="612970"/>
                </a:cubicBezTo>
                <a:cubicBezTo>
                  <a:pt x="279583" y="611370"/>
                  <a:pt x="261663" y="608490"/>
                  <a:pt x="244543" y="604170"/>
                </a:cubicBezTo>
                <a:cubicBezTo>
                  <a:pt x="237663" y="602410"/>
                  <a:pt x="229503" y="601290"/>
                  <a:pt x="222943" y="598570"/>
                </a:cubicBezTo>
                <a:cubicBezTo>
                  <a:pt x="220063" y="597450"/>
                  <a:pt x="217823" y="595210"/>
                  <a:pt x="214783" y="594570"/>
                </a:cubicBezTo>
                <a:cubicBezTo>
                  <a:pt x="210463" y="593450"/>
                  <a:pt x="206303" y="591050"/>
                  <a:pt x="202463" y="589130"/>
                </a:cubicBezTo>
                <a:cubicBezTo>
                  <a:pt x="187743" y="582090"/>
                  <a:pt x="173983" y="573290"/>
                  <a:pt x="161663" y="562730"/>
                </a:cubicBezTo>
                <a:cubicBezTo>
                  <a:pt x="149023" y="551850"/>
                  <a:pt x="136223" y="541450"/>
                  <a:pt x="123903" y="530250"/>
                </a:cubicBezTo>
                <a:cubicBezTo>
                  <a:pt x="111583" y="519050"/>
                  <a:pt x="101023" y="506250"/>
                  <a:pt x="89343" y="494570"/>
                </a:cubicBezTo>
                <a:cubicBezTo>
                  <a:pt x="83743" y="488970"/>
                  <a:pt x="77663" y="483850"/>
                  <a:pt x="71583" y="478730"/>
                </a:cubicBezTo>
                <a:cubicBezTo>
                  <a:pt x="68063" y="475690"/>
                  <a:pt x="64383" y="473450"/>
                  <a:pt x="60543" y="471210"/>
                </a:cubicBezTo>
                <a:cubicBezTo>
                  <a:pt x="59263" y="469290"/>
                  <a:pt x="57983" y="467210"/>
                  <a:pt x="56863" y="465290"/>
                </a:cubicBezTo>
                <a:cubicBezTo>
                  <a:pt x="53503" y="459690"/>
                  <a:pt x="48863" y="455210"/>
                  <a:pt x="44383" y="450250"/>
                </a:cubicBezTo>
                <a:cubicBezTo>
                  <a:pt x="42303" y="448010"/>
                  <a:pt x="40223" y="445610"/>
                  <a:pt x="37983" y="443690"/>
                </a:cubicBezTo>
                <a:cubicBezTo>
                  <a:pt x="40383" y="445290"/>
                  <a:pt x="42783" y="446890"/>
                  <a:pt x="45343" y="448330"/>
                </a:cubicBezTo>
                <a:cubicBezTo>
                  <a:pt x="52703" y="452490"/>
                  <a:pt x="59903" y="456810"/>
                  <a:pt x="66783" y="461450"/>
                </a:cubicBezTo>
                <a:cubicBezTo>
                  <a:pt x="74303" y="466570"/>
                  <a:pt x="81503" y="472330"/>
                  <a:pt x="88063" y="478570"/>
                </a:cubicBezTo>
                <a:cubicBezTo>
                  <a:pt x="95263" y="485450"/>
                  <a:pt x="103263" y="491530"/>
                  <a:pt x="110783" y="498090"/>
                </a:cubicBezTo>
                <a:cubicBezTo>
                  <a:pt x="124703" y="510250"/>
                  <a:pt x="139423" y="522250"/>
                  <a:pt x="153983" y="533770"/>
                </a:cubicBezTo>
                <a:cubicBezTo>
                  <a:pt x="167423" y="544330"/>
                  <a:pt x="182623" y="552810"/>
                  <a:pt x="197343" y="561610"/>
                </a:cubicBezTo>
                <a:cubicBezTo>
                  <a:pt x="212063" y="570410"/>
                  <a:pt x="226783" y="578890"/>
                  <a:pt x="243103" y="584330"/>
                </a:cubicBezTo>
                <a:cubicBezTo>
                  <a:pt x="250623" y="586890"/>
                  <a:pt x="257823" y="590570"/>
                  <a:pt x="265663" y="592170"/>
                </a:cubicBezTo>
                <a:cubicBezTo>
                  <a:pt x="274943" y="594090"/>
                  <a:pt x="283903" y="596970"/>
                  <a:pt x="293183" y="598730"/>
                </a:cubicBezTo>
                <a:cubicBezTo>
                  <a:pt x="311103" y="602250"/>
                  <a:pt x="329503" y="604170"/>
                  <a:pt x="347903" y="604810"/>
                </a:cubicBezTo>
                <a:cubicBezTo>
                  <a:pt x="356703" y="605130"/>
                  <a:pt x="365663" y="605130"/>
                  <a:pt x="374463" y="604810"/>
                </a:cubicBezTo>
                <a:cubicBezTo>
                  <a:pt x="378303" y="604650"/>
                  <a:pt x="381983" y="604650"/>
                  <a:pt x="385663" y="604970"/>
                </a:cubicBezTo>
                <a:cubicBezTo>
                  <a:pt x="381663" y="606250"/>
                  <a:pt x="378143" y="608170"/>
                  <a:pt x="374143" y="609290"/>
                </a:cubicBezTo>
                <a:close/>
                <a:moveTo>
                  <a:pt x="371583" y="594250"/>
                </a:moveTo>
                <a:cubicBezTo>
                  <a:pt x="371423" y="593930"/>
                  <a:pt x="371103" y="593770"/>
                  <a:pt x="370623" y="593610"/>
                </a:cubicBezTo>
                <a:cubicBezTo>
                  <a:pt x="369183" y="593130"/>
                  <a:pt x="368063" y="591690"/>
                  <a:pt x="366463" y="591370"/>
                </a:cubicBezTo>
                <a:cubicBezTo>
                  <a:pt x="363903" y="590890"/>
                  <a:pt x="361823" y="590570"/>
                  <a:pt x="359263" y="589610"/>
                </a:cubicBezTo>
                <a:cubicBezTo>
                  <a:pt x="353183" y="587210"/>
                  <a:pt x="346783" y="585610"/>
                  <a:pt x="340703" y="583050"/>
                </a:cubicBezTo>
                <a:cubicBezTo>
                  <a:pt x="327423" y="577610"/>
                  <a:pt x="315583" y="569770"/>
                  <a:pt x="304223" y="560970"/>
                </a:cubicBezTo>
                <a:cubicBezTo>
                  <a:pt x="280543" y="542090"/>
                  <a:pt x="258463" y="521130"/>
                  <a:pt x="237343" y="499530"/>
                </a:cubicBezTo>
                <a:cubicBezTo>
                  <a:pt x="216223" y="477930"/>
                  <a:pt x="196383" y="455530"/>
                  <a:pt x="180863" y="429450"/>
                </a:cubicBezTo>
                <a:cubicBezTo>
                  <a:pt x="176863" y="422730"/>
                  <a:pt x="172863" y="416330"/>
                  <a:pt x="168383" y="409930"/>
                </a:cubicBezTo>
                <a:cubicBezTo>
                  <a:pt x="164383" y="404170"/>
                  <a:pt x="161183" y="397930"/>
                  <a:pt x="156703" y="392650"/>
                </a:cubicBezTo>
                <a:cubicBezTo>
                  <a:pt x="152383" y="387530"/>
                  <a:pt x="147103" y="383530"/>
                  <a:pt x="142783" y="378250"/>
                </a:cubicBezTo>
                <a:cubicBezTo>
                  <a:pt x="141823" y="377130"/>
                  <a:pt x="141023" y="376010"/>
                  <a:pt x="140223" y="375050"/>
                </a:cubicBezTo>
                <a:cubicBezTo>
                  <a:pt x="140703" y="374890"/>
                  <a:pt x="141183" y="374570"/>
                  <a:pt x="141343" y="374250"/>
                </a:cubicBezTo>
                <a:cubicBezTo>
                  <a:pt x="144543" y="375050"/>
                  <a:pt x="147743" y="375850"/>
                  <a:pt x="150943" y="376490"/>
                </a:cubicBezTo>
                <a:cubicBezTo>
                  <a:pt x="151423" y="376650"/>
                  <a:pt x="151903" y="376650"/>
                  <a:pt x="152383" y="376810"/>
                </a:cubicBezTo>
                <a:cubicBezTo>
                  <a:pt x="155743" y="379210"/>
                  <a:pt x="159103" y="381610"/>
                  <a:pt x="162303" y="384650"/>
                </a:cubicBezTo>
                <a:cubicBezTo>
                  <a:pt x="167903" y="389930"/>
                  <a:pt x="173023" y="395690"/>
                  <a:pt x="178463" y="401130"/>
                </a:cubicBezTo>
                <a:cubicBezTo>
                  <a:pt x="190303" y="412970"/>
                  <a:pt x="202143" y="424970"/>
                  <a:pt x="213343" y="437130"/>
                </a:cubicBezTo>
                <a:cubicBezTo>
                  <a:pt x="224383" y="449290"/>
                  <a:pt x="235583" y="461290"/>
                  <a:pt x="246463" y="473610"/>
                </a:cubicBezTo>
                <a:cubicBezTo>
                  <a:pt x="252223" y="480010"/>
                  <a:pt x="257183" y="487050"/>
                  <a:pt x="262623" y="493770"/>
                </a:cubicBezTo>
                <a:cubicBezTo>
                  <a:pt x="267423" y="499530"/>
                  <a:pt x="272863" y="504810"/>
                  <a:pt x="277983" y="510090"/>
                </a:cubicBezTo>
                <a:cubicBezTo>
                  <a:pt x="299423" y="531850"/>
                  <a:pt x="320383" y="554090"/>
                  <a:pt x="346463" y="570570"/>
                </a:cubicBezTo>
                <a:cubicBezTo>
                  <a:pt x="358783" y="578410"/>
                  <a:pt x="370783" y="587690"/>
                  <a:pt x="383903" y="594250"/>
                </a:cubicBezTo>
                <a:cubicBezTo>
                  <a:pt x="385343" y="595050"/>
                  <a:pt x="386943" y="595690"/>
                  <a:pt x="388543" y="596490"/>
                </a:cubicBezTo>
                <a:cubicBezTo>
                  <a:pt x="383103" y="595690"/>
                  <a:pt x="377343" y="594890"/>
                  <a:pt x="371583" y="594250"/>
                </a:cubicBezTo>
                <a:close/>
                <a:moveTo>
                  <a:pt x="381503" y="586410"/>
                </a:moveTo>
                <a:cubicBezTo>
                  <a:pt x="375263" y="582890"/>
                  <a:pt x="369503" y="578570"/>
                  <a:pt x="363743" y="574410"/>
                </a:cubicBezTo>
                <a:cubicBezTo>
                  <a:pt x="357663" y="570090"/>
                  <a:pt x="350943" y="566730"/>
                  <a:pt x="345023" y="562410"/>
                </a:cubicBezTo>
                <a:cubicBezTo>
                  <a:pt x="332703" y="553770"/>
                  <a:pt x="321823" y="544170"/>
                  <a:pt x="310623" y="534090"/>
                </a:cubicBezTo>
                <a:cubicBezTo>
                  <a:pt x="298943" y="523690"/>
                  <a:pt x="288703" y="512170"/>
                  <a:pt x="277663" y="501130"/>
                </a:cubicBezTo>
                <a:cubicBezTo>
                  <a:pt x="266783" y="490090"/>
                  <a:pt x="257983" y="477450"/>
                  <a:pt x="247423" y="465930"/>
                </a:cubicBezTo>
                <a:cubicBezTo>
                  <a:pt x="236223" y="453770"/>
                  <a:pt x="225183" y="441610"/>
                  <a:pt x="213983" y="429450"/>
                </a:cubicBezTo>
                <a:cubicBezTo>
                  <a:pt x="208863" y="423850"/>
                  <a:pt x="202943" y="418890"/>
                  <a:pt x="197663" y="413450"/>
                </a:cubicBezTo>
                <a:cubicBezTo>
                  <a:pt x="191903" y="407530"/>
                  <a:pt x="186143" y="401450"/>
                  <a:pt x="180223" y="395690"/>
                </a:cubicBezTo>
                <a:cubicBezTo>
                  <a:pt x="174783" y="390410"/>
                  <a:pt x="169503" y="384970"/>
                  <a:pt x="163903" y="379850"/>
                </a:cubicBezTo>
                <a:cubicBezTo>
                  <a:pt x="163423" y="379530"/>
                  <a:pt x="162943" y="379050"/>
                  <a:pt x="162463" y="378730"/>
                </a:cubicBezTo>
                <a:cubicBezTo>
                  <a:pt x="162623" y="378730"/>
                  <a:pt x="162943" y="378730"/>
                  <a:pt x="163103" y="378730"/>
                </a:cubicBezTo>
                <a:cubicBezTo>
                  <a:pt x="170623" y="380330"/>
                  <a:pt x="177983" y="382090"/>
                  <a:pt x="185663" y="383210"/>
                </a:cubicBezTo>
                <a:cubicBezTo>
                  <a:pt x="187583" y="384010"/>
                  <a:pt x="189663" y="384970"/>
                  <a:pt x="191583" y="385450"/>
                </a:cubicBezTo>
                <a:cubicBezTo>
                  <a:pt x="191903" y="385610"/>
                  <a:pt x="192223" y="385610"/>
                  <a:pt x="192543" y="385610"/>
                </a:cubicBezTo>
                <a:cubicBezTo>
                  <a:pt x="193023" y="386090"/>
                  <a:pt x="193503" y="386570"/>
                  <a:pt x="194143" y="387050"/>
                </a:cubicBezTo>
                <a:cubicBezTo>
                  <a:pt x="198623" y="390090"/>
                  <a:pt x="202943" y="392810"/>
                  <a:pt x="207423" y="396010"/>
                </a:cubicBezTo>
                <a:cubicBezTo>
                  <a:pt x="219743" y="405130"/>
                  <a:pt x="232703" y="413130"/>
                  <a:pt x="245183" y="421930"/>
                </a:cubicBezTo>
                <a:cubicBezTo>
                  <a:pt x="257023" y="430250"/>
                  <a:pt x="267103" y="440810"/>
                  <a:pt x="277183" y="451050"/>
                </a:cubicBezTo>
                <a:cubicBezTo>
                  <a:pt x="288703" y="462730"/>
                  <a:pt x="300063" y="474570"/>
                  <a:pt x="311743" y="486090"/>
                </a:cubicBezTo>
                <a:cubicBezTo>
                  <a:pt x="314143" y="488330"/>
                  <a:pt x="315903" y="491050"/>
                  <a:pt x="317983" y="493610"/>
                </a:cubicBezTo>
                <a:cubicBezTo>
                  <a:pt x="320223" y="496170"/>
                  <a:pt x="322783" y="497930"/>
                  <a:pt x="325183" y="500010"/>
                </a:cubicBezTo>
                <a:cubicBezTo>
                  <a:pt x="330143" y="504330"/>
                  <a:pt x="334943" y="510250"/>
                  <a:pt x="339103" y="515370"/>
                </a:cubicBezTo>
                <a:cubicBezTo>
                  <a:pt x="348703" y="527210"/>
                  <a:pt x="357023" y="539690"/>
                  <a:pt x="366303" y="551850"/>
                </a:cubicBezTo>
                <a:cubicBezTo>
                  <a:pt x="374783" y="562890"/>
                  <a:pt x="384543" y="573450"/>
                  <a:pt x="394143" y="583530"/>
                </a:cubicBezTo>
                <a:cubicBezTo>
                  <a:pt x="398623" y="588170"/>
                  <a:pt x="403263" y="592650"/>
                  <a:pt x="408223" y="596650"/>
                </a:cubicBezTo>
                <a:cubicBezTo>
                  <a:pt x="398783" y="594570"/>
                  <a:pt x="389663" y="591050"/>
                  <a:pt x="381503" y="586410"/>
                </a:cubicBezTo>
                <a:close/>
                <a:moveTo>
                  <a:pt x="417663" y="595690"/>
                </a:moveTo>
                <a:cubicBezTo>
                  <a:pt x="416223" y="593770"/>
                  <a:pt x="414623" y="592010"/>
                  <a:pt x="413503" y="590250"/>
                </a:cubicBezTo>
                <a:cubicBezTo>
                  <a:pt x="410303" y="585610"/>
                  <a:pt x="407743" y="580010"/>
                  <a:pt x="405023" y="574890"/>
                </a:cubicBezTo>
                <a:cubicBezTo>
                  <a:pt x="402143" y="569290"/>
                  <a:pt x="399103" y="563850"/>
                  <a:pt x="395583" y="558570"/>
                </a:cubicBezTo>
                <a:cubicBezTo>
                  <a:pt x="391263" y="552170"/>
                  <a:pt x="386623" y="545930"/>
                  <a:pt x="383583" y="538890"/>
                </a:cubicBezTo>
                <a:cubicBezTo>
                  <a:pt x="381343" y="533770"/>
                  <a:pt x="378783" y="529290"/>
                  <a:pt x="376063" y="524490"/>
                </a:cubicBezTo>
                <a:cubicBezTo>
                  <a:pt x="372543" y="518570"/>
                  <a:pt x="370143" y="511850"/>
                  <a:pt x="366143" y="506090"/>
                </a:cubicBezTo>
                <a:cubicBezTo>
                  <a:pt x="358463" y="495050"/>
                  <a:pt x="351583" y="484010"/>
                  <a:pt x="342303" y="474250"/>
                </a:cubicBezTo>
                <a:cubicBezTo>
                  <a:pt x="337343" y="469130"/>
                  <a:pt x="333343" y="463050"/>
                  <a:pt x="328703" y="457450"/>
                </a:cubicBezTo>
                <a:cubicBezTo>
                  <a:pt x="324223" y="452170"/>
                  <a:pt x="319423" y="447050"/>
                  <a:pt x="314623" y="442250"/>
                </a:cubicBezTo>
                <a:cubicBezTo>
                  <a:pt x="304543" y="432330"/>
                  <a:pt x="293663" y="423690"/>
                  <a:pt x="282303" y="415210"/>
                </a:cubicBezTo>
                <a:cubicBezTo>
                  <a:pt x="271583" y="407210"/>
                  <a:pt x="262303" y="398250"/>
                  <a:pt x="250783" y="391370"/>
                </a:cubicBezTo>
                <a:cubicBezTo>
                  <a:pt x="245663" y="388330"/>
                  <a:pt x="240543" y="385770"/>
                  <a:pt x="234783" y="384330"/>
                </a:cubicBezTo>
                <a:cubicBezTo>
                  <a:pt x="233663" y="384010"/>
                  <a:pt x="231423" y="383850"/>
                  <a:pt x="229183" y="383370"/>
                </a:cubicBezTo>
                <a:cubicBezTo>
                  <a:pt x="230943" y="382890"/>
                  <a:pt x="232703" y="382250"/>
                  <a:pt x="234303" y="381610"/>
                </a:cubicBezTo>
                <a:cubicBezTo>
                  <a:pt x="237823" y="380170"/>
                  <a:pt x="242143" y="380170"/>
                  <a:pt x="245983" y="379370"/>
                </a:cubicBezTo>
                <a:cubicBezTo>
                  <a:pt x="251103" y="378250"/>
                  <a:pt x="256703" y="378570"/>
                  <a:pt x="261983" y="378410"/>
                </a:cubicBezTo>
                <a:cubicBezTo>
                  <a:pt x="262463" y="378410"/>
                  <a:pt x="262943" y="378410"/>
                  <a:pt x="263423" y="378410"/>
                </a:cubicBezTo>
                <a:cubicBezTo>
                  <a:pt x="265823" y="381450"/>
                  <a:pt x="271583" y="382890"/>
                  <a:pt x="274463" y="384330"/>
                </a:cubicBezTo>
                <a:cubicBezTo>
                  <a:pt x="279743" y="387050"/>
                  <a:pt x="284703" y="390730"/>
                  <a:pt x="289823" y="393770"/>
                </a:cubicBezTo>
                <a:cubicBezTo>
                  <a:pt x="295263" y="397130"/>
                  <a:pt x="301023" y="399530"/>
                  <a:pt x="306143" y="403690"/>
                </a:cubicBezTo>
                <a:cubicBezTo>
                  <a:pt x="315743" y="411370"/>
                  <a:pt x="325983" y="417930"/>
                  <a:pt x="335263" y="425930"/>
                </a:cubicBezTo>
                <a:cubicBezTo>
                  <a:pt x="345023" y="434250"/>
                  <a:pt x="353983" y="444170"/>
                  <a:pt x="362143" y="454090"/>
                </a:cubicBezTo>
                <a:cubicBezTo>
                  <a:pt x="370623" y="464170"/>
                  <a:pt x="377183" y="475690"/>
                  <a:pt x="384863" y="486410"/>
                </a:cubicBezTo>
                <a:cubicBezTo>
                  <a:pt x="392543" y="497130"/>
                  <a:pt x="399423" y="507850"/>
                  <a:pt x="405983" y="519210"/>
                </a:cubicBezTo>
                <a:cubicBezTo>
                  <a:pt x="409503" y="525450"/>
                  <a:pt x="413023" y="531530"/>
                  <a:pt x="416223" y="538090"/>
                </a:cubicBezTo>
                <a:cubicBezTo>
                  <a:pt x="418943" y="543850"/>
                  <a:pt x="422783" y="549130"/>
                  <a:pt x="425183" y="555210"/>
                </a:cubicBezTo>
                <a:cubicBezTo>
                  <a:pt x="429663" y="566890"/>
                  <a:pt x="432383" y="579530"/>
                  <a:pt x="433663" y="592010"/>
                </a:cubicBezTo>
                <a:cubicBezTo>
                  <a:pt x="430943" y="593610"/>
                  <a:pt x="428223" y="595050"/>
                  <a:pt x="425343" y="595530"/>
                </a:cubicBezTo>
                <a:cubicBezTo>
                  <a:pt x="423743" y="595850"/>
                  <a:pt x="422303" y="596010"/>
                  <a:pt x="420703" y="596330"/>
                </a:cubicBezTo>
                <a:cubicBezTo>
                  <a:pt x="419423" y="596010"/>
                  <a:pt x="418623" y="595850"/>
                  <a:pt x="417663" y="595690"/>
                </a:cubicBezTo>
                <a:close/>
                <a:moveTo>
                  <a:pt x="424223" y="612970"/>
                </a:moveTo>
                <a:cubicBezTo>
                  <a:pt x="423263" y="611530"/>
                  <a:pt x="421983" y="610090"/>
                  <a:pt x="420863" y="608810"/>
                </a:cubicBezTo>
                <a:cubicBezTo>
                  <a:pt x="427423" y="603370"/>
                  <a:pt x="433823" y="598250"/>
                  <a:pt x="442783" y="598090"/>
                </a:cubicBezTo>
                <a:cubicBezTo>
                  <a:pt x="447263" y="598090"/>
                  <a:pt x="452063" y="595850"/>
                  <a:pt x="456703" y="595210"/>
                </a:cubicBezTo>
                <a:cubicBezTo>
                  <a:pt x="460863" y="594730"/>
                  <a:pt x="467263" y="595530"/>
                  <a:pt x="471423" y="596170"/>
                </a:cubicBezTo>
                <a:cubicBezTo>
                  <a:pt x="481183" y="597770"/>
                  <a:pt x="491743" y="602250"/>
                  <a:pt x="500223" y="607210"/>
                </a:cubicBezTo>
                <a:cubicBezTo>
                  <a:pt x="501183" y="607690"/>
                  <a:pt x="502143" y="608330"/>
                  <a:pt x="503103" y="608970"/>
                </a:cubicBezTo>
                <a:cubicBezTo>
                  <a:pt x="505663" y="609930"/>
                  <a:pt x="507903" y="611530"/>
                  <a:pt x="509983" y="613290"/>
                </a:cubicBezTo>
                <a:cubicBezTo>
                  <a:pt x="511103" y="614250"/>
                  <a:pt x="512223" y="615210"/>
                  <a:pt x="513343" y="616330"/>
                </a:cubicBezTo>
                <a:cubicBezTo>
                  <a:pt x="514463" y="617290"/>
                  <a:pt x="515583" y="618090"/>
                  <a:pt x="516703" y="619050"/>
                </a:cubicBezTo>
                <a:cubicBezTo>
                  <a:pt x="509663" y="616010"/>
                  <a:pt x="502143" y="613610"/>
                  <a:pt x="494943" y="612330"/>
                </a:cubicBezTo>
                <a:cubicBezTo>
                  <a:pt x="481983" y="609930"/>
                  <a:pt x="469343" y="612810"/>
                  <a:pt x="456543" y="614250"/>
                </a:cubicBezTo>
                <a:cubicBezTo>
                  <a:pt x="450783" y="614890"/>
                  <a:pt x="445023" y="617130"/>
                  <a:pt x="439103" y="617930"/>
                </a:cubicBezTo>
                <a:cubicBezTo>
                  <a:pt x="437183" y="618250"/>
                  <a:pt x="431423" y="619210"/>
                  <a:pt x="427263" y="618730"/>
                </a:cubicBezTo>
                <a:cubicBezTo>
                  <a:pt x="426623" y="616810"/>
                  <a:pt x="425663" y="614890"/>
                  <a:pt x="424223" y="612970"/>
                </a:cubicBezTo>
                <a:close/>
                <a:moveTo>
                  <a:pt x="429343" y="630570"/>
                </a:moveTo>
                <a:cubicBezTo>
                  <a:pt x="429183" y="627370"/>
                  <a:pt x="428863" y="624650"/>
                  <a:pt x="428383" y="622090"/>
                </a:cubicBezTo>
                <a:cubicBezTo>
                  <a:pt x="431103" y="622410"/>
                  <a:pt x="433983" y="622410"/>
                  <a:pt x="435423" y="622410"/>
                </a:cubicBezTo>
                <a:cubicBezTo>
                  <a:pt x="448863" y="622250"/>
                  <a:pt x="461983" y="617770"/>
                  <a:pt x="475263" y="616810"/>
                </a:cubicBezTo>
                <a:cubicBezTo>
                  <a:pt x="490783" y="615690"/>
                  <a:pt x="503903" y="619850"/>
                  <a:pt x="517983" y="625930"/>
                </a:cubicBezTo>
                <a:cubicBezTo>
                  <a:pt x="522463" y="627850"/>
                  <a:pt x="526623" y="630090"/>
                  <a:pt x="530783" y="632490"/>
                </a:cubicBezTo>
                <a:cubicBezTo>
                  <a:pt x="532063" y="633930"/>
                  <a:pt x="533343" y="635530"/>
                  <a:pt x="534623" y="636970"/>
                </a:cubicBezTo>
                <a:cubicBezTo>
                  <a:pt x="533823" y="636810"/>
                  <a:pt x="533183" y="636490"/>
                  <a:pt x="532383" y="636330"/>
                </a:cubicBezTo>
                <a:cubicBezTo>
                  <a:pt x="521343" y="633450"/>
                  <a:pt x="510623" y="630570"/>
                  <a:pt x="499263" y="628970"/>
                </a:cubicBezTo>
                <a:cubicBezTo>
                  <a:pt x="486943" y="627210"/>
                  <a:pt x="474783" y="628810"/>
                  <a:pt x="462463" y="629610"/>
                </a:cubicBezTo>
                <a:cubicBezTo>
                  <a:pt x="456543" y="629930"/>
                  <a:pt x="450623" y="632170"/>
                  <a:pt x="444543" y="633130"/>
                </a:cubicBezTo>
                <a:cubicBezTo>
                  <a:pt x="441663" y="633610"/>
                  <a:pt x="434143" y="634250"/>
                  <a:pt x="429503" y="632490"/>
                </a:cubicBezTo>
                <a:cubicBezTo>
                  <a:pt x="429343" y="631850"/>
                  <a:pt x="429343" y="631210"/>
                  <a:pt x="429343" y="630570"/>
                </a:cubicBezTo>
                <a:close/>
                <a:moveTo>
                  <a:pt x="612863" y="731210"/>
                </a:moveTo>
                <a:cubicBezTo>
                  <a:pt x="611263" y="733290"/>
                  <a:pt x="607743" y="733930"/>
                  <a:pt x="605343" y="734730"/>
                </a:cubicBezTo>
                <a:cubicBezTo>
                  <a:pt x="598463" y="736970"/>
                  <a:pt x="590783" y="739210"/>
                  <a:pt x="583583" y="740330"/>
                </a:cubicBezTo>
                <a:cubicBezTo>
                  <a:pt x="577023" y="741290"/>
                  <a:pt x="569823" y="740810"/>
                  <a:pt x="563103" y="740970"/>
                </a:cubicBezTo>
                <a:cubicBezTo>
                  <a:pt x="555263" y="741130"/>
                  <a:pt x="546943" y="740810"/>
                  <a:pt x="539423" y="739050"/>
                </a:cubicBezTo>
                <a:cubicBezTo>
                  <a:pt x="526463" y="735850"/>
                  <a:pt x="512863" y="733130"/>
                  <a:pt x="500223" y="728970"/>
                </a:cubicBezTo>
                <a:cubicBezTo>
                  <a:pt x="490463" y="725770"/>
                  <a:pt x="481343" y="720810"/>
                  <a:pt x="473183" y="714570"/>
                </a:cubicBezTo>
                <a:cubicBezTo>
                  <a:pt x="475583" y="716170"/>
                  <a:pt x="478143" y="717610"/>
                  <a:pt x="480703" y="719050"/>
                </a:cubicBezTo>
                <a:cubicBezTo>
                  <a:pt x="495743" y="727210"/>
                  <a:pt x="513503" y="730730"/>
                  <a:pt x="530463" y="732330"/>
                </a:cubicBezTo>
                <a:cubicBezTo>
                  <a:pt x="548223" y="733930"/>
                  <a:pt x="566463" y="733770"/>
                  <a:pt x="584063" y="730730"/>
                </a:cubicBezTo>
                <a:cubicBezTo>
                  <a:pt x="590623" y="729610"/>
                  <a:pt x="602783" y="726570"/>
                  <a:pt x="609823" y="720650"/>
                </a:cubicBezTo>
                <a:cubicBezTo>
                  <a:pt x="610303" y="721610"/>
                  <a:pt x="610623" y="722730"/>
                  <a:pt x="611263" y="723690"/>
                </a:cubicBezTo>
                <a:cubicBezTo>
                  <a:pt x="612703" y="726090"/>
                  <a:pt x="615263" y="728170"/>
                  <a:pt x="612863" y="731210"/>
                </a:cubicBezTo>
                <a:close/>
                <a:moveTo>
                  <a:pt x="607103" y="685770"/>
                </a:moveTo>
                <a:cubicBezTo>
                  <a:pt x="608063" y="686250"/>
                  <a:pt x="608703" y="686890"/>
                  <a:pt x="609023" y="687530"/>
                </a:cubicBezTo>
                <a:cubicBezTo>
                  <a:pt x="609183" y="688010"/>
                  <a:pt x="609343" y="688330"/>
                  <a:pt x="609503" y="688810"/>
                </a:cubicBezTo>
                <a:cubicBezTo>
                  <a:pt x="609503" y="689450"/>
                  <a:pt x="609663" y="690090"/>
                  <a:pt x="610143" y="690730"/>
                </a:cubicBezTo>
                <a:cubicBezTo>
                  <a:pt x="609823" y="691850"/>
                  <a:pt x="609023" y="694570"/>
                  <a:pt x="608703" y="695530"/>
                </a:cubicBezTo>
                <a:cubicBezTo>
                  <a:pt x="607743" y="698250"/>
                  <a:pt x="607903" y="701450"/>
                  <a:pt x="607743" y="704330"/>
                </a:cubicBezTo>
                <a:cubicBezTo>
                  <a:pt x="607583" y="707050"/>
                  <a:pt x="607583" y="709930"/>
                  <a:pt x="608063" y="712650"/>
                </a:cubicBezTo>
                <a:cubicBezTo>
                  <a:pt x="607583" y="713450"/>
                  <a:pt x="607103" y="714090"/>
                  <a:pt x="606623" y="714730"/>
                </a:cubicBezTo>
                <a:cubicBezTo>
                  <a:pt x="604383" y="717450"/>
                  <a:pt x="599743" y="719210"/>
                  <a:pt x="596543" y="720650"/>
                </a:cubicBezTo>
                <a:cubicBezTo>
                  <a:pt x="589823" y="723530"/>
                  <a:pt x="582783" y="724810"/>
                  <a:pt x="575583" y="725610"/>
                </a:cubicBezTo>
                <a:cubicBezTo>
                  <a:pt x="560383" y="727370"/>
                  <a:pt x="544863" y="727690"/>
                  <a:pt x="529663" y="726410"/>
                </a:cubicBezTo>
                <a:cubicBezTo>
                  <a:pt x="514943" y="725130"/>
                  <a:pt x="500383" y="721610"/>
                  <a:pt x="486783" y="716010"/>
                </a:cubicBezTo>
                <a:cubicBezTo>
                  <a:pt x="480543" y="713450"/>
                  <a:pt x="475103" y="709610"/>
                  <a:pt x="469343" y="706090"/>
                </a:cubicBezTo>
                <a:cubicBezTo>
                  <a:pt x="466143" y="704170"/>
                  <a:pt x="463103" y="702250"/>
                  <a:pt x="459903" y="700330"/>
                </a:cubicBezTo>
                <a:cubicBezTo>
                  <a:pt x="459583" y="700170"/>
                  <a:pt x="459263" y="700010"/>
                  <a:pt x="458943" y="699690"/>
                </a:cubicBezTo>
                <a:cubicBezTo>
                  <a:pt x="458623" y="699210"/>
                  <a:pt x="458143" y="698570"/>
                  <a:pt x="457823" y="698090"/>
                </a:cubicBezTo>
                <a:cubicBezTo>
                  <a:pt x="462463" y="700010"/>
                  <a:pt x="467263" y="701290"/>
                  <a:pt x="471903" y="702570"/>
                </a:cubicBezTo>
                <a:cubicBezTo>
                  <a:pt x="487743" y="706890"/>
                  <a:pt x="504383" y="706890"/>
                  <a:pt x="520703" y="707530"/>
                </a:cubicBezTo>
                <a:cubicBezTo>
                  <a:pt x="537343" y="708170"/>
                  <a:pt x="554943" y="706570"/>
                  <a:pt x="571103" y="702890"/>
                </a:cubicBezTo>
                <a:cubicBezTo>
                  <a:pt x="578783" y="701130"/>
                  <a:pt x="586143" y="698090"/>
                  <a:pt x="593503" y="695210"/>
                </a:cubicBezTo>
                <a:cubicBezTo>
                  <a:pt x="596383" y="694090"/>
                  <a:pt x="600063" y="692970"/>
                  <a:pt x="602303" y="690890"/>
                </a:cubicBezTo>
                <a:cubicBezTo>
                  <a:pt x="603903" y="689770"/>
                  <a:pt x="605183" y="687210"/>
                  <a:pt x="607103" y="685770"/>
                </a:cubicBezTo>
                <a:close/>
                <a:moveTo>
                  <a:pt x="589983" y="680490"/>
                </a:moveTo>
                <a:cubicBezTo>
                  <a:pt x="592543" y="681450"/>
                  <a:pt x="595263" y="682570"/>
                  <a:pt x="597823" y="683370"/>
                </a:cubicBezTo>
                <a:cubicBezTo>
                  <a:pt x="598463" y="683530"/>
                  <a:pt x="599103" y="683690"/>
                  <a:pt x="600063" y="683850"/>
                </a:cubicBezTo>
                <a:cubicBezTo>
                  <a:pt x="598623" y="685450"/>
                  <a:pt x="597343" y="686890"/>
                  <a:pt x="595103" y="688010"/>
                </a:cubicBezTo>
                <a:cubicBezTo>
                  <a:pt x="588863" y="690890"/>
                  <a:pt x="581983" y="693450"/>
                  <a:pt x="575423" y="695530"/>
                </a:cubicBezTo>
                <a:cubicBezTo>
                  <a:pt x="560543" y="700170"/>
                  <a:pt x="544863" y="700970"/>
                  <a:pt x="529503" y="701930"/>
                </a:cubicBezTo>
                <a:cubicBezTo>
                  <a:pt x="514943" y="702730"/>
                  <a:pt x="500223" y="701930"/>
                  <a:pt x="485663" y="700170"/>
                </a:cubicBezTo>
                <a:cubicBezTo>
                  <a:pt x="478463" y="699210"/>
                  <a:pt x="471583" y="697930"/>
                  <a:pt x="464543" y="696010"/>
                </a:cubicBezTo>
                <a:cubicBezTo>
                  <a:pt x="460863" y="694890"/>
                  <a:pt x="457183" y="693930"/>
                  <a:pt x="453823" y="692490"/>
                </a:cubicBezTo>
                <a:cubicBezTo>
                  <a:pt x="452063" y="689450"/>
                  <a:pt x="450303" y="686410"/>
                  <a:pt x="448543" y="683370"/>
                </a:cubicBezTo>
                <a:cubicBezTo>
                  <a:pt x="453503" y="684490"/>
                  <a:pt x="458623" y="684650"/>
                  <a:pt x="463583" y="685130"/>
                </a:cubicBezTo>
                <a:cubicBezTo>
                  <a:pt x="477983" y="686090"/>
                  <a:pt x="491903" y="686410"/>
                  <a:pt x="506303" y="685930"/>
                </a:cubicBezTo>
                <a:cubicBezTo>
                  <a:pt x="521183" y="685450"/>
                  <a:pt x="535743" y="684810"/>
                  <a:pt x="550623" y="683370"/>
                </a:cubicBezTo>
                <a:cubicBezTo>
                  <a:pt x="558303" y="682570"/>
                  <a:pt x="566143" y="682250"/>
                  <a:pt x="573823" y="681930"/>
                </a:cubicBezTo>
                <a:cubicBezTo>
                  <a:pt x="578783" y="681450"/>
                  <a:pt x="584703" y="681930"/>
                  <a:pt x="589983" y="680490"/>
                </a:cubicBezTo>
                <a:close/>
                <a:moveTo>
                  <a:pt x="562463" y="669290"/>
                </a:moveTo>
                <a:cubicBezTo>
                  <a:pt x="564543" y="670090"/>
                  <a:pt x="566783" y="670730"/>
                  <a:pt x="568863" y="671370"/>
                </a:cubicBezTo>
                <a:cubicBezTo>
                  <a:pt x="569023" y="671370"/>
                  <a:pt x="569183" y="671530"/>
                  <a:pt x="569503" y="671530"/>
                </a:cubicBezTo>
                <a:cubicBezTo>
                  <a:pt x="571743" y="672970"/>
                  <a:pt x="574143" y="674090"/>
                  <a:pt x="576543" y="675210"/>
                </a:cubicBezTo>
                <a:cubicBezTo>
                  <a:pt x="570143" y="675530"/>
                  <a:pt x="563583" y="675850"/>
                  <a:pt x="557183" y="676330"/>
                </a:cubicBezTo>
                <a:cubicBezTo>
                  <a:pt x="544063" y="677290"/>
                  <a:pt x="530943" y="679210"/>
                  <a:pt x="517823" y="679690"/>
                </a:cubicBezTo>
                <a:cubicBezTo>
                  <a:pt x="504863" y="680170"/>
                  <a:pt x="491903" y="681290"/>
                  <a:pt x="478943" y="680650"/>
                </a:cubicBezTo>
                <a:cubicBezTo>
                  <a:pt x="472223" y="680330"/>
                  <a:pt x="465503" y="680170"/>
                  <a:pt x="458783" y="679850"/>
                </a:cubicBezTo>
                <a:cubicBezTo>
                  <a:pt x="456383" y="679690"/>
                  <a:pt x="450623" y="679690"/>
                  <a:pt x="445983" y="678890"/>
                </a:cubicBezTo>
                <a:cubicBezTo>
                  <a:pt x="444543" y="676330"/>
                  <a:pt x="443263" y="673930"/>
                  <a:pt x="441823" y="671530"/>
                </a:cubicBezTo>
                <a:cubicBezTo>
                  <a:pt x="437663" y="664330"/>
                  <a:pt x="434463" y="656970"/>
                  <a:pt x="432383" y="649290"/>
                </a:cubicBezTo>
                <a:cubicBezTo>
                  <a:pt x="432863" y="649610"/>
                  <a:pt x="433343" y="650090"/>
                  <a:pt x="433823" y="650410"/>
                </a:cubicBezTo>
                <a:cubicBezTo>
                  <a:pt x="446463" y="660170"/>
                  <a:pt x="461023" y="664970"/>
                  <a:pt x="476863" y="666890"/>
                </a:cubicBezTo>
                <a:cubicBezTo>
                  <a:pt x="492543" y="668810"/>
                  <a:pt x="508223" y="666570"/>
                  <a:pt x="523903" y="666890"/>
                </a:cubicBezTo>
                <a:cubicBezTo>
                  <a:pt x="532223" y="667050"/>
                  <a:pt x="541183" y="667530"/>
                  <a:pt x="549343" y="668810"/>
                </a:cubicBezTo>
                <a:cubicBezTo>
                  <a:pt x="553663" y="669450"/>
                  <a:pt x="557983" y="669450"/>
                  <a:pt x="562463" y="669290"/>
                </a:cubicBezTo>
                <a:close/>
                <a:moveTo>
                  <a:pt x="552703" y="657130"/>
                </a:moveTo>
                <a:cubicBezTo>
                  <a:pt x="554463" y="659210"/>
                  <a:pt x="556543" y="661450"/>
                  <a:pt x="558623" y="663530"/>
                </a:cubicBezTo>
                <a:cubicBezTo>
                  <a:pt x="558463" y="663530"/>
                  <a:pt x="558463" y="663530"/>
                  <a:pt x="558303" y="663530"/>
                </a:cubicBezTo>
                <a:cubicBezTo>
                  <a:pt x="555743" y="663210"/>
                  <a:pt x="553183" y="663690"/>
                  <a:pt x="550623" y="663210"/>
                </a:cubicBezTo>
                <a:cubicBezTo>
                  <a:pt x="547423" y="662730"/>
                  <a:pt x="544383" y="662090"/>
                  <a:pt x="541183" y="662250"/>
                </a:cubicBezTo>
                <a:cubicBezTo>
                  <a:pt x="534623" y="662410"/>
                  <a:pt x="528063" y="661450"/>
                  <a:pt x="521503" y="661290"/>
                </a:cubicBezTo>
                <a:cubicBezTo>
                  <a:pt x="514943" y="661290"/>
                  <a:pt x="508223" y="661770"/>
                  <a:pt x="501663" y="662090"/>
                </a:cubicBezTo>
                <a:cubicBezTo>
                  <a:pt x="488063" y="662730"/>
                  <a:pt x="474303" y="662090"/>
                  <a:pt x="461023" y="658730"/>
                </a:cubicBezTo>
                <a:cubicBezTo>
                  <a:pt x="454303" y="656970"/>
                  <a:pt x="447903" y="654410"/>
                  <a:pt x="441983" y="650890"/>
                </a:cubicBezTo>
                <a:cubicBezTo>
                  <a:pt x="438783" y="648970"/>
                  <a:pt x="435743" y="646890"/>
                  <a:pt x="432703" y="644810"/>
                </a:cubicBezTo>
                <a:cubicBezTo>
                  <a:pt x="432703" y="644810"/>
                  <a:pt x="431903" y="644170"/>
                  <a:pt x="430943" y="643530"/>
                </a:cubicBezTo>
                <a:cubicBezTo>
                  <a:pt x="430463" y="641290"/>
                  <a:pt x="430143" y="638890"/>
                  <a:pt x="429823" y="636490"/>
                </a:cubicBezTo>
                <a:cubicBezTo>
                  <a:pt x="434463" y="638250"/>
                  <a:pt x="440863" y="638090"/>
                  <a:pt x="444703" y="637930"/>
                </a:cubicBezTo>
                <a:cubicBezTo>
                  <a:pt x="450783" y="637450"/>
                  <a:pt x="456543" y="635050"/>
                  <a:pt x="462623" y="634890"/>
                </a:cubicBezTo>
                <a:cubicBezTo>
                  <a:pt x="469503" y="634570"/>
                  <a:pt x="476383" y="634250"/>
                  <a:pt x="483423" y="633930"/>
                </a:cubicBezTo>
                <a:cubicBezTo>
                  <a:pt x="490623" y="633610"/>
                  <a:pt x="497503" y="634730"/>
                  <a:pt x="504543" y="635850"/>
                </a:cubicBezTo>
                <a:cubicBezTo>
                  <a:pt x="511103" y="636810"/>
                  <a:pt x="518943" y="638090"/>
                  <a:pt x="525023" y="641130"/>
                </a:cubicBezTo>
                <a:cubicBezTo>
                  <a:pt x="526463" y="641770"/>
                  <a:pt x="528383" y="642090"/>
                  <a:pt x="529983" y="642250"/>
                </a:cubicBezTo>
                <a:cubicBezTo>
                  <a:pt x="533023" y="642730"/>
                  <a:pt x="536063" y="644810"/>
                  <a:pt x="538783" y="645770"/>
                </a:cubicBezTo>
                <a:cubicBezTo>
                  <a:pt x="540223" y="646250"/>
                  <a:pt x="541663" y="646890"/>
                  <a:pt x="542943" y="647530"/>
                </a:cubicBezTo>
                <a:cubicBezTo>
                  <a:pt x="543423" y="648010"/>
                  <a:pt x="543743" y="648490"/>
                  <a:pt x="544223" y="648970"/>
                </a:cubicBezTo>
                <a:cubicBezTo>
                  <a:pt x="546783" y="651530"/>
                  <a:pt x="549983" y="653930"/>
                  <a:pt x="552703" y="657130"/>
                </a:cubicBezTo>
                <a:close/>
                <a:moveTo>
                  <a:pt x="607743" y="644170"/>
                </a:moveTo>
                <a:cubicBezTo>
                  <a:pt x="599103" y="643850"/>
                  <a:pt x="591103" y="641450"/>
                  <a:pt x="582623" y="640330"/>
                </a:cubicBezTo>
                <a:cubicBezTo>
                  <a:pt x="574143" y="639210"/>
                  <a:pt x="566783" y="636650"/>
                  <a:pt x="558623" y="634250"/>
                </a:cubicBezTo>
                <a:cubicBezTo>
                  <a:pt x="553503" y="632650"/>
                  <a:pt x="547903" y="631210"/>
                  <a:pt x="542943" y="628970"/>
                </a:cubicBezTo>
                <a:cubicBezTo>
                  <a:pt x="552223" y="630890"/>
                  <a:pt x="561983" y="631690"/>
                  <a:pt x="571583" y="631530"/>
                </a:cubicBezTo>
                <a:cubicBezTo>
                  <a:pt x="588223" y="631530"/>
                  <a:pt x="604543" y="630730"/>
                  <a:pt x="621183" y="628810"/>
                </a:cubicBezTo>
                <a:cubicBezTo>
                  <a:pt x="653823" y="624810"/>
                  <a:pt x="686943" y="625610"/>
                  <a:pt x="719263" y="619370"/>
                </a:cubicBezTo>
                <a:cubicBezTo>
                  <a:pt x="751423" y="613130"/>
                  <a:pt x="781983" y="600810"/>
                  <a:pt x="810143" y="584490"/>
                </a:cubicBezTo>
                <a:cubicBezTo>
                  <a:pt x="816863" y="580650"/>
                  <a:pt x="823423" y="576330"/>
                  <a:pt x="829503" y="571530"/>
                </a:cubicBezTo>
                <a:cubicBezTo>
                  <a:pt x="832063" y="569450"/>
                  <a:pt x="835263" y="568010"/>
                  <a:pt x="837983" y="566090"/>
                </a:cubicBezTo>
                <a:cubicBezTo>
                  <a:pt x="838463" y="565770"/>
                  <a:pt x="838783" y="565450"/>
                  <a:pt x="839263" y="565130"/>
                </a:cubicBezTo>
                <a:cubicBezTo>
                  <a:pt x="831103" y="576650"/>
                  <a:pt x="823423" y="588010"/>
                  <a:pt x="811903" y="596810"/>
                </a:cubicBezTo>
                <a:cubicBezTo>
                  <a:pt x="805343" y="601770"/>
                  <a:pt x="798303" y="605610"/>
                  <a:pt x="790623" y="608810"/>
                </a:cubicBezTo>
                <a:cubicBezTo>
                  <a:pt x="782623" y="612170"/>
                  <a:pt x="775263" y="617450"/>
                  <a:pt x="767583" y="621450"/>
                </a:cubicBezTo>
                <a:cubicBezTo>
                  <a:pt x="751743" y="629610"/>
                  <a:pt x="733823" y="631210"/>
                  <a:pt x="717183" y="636970"/>
                </a:cubicBezTo>
                <a:cubicBezTo>
                  <a:pt x="709023" y="639690"/>
                  <a:pt x="699903" y="641130"/>
                  <a:pt x="691423" y="642730"/>
                </a:cubicBezTo>
                <a:cubicBezTo>
                  <a:pt x="681503" y="644490"/>
                  <a:pt x="671583" y="645610"/>
                  <a:pt x="661503" y="646090"/>
                </a:cubicBezTo>
                <a:cubicBezTo>
                  <a:pt x="643423" y="647050"/>
                  <a:pt x="625663" y="644810"/>
                  <a:pt x="607743" y="644170"/>
                </a:cubicBezTo>
                <a:close/>
                <a:moveTo>
                  <a:pt x="783743" y="642250"/>
                </a:moveTo>
                <a:cubicBezTo>
                  <a:pt x="774943" y="641930"/>
                  <a:pt x="766143" y="641290"/>
                  <a:pt x="757343" y="640970"/>
                </a:cubicBezTo>
                <a:cubicBezTo>
                  <a:pt x="752863" y="640810"/>
                  <a:pt x="748383" y="640330"/>
                  <a:pt x="743903" y="640330"/>
                </a:cubicBezTo>
                <a:cubicBezTo>
                  <a:pt x="743743" y="640330"/>
                  <a:pt x="743583" y="640330"/>
                  <a:pt x="743423" y="640330"/>
                </a:cubicBezTo>
                <a:cubicBezTo>
                  <a:pt x="750303" y="638410"/>
                  <a:pt x="757023" y="636330"/>
                  <a:pt x="763743" y="633610"/>
                </a:cubicBezTo>
                <a:cubicBezTo>
                  <a:pt x="767583" y="633770"/>
                  <a:pt x="771423" y="633770"/>
                  <a:pt x="775103" y="634250"/>
                </a:cubicBezTo>
                <a:cubicBezTo>
                  <a:pt x="782143" y="635050"/>
                  <a:pt x="788863" y="637290"/>
                  <a:pt x="795583" y="639370"/>
                </a:cubicBezTo>
                <a:cubicBezTo>
                  <a:pt x="799263" y="640490"/>
                  <a:pt x="802783" y="641930"/>
                  <a:pt x="806463" y="643370"/>
                </a:cubicBezTo>
                <a:cubicBezTo>
                  <a:pt x="798783" y="642890"/>
                  <a:pt x="791263" y="642410"/>
                  <a:pt x="783743" y="642250"/>
                </a:cubicBezTo>
                <a:close/>
                <a:moveTo>
                  <a:pt x="825823" y="649930"/>
                </a:moveTo>
                <a:cubicBezTo>
                  <a:pt x="829823" y="651050"/>
                  <a:pt x="833823" y="652170"/>
                  <a:pt x="837823" y="653290"/>
                </a:cubicBezTo>
                <a:cubicBezTo>
                  <a:pt x="844543" y="655210"/>
                  <a:pt x="851423" y="656650"/>
                  <a:pt x="858303" y="657450"/>
                </a:cubicBezTo>
                <a:cubicBezTo>
                  <a:pt x="851583" y="658730"/>
                  <a:pt x="844703" y="660170"/>
                  <a:pt x="837983" y="661130"/>
                </a:cubicBezTo>
                <a:cubicBezTo>
                  <a:pt x="820543" y="663370"/>
                  <a:pt x="803263" y="664330"/>
                  <a:pt x="785663" y="665290"/>
                </a:cubicBezTo>
                <a:cubicBezTo>
                  <a:pt x="766943" y="666250"/>
                  <a:pt x="747743" y="666890"/>
                  <a:pt x="729183" y="663530"/>
                </a:cubicBezTo>
                <a:cubicBezTo>
                  <a:pt x="720383" y="661930"/>
                  <a:pt x="711583" y="659690"/>
                  <a:pt x="702943" y="657290"/>
                </a:cubicBezTo>
                <a:cubicBezTo>
                  <a:pt x="698623" y="656010"/>
                  <a:pt x="694623" y="654570"/>
                  <a:pt x="690783" y="652650"/>
                </a:cubicBezTo>
                <a:cubicBezTo>
                  <a:pt x="690463" y="652490"/>
                  <a:pt x="690143" y="652330"/>
                  <a:pt x="689663" y="652170"/>
                </a:cubicBezTo>
                <a:cubicBezTo>
                  <a:pt x="702143" y="649930"/>
                  <a:pt x="714303" y="646730"/>
                  <a:pt x="726783" y="644330"/>
                </a:cubicBezTo>
                <a:cubicBezTo>
                  <a:pt x="729343" y="643850"/>
                  <a:pt x="731903" y="643210"/>
                  <a:pt x="734463" y="642730"/>
                </a:cubicBezTo>
                <a:cubicBezTo>
                  <a:pt x="737343" y="644010"/>
                  <a:pt x="741183" y="644170"/>
                  <a:pt x="743583" y="644490"/>
                </a:cubicBezTo>
                <a:cubicBezTo>
                  <a:pt x="753823" y="645610"/>
                  <a:pt x="764063" y="645930"/>
                  <a:pt x="774303" y="647050"/>
                </a:cubicBezTo>
                <a:cubicBezTo>
                  <a:pt x="791263" y="648810"/>
                  <a:pt x="808703" y="649290"/>
                  <a:pt x="825823" y="649930"/>
                </a:cubicBezTo>
                <a:close/>
                <a:moveTo>
                  <a:pt x="867903" y="662250"/>
                </a:moveTo>
                <a:cubicBezTo>
                  <a:pt x="851423" y="670410"/>
                  <a:pt x="833983" y="676650"/>
                  <a:pt x="815743" y="679050"/>
                </a:cubicBezTo>
                <a:cubicBezTo>
                  <a:pt x="808543" y="680010"/>
                  <a:pt x="801823" y="682250"/>
                  <a:pt x="794623" y="682730"/>
                </a:cubicBezTo>
                <a:cubicBezTo>
                  <a:pt x="786783" y="683210"/>
                  <a:pt x="778783" y="683690"/>
                  <a:pt x="770943" y="684170"/>
                </a:cubicBezTo>
                <a:cubicBezTo>
                  <a:pt x="767583" y="684330"/>
                  <a:pt x="764063" y="683690"/>
                  <a:pt x="760703" y="683690"/>
                </a:cubicBezTo>
                <a:cubicBezTo>
                  <a:pt x="756383" y="683530"/>
                  <a:pt x="751903" y="684170"/>
                  <a:pt x="747583" y="684490"/>
                </a:cubicBezTo>
                <a:cubicBezTo>
                  <a:pt x="743263" y="684810"/>
                  <a:pt x="738943" y="683210"/>
                  <a:pt x="734623" y="683210"/>
                </a:cubicBezTo>
                <a:cubicBezTo>
                  <a:pt x="729983" y="683050"/>
                  <a:pt x="725663" y="681770"/>
                  <a:pt x="721183" y="680650"/>
                </a:cubicBezTo>
                <a:cubicBezTo>
                  <a:pt x="703903" y="676490"/>
                  <a:pt x="688223" y="669770"/>
                  <a:pt x="672383" y="661770"/>
                </a:cubicBezTo>
                <a:cubicBezTo>
                  <a:pt x="668223" y="659690"/>
                  <a:pt x="664223" y="657450"/>
                  <a:pt x="660063" y="655370"/>
                </a:cubicBezTo>
                <a:cubicBezTo>
                  <a:pt x="665183" y="655210"/>
                  <a:pt x="670463" y="654730"/>
                  <a:pt x="675583" y="654250"/>
                </a:cubicBezTo>
                <a:cubicBezTo>
                  <a:pt x="678463" y="653930"/>
                  <a:pt x="681343" y="653610"/>
                  <a:pt x="684223" y="653130"/>
                </a:cubicBezTo>
                <a:cubicBezTo>
                  <a:pt x="686783" y="655210"/>
                  <a:pt x="690143" y="656810"/>
                  <a:pt x="692383" y="657930"/>
                </a:cubicBezTo>
                <a:cubicBezTo>
                  <a:pt x="699903" y="662090"/>
                  <a:pt x="708863" y="664010"/>
                  <a:pt x="717183" y="666250"/>
                </a:cubicBezTo>
                <a:cubicBezTo>
                  <a:pt x="736383" y="671370"/>
                  <a:pt x="754943" y="671370"/>
                  <a:pt x="774783" y="671370"/>
                </a:cubicBezTo>
                <a:cubicBezTo>
                  <a:pt x="806943" y="671370"/>
                  <a:pt x="839103" y="668970"/>
                  <a:pt x="870303" y="661290"/>
                </a:cubicBezTo>
                <a:cubicBezTo>
                  <a:pt x="869503" y="661450"/>
                  <a:pt x="868703" y="661930"/>
                  <a:pt x="867903" y="662250"/>
                </a:cubicBezTo>
                <a:close/>
                <a:moveTo>
                  <a:pt x="973023" y="612650"/>
                </a:moveTo>
                <a:cubicBezTo>
                  <a:pt x="970623" y="615370"/>
                  <a:pt x="968863" y="618570"/>
                  <a:pt x="966623" y="621450"/>
                </a:cubicBezTo>
                <a:cubicBezTo>
                  <a:pt x="964383" y="624170"/>
                  <a:pt x="961503" y="626730"/>
                  <a:pt x="959103" y="629290"/>
                </a:cubicBezTo>
                <a:cubicBezTo>
                  <a:pt x="956543" y="632010"/>
                  <a:pt x="952863" y="633930"/>
                  <a:pt x="949823" y="636010"/>
                </a:cubicBezTo>
                <a:cubicBezTo>
                  <a:pt x="946303" y="638570"/>
                  <a:pt x="942943" y="640650"/>
                  <a:pt x="938943" y="642250"/>
                </a:cubicBezTo>
                <a:cubicBezTo>
                  <a:pt x="931423" y="645450"/>
                  <a:pt x="923263" y="646570"/>
                  <a:pt x="915263" y="647850"/>
                </a:cubicBezTo>
                <a:cubicBezTo>
                  <a:pt x="913823" y="648010"/>
                  <a:pt x="912383" y="648330"/>
                  <a:pt x="910783" y="648650"/>
                </a:cubicBezTo>
                <a:cubicBezTo>
                  <a:pt x="907903" y="648490"/>
                  <a:pt x="904863" y="648970"/>
                  <a:pt x="901823" y="648970"/>
                </a:cubicBezTo>
                <a:cubicBezTo>
                  <a:pt x="894943" y="648970"/>
                  <a:pt x="888223" y="649450"/>
                  <a:pt x="881343" y="649610"/>
                </a:cubicBezTo>
                <a:cubicBezTo>
                  <a:pt x="865503" y="650090"/>
                  <a:pt x="850303" y="647370"/>
                  <a:pt x="835103" y="643370"/>
                </a:cubicBezTo>
                <a:cubicBezTo>
                  <a:pt x="824543" y="640650"/>
                  <a:pt x="814303" y="636810"/>
                  <a:pt x="803743" y="633610"/>
                </a:cubicBezTo>
                <a:cubicBezTo>
                  <a:pt x="811263" y="633770"/>
                  <a:pt x="818783" y="633610"/>
                  <a:pt x="826463" y="633290"/>
                </a:cubicBezTo>
                <a:cubicBezTo>
                  <a:pt x="846463" y="632330"/>
                  <a:pt x="865823" y="628810"/>
                  <a:pt x="885663" y="626410"/>
                </a:cubicBezTo>
                <a:cubicBezTo>
                  <a:pt x="894943" y="625290"/>
                  <a:pt x="903423" y="622090"/>
                  <a:pt x="912383" y="620010"/>
                </a:cubicBezTo>
                <a:cubicBezTo>
                  <a:pt x="922783" y="617610"/>
                  <a:pt x="933343" y="616490"/>
                  <a:pt x="943743" y="614890"/>
                </a:cubicBezTo>
                <a:cubicBezTo>
                  <a:pt x="953183" y="613290"/>
                  <a:pt x="963103" y="611850"/>
                  <a:pt x="972703" y="611210"/>
                </a:cubicBezTo>
                <a:cubicBezTo>
                  <a:pt x="973023" y="611210"/>
                  <a:pt x="973503" y="611210"/>
                  <a:pt x="973823" y="611050"/>
                </a:cubicBezTo>
                <a:cubicBezTo>
                  <a:pt x="973823" y="611690"/>
                  <a:pt x="973343" y="612170"/>
                  <a:pt x="973023" y="612650"/>
                </a:cubicBezTo>
                <a:close/>
                <a:moveTo>
                  <a:pt x="980703" y="603370"/>
                </a:moveTo>
                <a:cubicBezTo>
                  <a:pt x="980063" y="603370"/>
                  <a:pt x="979423" y="603530"/>
                  <a:pt x="978783" y="603690"/>
                </a:cubicBezTo>
                <a:cubicBezTo>
                  <a:pt x="969983" y="604970"/>
                  <a:pt x="960703" y="606410"/>
                  <a:pt x="951903" y="606890"/>
                </a:cubicBezTo>
                <a:cubicBezTo>
                  <a:pt x="942943" y="607530"/>
                  <a:pt x="933823" y="609610"/>
                  <a:pt x="924863" y="611050"/>
                </a:cubicBezTo>
                <a:cubicBezTo>
                  <a:pt x="914783" y="612650"/>
                  <a:pt x="905183" y="615210"/>
                  <a:pt x="895423" y="618250"/>
                </a:cubicBezTo>
                <a:cubicBezTo>
                  <a:pt x="885983" y="621130"/>
                  <a:pt x="875423" y="621130"/>
                  <a:pt x="865663" y="623050"/>
                </a:cubicBezTo>
                <a:cubicBezTo>
                  <a:pt x="855903" y="624810"/>
                  <a:pt x="846143" y="626570"/>
                  <a:pt x="836063" y="627210"/>
                </a:cubicBezTo>
                <a:cubicBezTo>
                  <a:pt x="825823" y="627850"/>
                  <a:pt x="815743" y="628490"/>
                  <a:pt x="805503" y="628650"/>
                </a:cubicBezTo>
                <a:cubicBezTo>
                  <a:pt x="796543" y="628810"/>
                  <a:pt x="786783" y="628970"/>
                  <a:pt x="777823" y="627050"/>
                </a:cubicBezTo>
                <a:cubicBezTo>
                  <a:pt x="784863" y="623210"/>
                  <a:pt x="791743" y="619210"/>
                  <a:pt x="799103" y="616010"/>
                </a:cubicBezTo>
                <a:cubicBezTo>
                  <a:pt x="805183" y="613290"/>
                  <a:pt x="810943" y="609930"/>
                  <a:pt x="816383" y="605930"/>
                </a:cubicBezTo>
                <a:cubicBezTo>
                  <a:pt x="819423" y="606890"/>
                  <a:pt x="823263" y="605930"/>
                  <a:pt x="826143" y="605450"/>
                </a:cubicBezTo>
                <a:cubicBezTo>
                  <a:pt x="833663" y="604490"/>
                  <a:pt x="841183" y="604010"/>
                  <a:pt x="848543" y="602890"/>
                </a:cubicBezTo>
                <a:cubicBezTo>
                  <a:pt x="865503" y="600490"/>
                  <a:pt x="882623" y="597770"/>
                  <a:pt x="899903" y="596170"/>
                </a:cubicBezTo>
                <a:cubicBezTo>
                  <a:pt x="916383" y="594570"/>
                  <a:pt x="933023" y="595370"/>
                  <a:pt x="949343" y="596170"/>
                </a:cubicBezTo>
                <a:cubicBezTo>
                  <a:pt x="957343" y="596490"/>
                  <a:pt x="966143" y="597610"/>
                  <a:pt x="973823" y="600490"/>
                </a:cubicBezTo>
                <a:cubicBezTo>
                  <a:pt x="976223" y="601290"/>
                  <a:pt x="978463" y="602410"/>
                  <a:pt x="980703" y="603370"/>
                </a:cubicBezTo>
                <a:close/>
                <a:moveTo>
                  <a:pt x="971743" y="591850"/>
                </a:moveTo>
                <a:cubicBezTo>
                  <a:pt x="972223" y="592490"/>
                  <a:pt x="972703" y="592970"/>
                  <a:pt x="973343" y="593450"/>
                </a:cubicBezTo>
                <a:cubicBezTo>
                  <a:pt x="953663" y="587530"/>
                  <a:pt x="930783" y="589290"/>
                  <a:pt x="911423" y="589610"/>
                </a:cubicBezTo>
                <a:cubicBezTo>
                  <a:pt x="894463" y="589930"/>
                  <a:pt x="877823" y="593450"/>
                  <a:pt x="861023" y="595370"/>
                </a:cubicBezTo>
                <a:cubicBezTo>
                  <a:pt x="853343" y="596330"/>
                  <a:pt x="845663" y="597930"/>
                  <a:pt x="837983" y="599050"/>
                </a:cubicBezTo>
                <a:cubicBezTo>
                  <a:pt x="834623" y="599530"/>
                  <a:pt x="831263" y="600490"/>
                  <a:pt x="827903" y="600810"/>
                </a:cubicBezTo>
                <a:cubicBezTo>
                  <a:pt x="826463" y="600970"/>
                  <a:pt x="823423" y="602090"/>
                  <a:pt x="820703" y="602410"/>
                </a:cubicBezTo>
                <a:cubicBezTo>
                  <a:pt x="827583" y="596970"/>
                  <a:pt x="833023" y="590570"/>
                  <a:pt x="838143" y="583690"/>
                </a:cubicBezTo>
                <a:cubicBezTo>
                  <a:pt x="840223" y="583050"/>
                  <a:pt x="842463" y="582570"/>
                  <a:pt x="844543" y="582250"/>
                </a:cubicBezTo>
                <a:cubicBezTo>
                  <a:pt x="851103" y="580810"/>
                  <a:pt x="857503" y="578090"/>
                  <a:pt x="864063" y="576330"/>
                </a:cubicBezTo>
                <a:cubicBezTo>
                  <a:pt x="877183" y="572970"/>
                  <a:pt x="889983" y="574730"/>
                  <a:pt x="903263" y="574250"/>
                </a:cubicBezTo>
                <a:cubicBezTo>
                  <a:pt x="916383" y="573770"/>
                  <a:pt x="931423" y="575690"/>
                  <a:pt x="944063" y="579370"/>
                </a:cubicBezTo>
                <a:cubicBezTo>
                  <a:pt x="949663" y="580970"/>
                  <a:pt x="955103" y="582730"/>
                  <a:pt x="960383" y="585130"/>
                </a:cubicBezTo>
                <a:cubicBezTo>
                  <a:pt x="964383" y="586890"/>
                  <a:pt x="967903" y="589290"/>
                  <a:pt x="971583" y="591530"/>
                </a:cubicBezTo>
                <a:cubicBezTo>
                  <a:pt x="971583" y="591690"/>
                  <a:pt x="971743" y="591690"/>
                  <a:pt x="971743" y="591850"/>
                </a:cubicBezTo>
                <a:close/>
                <a:moveTo>
                  <a:pt x="947743" y="565450"/>
                </a:moveTo>
                <a:cubicBezTo>
                  <a:pt x="952063" y="569770"/>
                  <a:pt x="956063" y="574090"/>
                  <a:pt x="960063" y="578570"/>
                </a:cubicBezTo>
                <a:cubicBezTo>
                  <a:pt x="956863" y="577290"/>
                  <a:pt x="953503" y="576170"/>
                  <a:pt x="950463" y="575210"/>
                </a:cubicBezTo>
                <a:cubicBezTo>
                  <a:pt x="936543" y="570890"/>
                  <a:pt x="922143" y="570090"/>
                  <a:pt x="907743" y="568970"/>
                </a:cubicBezTo>
                <a:cubicBezTo>
                  <a:pt x="894943" y="568010"/>
                  <a:pt x="881023" y="568010"/>
                  <a:pt x="868383" y="570570"/>
                </a:cubicBezTo>
                <a:cubicBezTo>
                  <a:pt x="861183" y="572010"/>
                  <a:pt x="854463" y="574410"/>
                  <a:pt x="847583" y="576810"/>
                </a:cubicBezTo>
                <a:cubicBezTo>
                  <a:pt x="845823" y="577450"/>
                  <a:pt x="843903" y="577930"/>
                  <a:pt x="842143" y="578570"/>
                </a:cubicBezTo>
                <a:cubicBezTo>
                  <a:pt x="845823" y="573290"/>
                  <a:pt x="849343" y="568010"/>
                  <a:pt x="853343" y="562730"/>
                </a:cubicBezTo>
                <a:cubicBezTo>
                  <a:pt x="857503" y="557290"/>
                  <a:pt x="861823" y="552010"/>
                  <a:pt x="866143" y="546570"/>
                </a:cubicBezTo>
                <a:cubicBezTo>
                  <a:pt x="872063" y="546730"/>
                  <a:pt x="878143" y="546250"/>
                  <a:pt x="884063" y="546570"/>
                </a:cubicBezTo>
                <a:cubicBezTo>
                  <a:pt x="893183" y="546890"/>
                  <a:pt x="902303" y="548490"/>
                  <a:pt x="911103" y="550570"/>
                </a:cubicBezTo>
                <a:cubicBezTo>
                  <a:pt x="919743" y="552650"/>
                  <a:pt x="928543" y="555210"/>
                  <a:pt x="936703" y="558730"/>
                </a:cubicBezTo>
                <a:cubicBezTo>
                  <a:pt x="940703" y="560330"/>
                  <a:pt x="944223" y="562890"/>
                  <a:pt x="947743" y="565450"/>
                </a:cubicBezTo>
                <a:close/>
                <a:moveTo>
                  <a:pt x="899743" y="523690"/>
                </a:moveTo>
                <a:cubicBezTo>
                  <a:pt x="903103" y="524970"/>
                  <a:pt x="905823" y="527850"/>
                  <a:pt x="908543" y="530090"/>
                </a:cubicBezTo>
                <a:cubicBezTo>
                  <a:pt x="917503" y="536970"/>
                  <a:pt x="925663" y="544810"/>
                  <a:pt x="933823" y="552490"/>
                </a:cubicBezTo>
                <a:cubicBezTo>
                  <a:pt x="927263" y="549930"/>
                  <a:pt x="920543" y="548170"/>
                  <a:pt x="913823" y="546410"/>
                </a:cubicBezTo>
                <a:cubicBezTo>
                  <a:pt x="899583" y="542890"/>
                  <a:pt x="883583" y="540970"/>
                  <a:pt x="868543" y="542730"/>
                </a:cubicBezTo>
                <a:cubicBezTo>
                  <a:pt x="868703" y="542570"/>
                  <a:pt x="868863" y="542410"/>
                  <a:pt x="869023" y="542090"/>
                </a:cubicBezTo>
                <a:cubicBezTo>
                  <a:pt x="873823" y="535530"/>
                  <a:pt x="879263" y="529450"/>
                  <a:pt x="884863" y="523530"/>
                </a:cubicBezTo>
                <a:cubicBezTo>
                  <a:pt x="886463" y="521930"/>
                  <a:pt x="887903" y="520170"/>
                  <a:pt x="889343" y="518570"/>
                </a:cubicBezTo>
                <a:cubicBezTo>
                  <a:pt x="890463" y="519050"/>
                  <a:pt x="891743" y="519690"/>
                  <a:pt x="892863" y="520490"/>
                </a:cubicBezTo>
                <a:cubicBezTo>
                  <a:pt x="894783" y="522250"/>
                  <a:pt x="897343" y="522890"/>
                  <a:pt x="899743" y="523690"/>
                </a:cubicBezTo>
                <a:close/>
                <a:moveTo>
                  <a:pt x="897823" y="491210"/>
                </a:moveTo>
                <a:cubicBezTo>
                  <a:pt x="896223" y="493930"/>
                  <a:pt x="894783" y="496650"/>
                  <a:pt x="892703" y="499210"/>
                </a:cubicBezTo>
                <a:cubicBezTo>
                  <a:pt x="887583" y="505130"/>
                  <a:pt x="883423" y="511690"/>
                  <a:pt x="877823" y="517130"/>
                </a:cubicBezTo>
                <a:cubicBezTo>
                  <a:pt x="872543" y="522250"/>
                  <a:pt x="867743" y="528170"/>
                  <a:pt x="863263" y="533930"/>
                </a:cubicBezTo>
                <a:cubicBezTo>
                  <a:pt x="862623" y="534730"/>
                  <a:pt x="861983" y="535530"/>
                  <a:pt x="861503" y="536330"/>
                </a:cubicBezTo>
                <a:cubicBezTo>
                  <a:pt x="860863" y="536970"/>
                  <a:pt x="860063" y="537610"/>
                  <a:pt x="859263" y="538090"/>
                </a:cubicBezTo>
                <a:cubicBezTo>
                  <a:pt x="853503" y="542250"/>
                  <a:pt x="848383" y="546090"/>
                  <a:pt x="843263" y="551050"/>
                </a:cubicBezTo>
                <a:cubicBezTo>
                  <a:pt x="833343" y="560650"/>
                  <a:pt x="821343" y="568650"/>
                  <a:pt x="809503" y="575850"/>
                </a:cubicBezTo>
                <a:cubicBezTo>
                  <a:pt x="796063" y="584010"/>
                  <a:pt x="781503" y="591850"/>
                  <a:pt x="766623" y="597450"/>
                </a:cubicBezTo>
                <a:cubicBezTo>
                  <a:pt x="751903" y="603050"/>
                  <a:pt x="736383" y="607370"/>
                  <a:pt x="721023" y="611210"/>
                </a:cubicBezTo>
                <a:cubicBezTo>
                  <a:pt x="704543" y="615370"/>
                  <a:pt x="687903" y="615210"/>
                  <a:pt x="671263" y="617290"/>
                </a:cubicBezTo>
                <a:cubicBezTo>
                  <a:pt x="655903" y="619050"/>
                  <a:pt x="640543" y="619690"/>
                  <a:pt x="625183" y="621450"/>
                </a:cubicBezTo>
                <a:cubicBezTo>
                  <a:pt x="595583" y="624810"/>
                  <a:pt x="565183" y="628010"/>
                  <a:pt x="535583" y="623210"/>
                </a:cubicBezTo>
                <a:cubicBezTo>
                  <a:pt x="535583" y="623050"/>
                  <a:pt x="535423" y="623050"/>
                  <a:pt x="535263" y="622890"/>
                </a:cubicBezTo>
                <a:cubicBezTo>
                  <a:pt x="537983" y="622730"/>
                  <a:pt x="540703" y="622570"/>
                  <a:pt x="543423" y="622410"/>
                </a:cubicBezTo>
                <a:cubicBezTo>
                  <a:pt x="549183" y="622090"/>
                  <a:pt x="555103" y="622570"/>
                  <a:pt x="560863" y="622890"/>
                </a:cubicBezTo>
                <a:cubicBezTo>
                  <a:pt x="561183" y="622890"/>
                  <a:pt x="561503" y="622730"/>
                  <a:pt x="561663" y="622410"/>
                </a:cubicBezTo>
                <a:cubicBezTo>
                  <a:pt x="567903" y="622410"/>
                  <a:pt x="574143" y="622090"/>
                  <a:pt x="580383" y="621770"/>
                </a:cubicBezTo>
                <a:cubicBezTo>
                  <a:pt x="588703" y="621290"/>
                  <a:pt x="596703" y="618250"/>
                  <a:pt x="605023" y="616810"/>
                </a:cubicBezTo>
                <a:cubicBezTo>
                  <a:pt x="613343" y="615370"/>
                  <a:pt x="621503" y="613770"/>
                  <a:pt x="629823" y="612010"/>
                </a:cubicBezTo>
                <a:cubicBezTo>
                  <a:pt x="647743" y="608010"/>
                  <a:pt x="665983" y="606890"/>
                  <a:pt x="683903" y="603850"/>
                </a:cubicBezTo>
                <a:cubicBezTo>
                  <a:pt x="700383" y="601130"/>
                  <a:pt x="715583" y="595210"/>
                  <a:pt x="730463" y="587370"/>
                </a:cubicBezTo>
                <a:cubicBezTo>
                  <a:pt x="745343" y="579530"/>
                  <a:pt x="761343" y="573930"/>
                  <a:pt x="776063" y="565450"/>
                </a:cubicBezTo>
                <a:cubicBezTo>
                  <a:pt x="790303" y="557290"/>
                  <a:pt x="804223" y="548010"/>
                  <a:pt x="817503" y="538570"/>
                </a:cubicBezTo>
                <a:cubicBezTo>
                  <a:pt x="824543" y="533610"/>
                  <a:pt x="831263" y="527530"/>
                  <a:pt x="838143" y="522090"/>
                </a:cubicBezTo>
                <a:cubicBezTo>
                  <a:pt x="844383" y="517130"/>
                  <a:pt x="850783" y="512650"/>
                  <a:pt x="857343" y="508170"/>
                </a:cubicBezTo>
                <a:cubicBezTo>
                  <a:pt x="864223" y="503370"/>
                  <a:pt x="870463" y="498730"/>
                  <a:pt x="878463" y="495530"/>
                </a:cubicBezTo>
                <a:cubicBezTo>
                  <a:pt x="884543" y="493130"/>
                  <a:pt x="891103" y="492010"/>
                  <a:pt x="897823" y="491210"/>
                </a:cubicBezTo>
                <a:close/>
                <a:moveTo>
                  <a:pt x="925343" y="431850"/>
                </a:moveTo>
                <a:cubicBezTo>
                  <a:pt x="921503" y="436810"/>
                  <a:pt x="916383" y="440490"/>
                  <a:pt x="911743" y="444650"/>
                </a:cubicBezTo>
                <a:cubicBezTo>
                  <a:pt x="907263" y="448810"/>
                  <a:pt x="904063" y="454090"/>
                  <a:pt x="899263" y="457770"/>
                </a:cubicBezTo>
                <a:cubicBezTo>
                  <a:pt x="889343" y="465450"/>
                  <a:pt x="876703" y="466090"/>
                  <a:pt x="865343" y="469930"/>
                </a:cubicBezTo>
                <a:cubicBezTo>
                  <a:pt x="865183" y="469930"/>
                  <a:pt x="865023" y="470090"/>
                  <a:pt x="864863" y="470090"/>
                </a:cubicBezTo>
                <a:cubicBezTo>
                  <a:pt x="862143" y="468650"/>
                  <a:pt x="859423" y="467210"/>
                  <a:pt x="856863" y="465930"/>
                </a:cubicBezTo>
                <a:cubicBezTo>
                  <a:pt x="866783" y="463050"/>
                  <a:pt x="875903" y="458570"/>
                  <a:pt x="884383" y="452650"/>
                </a:cubicBezTo>
                <a:cubicBezTo>
                  <a:pt x="892703" y="446890"/>
                  <a:pt x="902623" y="443530"/>
                  <a:pt x="910623" y="437450"/>
                </a:cubicBezTo>
                <a:cubicBezTo>
                  <a:pt x="914143" y="434730"/>
                  <a:pt x="917823" y="432810"/>
                  <a:pt x="921343" y="430090"/>
                </a:cubicBezTo>
                <a:cubicBezTo>
                  <a:pt x="923103" y="428650"/>
                  <a:pt x="924863" y="427530"/>
                  <a:pt x="926783" y="426250"/>
                </a:cubicBezTo>
                <a:cubicBezTo>
                  <a:pt x="927903" y="425930"/>
                  <a:pt x="929023" y="425610"/>
                  <a:pt x="930143" y="425290"/>
                </a:cubicBezTo>
                <a:cubicBezTo>
                  <a:pt x="928543" y="427530"/>
                  <a:pt x="927103" y="429770"/>
                  <a:pt x="925343" y="431850"/>
                </a:cubicBezTo>
                <a:close/>
                <a:moveTo>
                  <a:pt x="914303" y="394890"/>
                </a:moveTo>
                <a:cubicBezTo>
                  <a:pt x="918943" y="396970"/>
                  <a:pt x="923423" y="399210"/>
                  <a:pt x="927903" y="401610"/>
                </a:cubicBezTo>
                <a:cubicBezTo>
                  <a:pt x="930463" y="402890"/>
                  <a:pt x="933023" y="404170"/>
                  <a:pt x="935583" y="405290"/>
                </a:cubicBezTo>
                <a:cubicBezTo>
                  <a:pt x="937343" y="406090"/>
                  <a:pt x="939743" y="406570"/>
                  <a:pt x="941663" y="407370"/>
                </a:cubicBezTo>
                <a:cubicBezTo>
                  <a:pt x="941343" y="408010"/>
                  <a:pt x="941023" y="408650"/>
                  <a:pt x="940703" y="409450"/>
                </a:cubicBezTo>
                <a:cubicBezTo>
                  <a:pt x="940543" y="409770"/>
                  <a:pt x="940543" y="410090"/>
                  <a:pt x="940383" y="410410"/>
                </a:cubicBezTo>
                <a:cubicBezTo>
                  <a:pt x="937503" y="412490"/>
                  <a:pt x="932063" y="413610"/>
                  <a:pt x="929663" y="414410"/>
                </a:cubicBezTo>
                <a:cubicBezTo>
                  <a:pt x="922143" y="417130"/>
                  <a:pt x="913983" y="418570"/>
                  <a:pt x="906143" y="419690"/>
                </a:cubicBezTo>
                <a:cubicBezTo>
                  <a:pt x="893023" y="421450"/>
                  <a:pt x="879583" y="422090"/>
                  <a:pt x="866303" y="422410"/>
                </a:cubicBezTo>
                <a:cubicBezTo>
                  <a:pt x="869183" y="420170"/>
                  <a:pt x="872383" y="418410"/>
                  <a:pt x="875423" y="416330"/>
                </a:cubicBezTo>
                <a:cubicBezTo>
                  <a:pt x="883263" y="411210"/>
                  <a:pt x="890303" y="406090"/>
                  <a:pt x="898783" y="402090"/>
                </a:cubicBezTo>
                <a:cubicBezTo>
                  <a:pt x="902943" y="400170"/>
                  <a:pt x="907103" y="398250"/>
                  <a:pt x="911263" y="396490"/>
                </a:cubicBezTo>
                <a:cubicBezTo>
                  <a:pt x="912383" y="395850"/>
                  <a:pt x="913503" y="395370"/>
                  <a:pt x="914303" y="394890"/>
                </a:cubicBezTo>
                <a:close/>
                <a:moveTo>
                  <a:pt x="909823" y="392650"/>
                </a:moveTo>
                <a:cubicBezTo>
                  <a:pt x="900223" y="395370"/>
                  <a:pt x="890783" y="399210"/>
                  <a:pt x="882303" y="404650"/>
                </a:cubicBezTo>
                <a:cubicBezTo>
                  <a:pt x="876703" y="408170"/>
                  <a:pt x="871423" y="412330"/>
                  <a:pt x="865983" y="415850"/>
                </a:cubicBezTo>
                <a:cubicBezTo>
                  <a:pt x="864863" y="416490"/>
                  <a:pt x="860543" y="420490"/>
                  <a:pt x="858143" y="422410"/>
                </a:cubicBezTo>
                <a:cubicBezTo>
                  <a:pt x="857503" y="422410"/>
                  <a:pt x="856703" y="422410"/>
                  <a:pt x="856063" y="422410"/>
                </a:cubicBezTo>
                <a:cubicBezTo>
                  <a:pt x="850303" y="422410"/>
                  <a:pt x="844383" y="422410"/>
                  <a:pt x="838463" y="422570"/>
                </a:cubicBezTo>
                <a:cubicBezTo>
                  <a:pt x="839423" y="421450"/>
                  <a:pt x="840223" y="420330"/>
                  <a:pt x="841183" y="419370"/>
                </a:cubicBezTo>
                <a:cubicBezTo>
                  <a:pt x="845503" y="414570"/>
                  <a:pt x="850143" y="410250"/>
                  <a:pt x="854783" y="405930"/>
                </a:cubicBezTo>
                <a:cubicBezTo>
                  <a:pt x="859903" y="401130"/>
                  <a:pt x="865503" y="396810"/>
                  <a:pt x="871263" y="392810"/>
                </a:cubicBezTo>
                <a:cubicBezTo>
                  <a:pt x="876703" y="388970"/>
                  <a:pt x="881343" y="384970"/>
                  <a:pt x="887583" y="383050"/>
                </a:cubicBezTo>
                <a:cubicBezTo>
                  <a:pt x="894783" y="385930"/>
                  <a:pt x="902303" y="389290"/>
                  <a:pt x="909823" y="392650"/>
                </a:cubicBezTo>
                <a:close/>
                <a:moveTo>
                  <a:pt x="983743" y="294570"/>
                </a:moveTo>
                <a:cubicBezTo>
                  <a:pt x="979743" y="302730"/>
                  <a:pt x="975903" y="310730"/>
                  <a:pt x="971263" y="318410"/>
                </a:cubicBezTo>
                <a:cubicBezTo>
                  <a:pt x="966783" y="325610"/>
                  <a:pt x="961663" y="332330"/>
                  <a:pt x="956063" y="338890"/>
                </a:cubicBezTo>
                <a:cubicBezTo>
                  <a:pt x="950623" y="345450"/>
                  <a:pt x="945183" y="352010"/>
                  <a:pt x="938303" y="357130"/>
                </a:cubicBezTo>
                <a:cubicBezTo>
                  <a:pt x="932703" y="361290"/>
                  <a:pt x="926623" y="366090"/>
                  <a:pt x="920223" y="368970"/>
                </a:cubicBezTo>
                <a:cubicBezTo>
                  <a:pt x="914463" y="371690"/>
                  <a:pt x="908063" y="372010"/>
                  <a:pt x="901663" y="372650"/>
                </a:cubicBezTo>
                <a:cubicBezTo>
                  <a:pt x="899903" y="372650"/>
                  <a:pt x="898143" y="372650"/>
                  <a:pt x="896223" y="372650"/>
                </a:cubicBezTo>
                <a:cubicBezTo>
                  <a:pt x="893183" y="372650"/>
                  <a:pt x="890143" y="372490"/>
                  <a:pt x="887103" y="372490"/>
                </a:cubicBezTo>
                <a:cubicBezTo>
                  <a:pt x="882943" y="370890"/>
                  <a:pt x="878623" y="369450"/>
                  <a:pt x="874303" y="368170"/>
                </a:cubicBezTo>
                <a:cubicBezTo>
                  <a:pt x="874463" y="368170"/>
                  <a:pt x="874623" y="368010"/>
                  <a:pt x="874783" y="368010"/>
                </a:cubicBezTo>
                <a:cubicBezTo>
                  <a:pt x="876543" y="367370"/>
                  <a:pt x="878143" y="366730"/>
                  <a:pt x="879743" y="365930"/>
                </a:cubicBezTo>
                <a:cubicBezTo>
                  <a:pt x="882143" y="364970"/>
                  <a:pt x="884543" y="364010"/>
                  <a:pt x="886783" y="362730"/>
                </a:cubicBezTo>
                <a:cubicBezTo>
                  <a:pt x="893183" y="360170"/>
                  <a:pt x="899583" y="357770"/>
                  <a:pt x="905343" y="354730"/>
                </a:cubicBezTo>
                <a:cubicBezTo>
                  <a:pt x="913183" y="350570"/>
                  <a:pt x="920383" y="344970"/>
                  <a:pt x="927903" y="340490"/>
                </a:cubicBezTo>
                <a:cubicBezTo>
                  <a:pt x="934783" y="336490"/>
                  <a:pt x="941023" y="331210"/>
                  <a:pt x="947263" y="326410"/>
                </a:cubicBezTo>
                <a:cubicBezTo>
                  <a:pt x="960383" y="316170"/>
                  <a:pt x="972863" y="304970"/>
                  <a:pt x="983743" y="292330"/>
                </a:cubicBezTo>
                <a:cubicBezTo>
                  <a:pt x="984703" y="291210"/>
                  <a:pt x="985503" y="290250"/>
                  <a:pt x="986303" y="289130"/>
                </a:cubicBezTo>
                <a:cubicBezTo>
                  <a:pt x="985663" y="290890"/>
                  <a:pt x="984703" y="292650"/>
                  <a:pt x="983743" y="294570"/>
                </a:cubicBezTo>
                <a:close/>
                <a:moveTo>
                  <a:pt x="995743" y="259690"/>
                </a:moveTo>
                <a:cubicBezTo>
                  <a:pt x="995423" y="261930"/>
                  <a:pt x="994943" y="264010"/>
                  <a:pt x="994463" y="266090"/>
                </a:cubicBezTo>
                <a:cubicBezTo>
                  <a:pt x="993023" y="268490"/>
                  <a:pt x="991743" y="270570"/>
                  <a:pt x="990623" y="272650"/>
                </a:cubicBezTo>
                <a:cubicBezTo>
                  <a:pt x="986783" y="279530"/>
                  <a:pt x="982303" y="285450"/>
                  <a:pt x="977023" y="291370"/>
                </a:cubicBezTo>
                <a:cubicBezTo>
                  <a:pt x="965823" y="303850"/>
                  <a:pt x="952863" y="314890"/>
                  <a:pt x="939423" y="324970"/>
                </a:cubicBezTo>
                <a:cubicBezTo>
                  <a:pt x="933343" y="329450"/>
                  <a:pt x="927423" y="333770"/>
                  <a:pt x="921023" y="337610"/>
                </a:cubicBezTo>
                <a:cubicBezTo>
                  <a:pt x="913983" y="341770"/>
                  <a:pt x="907423" y="347050"/>
                  <a:pt x="899903" y="350570"/>
                </a:cubicBezTo>
                <a:cubicBezTo>
                  <a:pt x="891423" y="354570"/>
                  <a:pt x="882143" y="357610"/>
                  <a:pt x="873663" y="361770"/>
                </a:cubicBezTo>
                <a:cubicBezTo>
                  <a:pt x="872703" y="362090"/>
                  <a:pt x="871743" y="362250"/>
                  <a:pt x="870783" y="362570"/>
                </a:cubicBezTo>
                <a:cubicBezTo>
                  <a:pt x="866463" y="363690"/>
                  <a:pt x="862143" y="363690"/>
                  <a:pt x="857823" y="363690"/>
                </a:cubicBezTo>
                <a:cubicBezTo>
                  <a:pt x="851583" y="362250"/>
                  <a:pt x="845343" y="361130"/>
                  <a:pt x="838943" y="360330"/>
                </a:cubicBezTo>
                <a:cubicBezTo>
                  <a:pt x="842463" y="357130"/>
                  <a:pt x="846303" y="354090"/>
                  <a:pt x="850463" y="351370"/>
                </a:cubicBezTo>
                <a:cubicBezTo>
                  <a:pt x="858143" y="346410"/>
                  <a:pt x="866943" y="342730"/>
                  <a:pt x="874143" y="337130"/>
                </a:cubicBezTo>
                <a:cubicBezTo>
                  <a:pt x="889343" y="325610"/>
                  <a:pt x="906943" y="317930"/>
                  <a:pt x="923743" y="309130"/>
                </a:cubicBezTo>
                <a:cubicBezTo>
                  <a:pt x="939103" y="301130"/>
                  <a:pt x="954143" y="292490"/>
                  <a:pt x="966463" y="280330"/>
                </a:cubicBezTo>
                <a:cubicBezTo>
                  <a:pt x="972703" y="274250"/>
                  <a:pt x="979423" y="268490"/>
                  <a:pt x="985183" y="261930"/>
                </a:cubicBezTo>
                <a:cubicBezTo>
                  <a:pt x="987743" y="259050"/>
                  <a:pt x="989823" y="255690"/>
                  <a:pt x="992543" y="252810"/>
                </a:cubicBezTo>
                <a:cubicBezTo>
                  <a:pt x="993023" y="252330"/>
                  <a:pt x="993663" y="251690"/>
                  <a:pt x="994143" y="251210"/>
                </a:cubicBezTo>
                <a:cubicBezTo>
                  <a:pt x="994783" y="251210"/>
                  <a:pt x="995423" y="251370"/>
                  <a:pt x="996063" y="251370"/>
                </a:cubicBezTo>
                <a:cubicBezTo>
                  <a:pt x="995583" y="254250"/>
                  <a:pt x="996063" y="256970"/>
                  <a:pt x="995743" y="259690"/>
                </a:cubicBezTo>
                <a:close/>
                <a:moveTo>
                  <a:pt x="451583" y="344330"/>
                </a:moveTo>
                <a:cubicBezTo>
                  <a:pt x="450143" y="343850"/>
                  <a:pt x="444063" y="343210"/>
                  <a:pt x="442303" y="345130"/>
                </a:cubicBezTo>
                <a:cubicBezTo>
                  <a:pt x="441983" y="344970"/>
                  <a:pt x="441503" y="344970"/>
                  <a:pt x="441183" y="344970"/>
                </a:cubicBezTo>
                <a:cubicBezTo>
                  <a:pt x="436863" y="345290"/>
                  <a:pt x="437183" y="350890"/>
                  <a:pt x="439103" y="353290"/>
                </a:cubicBezTo>
                <a:cubicBezTo>
                  <a:pt x="441503" y="356490"/>
                  <a:pt x="445983" y="356650"/>
                  <a:pt x="449503" y="356010"/>
                </a:cubicBezTo>
                <a:cubicBezTo>
                  <a:pt x="453023" y="355530"/>
                  <a:pt x="456223" y="353770"/>
                  <a:pt x="456543" y="349770"/>
                </a:cubicBezTo>
                <a:cubicBezTo>
                  <a:pt x="456543" y="346890"/>
                  <a:pt x="453983" y="345130"/>
                  <a:pt x="451583" y="344330"/>
                </a:cubicBezTo>
                <a:close/>
                <a:moveTo>
                  <a:pt x="451743" y="351690"/>
                </a:moveTo>
                <a:cubicBezTo>
                  <a:pt x="449343" y="353130"/>
                  <a:pt x="443583" y="353130"/>
                  <a:pt x="441823" y="350410"/>
                </a:cubicBezTo>
                <a:cubicBezTo>
                  <a:pt x="440863" y="348810"/>
                  <a:pt x="442463" y="348490"/>
                  <a:pt x="443263" y="347690"/>
                </a:cubicBezTo>
                <a:cubicBezTo>
                  <a:pt x="443423" y="347530"/>
                  <a:pt x="443423" y="347370"/>
                  <a:pt x="443583" y="347210"/>
                </a:cubicBezTo>
                <a:cubicBezTo>
                  <a:pt x="443743" y="347210"/>
                  <a:pt x="443743" y="347210"/>
                  <a:pt x="443903" y="347210"/>
                </a:cubicBezTo>
                <a:cubicBezTo>
                  <a:pt x="444383" y="347210"/>
                  <a:pt x="444543" y="346730"/>
                  <a:pt x="444543" y="346570"/>
                </a:cubicBezTo>
                <a:cubicBezTo>
                  <a:pt x="446143" y="346570"/>
                  <a:pt x="449343" y="347210"/>
                  <a:pt x="449983" y="347370"/>
                </a:cubicBezTo>
                <a:cubicBezTo>
                  <a:pt x="451903" y="347690"/>
                  <a:pt x="454623" y="349930"/>
                  <a:pt x="451743" y="351690"/>
                </a:cubicBezTo>
                <a:close/>
                <a:moveTo>
                  <a:pt x="472063" y="337130"/>
                </a:moveTo>
                <a:cubicBezTo>
                  <a:pt x="471103" y="332810"/>
                  <a:pt x="464223" y="334090"/>
                  <a:pt x="461183" y="334570"/>
                </a:cubicBezTo>
                <a:cubicBezTo>
                  <a:pt x="461183" y="334570"/>
                  <a:pt x="461023" y="334570"/>
                  <a:pt x="461023" y="334730"/>
                </a:cubicBezTo>
                <a:cubicBezTo>
                  <a:pt x="460863" y="334730"/>
                  <a:pt x="460543" y="334730"/>
                  <a:pt x="460383" y="334890"/>
                </a:cubicBezTo>
                <a:cubicBezTo>
                  <a:pt x="458143" y="335210"/>
                  <a:pt x="456063" y="336810"/>
                  <a:pt x="456063" y="339210"/>
                </a:cubicBezTo>
                <a:cubicBezTo>
                  <a:pt x="456063" y="343370"/>
                  <a:pt x="461503" y="343370"/>
                  <a:pt x="464383" y="343050"/>
                </a:cubicBezTo>
                <a:cubicBezTo>
                  <a:pt x="467423" y="342730"/>
                  <a:pt x="472863" y="341290"/>
                  <a:pt x="472063" y="337130"/>
                </a:cubicBezTo>
                <a:close/>
                <a:moveTo>
                  <a:pt x="464063" y="338890"/>
                </a:moveTo>
                <a:cubicBezTo>
                  <a:pt x="463103" y="339050"/>
                  <a:pt x="462143" y="339050"/>
                  <a:pt x="461183" y="338890"/>
                </a:cubicBezTo>
                <a:cubicBezTo>
                  <a:pt x="461183" y="338890"/>
                  <a:pt x="461023" y="338890"/>
                  <a:pt x="461023" y="338890"/>
                </a:cubicBezTo>
                <a:cubicBezTo>
                  <a:pt x="461823" y="338730"/>
                  <a:pt x="462783" y="338890"/>
                  <a:pt x="463103" y="338890"/>
                </a:cubicBezTo>
                <a:cubicBezTo>
                  <a:pt x="464383" y="338890"/>
                  <a:pt x="465503" y="338570"/>
                  <a:pt x="466143" y="337610"/>
                </a:cubicBezTo>
                <a:cubicBezTo>
                  <a:pt x="466143" y="337610"/>
                  <a:pt x="466143" y="337450"/>
                  <a:pt x="466303" y="337450"/>
                </a:cubicBezTo>
                <a:cubicBezTo>
                  <a:pt x="466943" y="337610"/>
                  <a:pt x="467423" y="337770"/>
                  <a:pt x="468063" y="337930"/>
                </a:cubicBezTo>
                <a:cubicBezTo>
                  <a:pt x="467903" y="338090"/>
                  <a:pt x="467743" y="338090"/>
                  <a:pt x="467583" y="338250"/>
                </a:cubicBezTo>
                <a:cubicBezTo>
                  <a:pt x="466303" y="338570"/>
                  <a:pt x="465183" y="338730"/>
                  <a:pt x="464063" y="338890"/>
                </a:cubicBezTo>
                <a:close/>
                <a:moveTo>
                  <a:pt x="510783" y="338890"/>
                </a:moveTo>
                <a:cubicBezTo>
                  <a:pt x="508063" y="336650"/>
                  <a:pt x="505503" y="336330"/>
                  <a:pt x="502303" y="336970"/>
                </a:cubicBezTo>
                <a:cubicBezTo>
                  <a:pt x="501183" y="336810"/>
                  <a:pt x="500063" y="336810"/>
                  <a:pt x="499103" y="337130"/>
                </a:cubicBezTo>
                <a:cubicBezTo>
                  <a:pt x="498783" y="337130"/>
                  <a:pt x="498623" y="337290"/>
                  <a:pt x="498303" y="337450"/>
                </a:cubicBezTo>
                <a:cubicBezTo>
                  <a:pt x="497023" y="337450"/>
                  <a:pt x="495903" y="338250"/>
                  <a:pt x="495263" y="339210"/>
                </a:cubicBezTo>
                <a:cubicBezTo>
                  <a:pt x="494943" y="339850"/>
                  <a:pt x="494783" y="340810"/>
                  <a:pt x="494943" y="341610"/>
                </a:cubicBezTo>
                <a:cubicBezTo>
                  <a:pt x="494943" y="341770"/>
                  <a:pt x="494943" y="341770"/>
                  <a:pt x="494943" y="341930"/>
                </a:cubicBezTo>
                <a:cubicBezTo>
                  <a:pt x="494783" y="342410"/>
                  <a:pt x="494783" y="342890"/>
                  <a:pt x="494943" y="343370"/>
                </a:cubicBezTo>
                <a:cubicBezTo>
                  <a:pt x="497023" y="349610"/>
                  <a:pt x="507263" y="350250"/>
                  <a:pt x="511583" y="346090"/>
                </a:cubicBezTo>
                <a:cubicBezTo>
                  <a:pt x="513503" y="343850"/>
                  <a:pt x="512863" y="340330"/>
                  <a:pt x="510783" y="338890"/>
                </a:cubicBezTo>
                <a:close/>
                <a:moveTo>
                  <a:pt x="500223" y="342250"/>
                </a:moveTo>
                <a:cubicBezTo>
                  <a:pt x="500383" y="342250"/>
                  <a:pt x="500383" y="342250"/>
                  <a:pt x="500223" y="342250"/>
                </a:cubicBezTo>
                <a:cubicBezTo>
                  <a:pt x="501023" y="341610"/>
                  <a:pt x="501183" y="340650"/>
                  <a:pt x="500703" y="340010"/>
                </a:cubicBezTo>
                <a:cubicBezTo>
                  <a:pt x="500863" y="340010"/>
                  <a:pt x="501023" y="340010"/>
                  <a:pt x="501183" y="340010"/>
                </a:cubicBezTo>
                <a:cubicBezTo>
                  <a:pt x="501503" y="340650"/>
                  <a:pt x="502463" y="340650"/>
                  <a:pt x="502783" y="340010"/>
                </a:cubicBezTo>
                <a:cubicBezTo>
                  <a:pt x="503103" y="340010"/>
                  <a:pt x="503423" y="340010"/>
                  <a:pt x="503743" y="340010"/>
                </a:cubicBezTo>
                <a:cubicBezTo>
                  <a:pt x="504543" y="340010"/>
                  <a:pt x="505343" y="340170"/>
                  <a:pt x="505983" y="340490"/>
                </a:cubicBezTo>
                <a:cubicBezTo>
                  <a:pt x="506783" y="340810"/>
                  <a:pt x="507423" y="341610"/>
                  <a:pt x="507903" y="342410"/>
                </a:cubicBezTo>
                <a:cubicBezTo>
                  <a:pt x="507903" y="342570"/>
                  <a:pt x="507903" y="342570"/>
                  <a:pt x="508063" y="342570"/>
                </a:cubicBezTo>
                <a:cubicBezTo>
                  <a:pt x="505663" y="344170"/>
                  <a:pt x="502463" y="344010"/>
                  <a:pt x="500223" y="342250"/>
                </a:cubicBezTo>
                <a:close/>
                <a:moveTo>
                  <a:pt x="484063" y="349770"/>
                </a:moveTo>
                <a:cubicBezTo>
                  <a:pt x="482623" y="348490"/>
                  <a:pt x="480383" y="347850"/>
                  <a:pt x="478623" y="347530"/>
                </a:cubicBezTo>
                <a:cubicBezTo>
                  <a:pt x="475903" y="346890"/>
                  <a:pt x="473663" y="347850"/>
                  <a:pt x="471263" y="348970"/>
                </a:cubicBezTo>
                <a:cubicBezTo>
                  <a:pt x="470783" y="349290"/>
                  <a:pt x="470623" y="349770"/>
                  <a:pt x="470623" y="350250"/>
                </a:cubicBezTo>
                <a:cubicBezTo>
                  <a:pt x="469983" y="351050"/>
                  <a:pt x="469503" y="352170"/>
                  <a:pt x="469503" y="353290"/>
                </a:cubicBezTo>
                <a:cubicBezTo>
                  <a:pt x="469503" y="358410"/>
                  <a:pt x="476063" y="359050"/>
                  <a:pt x="479743" y="358090"/>
                </a:cubicBezTo>
                <a:cubicBezTo>
                  <a:pt x="483103" y="356970"/>
                  <a:pt x="487903" y="353130"/>
                  <a:pt x="484063" y="349770"/>
                </a:cubicBezTo>
                <a:close/>
                <a:moveTo>
                  <a:pt x="480063" y="353450"/>
                </a:moveTo>
                <a:cubicBezTo>
                  <a:pt x="478463" y="354250"/>
                  <a:pt x="475743" y="354890"/>
                  <a:pt x="474143" y="353610"/>
                </a:cubicBezTo>
                <a:cubicBezTo>
                  <a:pt x="471903" y="352010"/>
                  <a:pt x="476863" y="351370"/>
                  <a:pt x="477823" y="351210"/>
                </a:cubicBezTo>
                <a:cubicBezTo>
                  <a:pt x="478143" y="351210"/>
                  <a:pt x="478303" y="351050"/>
                  <a:pt x="478463" y="350730"/>
                </a:cubicBezTo>
                <a:cubicBezTo>
                  <a:pt x="478463" y="350730"/>
                  <a:pt x="478623" y="350730"/>
                  <a:pt x="478623" y="350730"/>
                </a:cubicBezTo>
                <a:cubicBezTo>
                  <a:pt x="479583" y="351050"/>
                  <a:pt x="480703" y="351530"/>
                  <a:pt x="481503" y="352170"/>
                </a:cubicBezTo>
                <a:cubicBezTo>
                  <a:pt x="481503" y="352170"/>
                  <a:pt x="481503" y="352170"/>
                  <a:pt x="481503" y="352170"/>
                </a:cubicBezTo>
                <a:cubicBezTo>
                  <a:pt x="481503" y="352170"/>
                  <a:pt x="481503" y="352170"/>
                  <a:pt x="481343" y="352330"/>
                </a:cubicBezTo>
                <a:cubicBezTo>
                  <a:pt x="481183" y="352810"/>
                  <a:pt x="480703" y="353130"/>
                  <a:pt x="480063" y="353450"/>
                </a:cubicBezTo>
                <a:close/>
                <a:moveTo>
                  <a:pt x="488863" y="366730"/>
                </a:moveTo>
                <a:cubicBezTo>
                  <a:pt x="487743" y="365610"/>
                  <a:pt x="486143" y="365290"/>
                  <a:pt x="484703" y="364970"/>
                </a:cubicBezTo>
                <a:cubicBezTo>
                  <a:pt x="482783" y="364650"/>
                  <a:pt x="478783" y="364490"/>
                  <a:pt x="478143" y="366730"/>
                </a:cubicBezTo>
                <a:cubicBezTo>
                  <a:pt x="477823" y="366890"/>
                  <a:pt x="477663" y="367050"/>
                  <a:pt x="477503" y="367210"/>
                </a:cubicBezTo>
                <a:cubicBezTo>
                  <a:pt x="475423" y="369290"/>
                  <a:pt x="478143" y="371850"/>
                  <a:pt x="480063" y="372490"/>
                </a:cubicBezTo>
                <a:cubicBezTo>
                  <a:pt x="481343" y="372970"/>
                  <a:pt x="483423" y="372650"/>
                  <a:pt x="484703" y="372490"/>
                </a:cubicBezTo>
                <a:cubicBezTo>
                  <a:pt x="486303" y="372330"/>
                  <a:pt x="488223" y="372170"/>
                  <a:pt x="489343" y="370890"/>
                </a:cubicBezTo>
                <a:cubicBezTo>
                  <a:pt x="490303" y="369770"/>
                  <a:pt x="489823" y="367850"/>
                  <a:pt x="488863" y="366730"/>
                </a:cubicBezTo>
                <a:close/>
                <a:moveTo>
                  <a:pt x="481983" y="368490"/>
                </a:moveTo>
                <a:cubicBezTo>
                  <a:pt x="481823" y="368490"/>
                  <a:pt x="481823" y="368490"/>
                  <a:pt x="481663" y="368490"/>
                </a:cubicBezTo>
                <a:cubicBezTo>
                  <a:pt x="481823" y="368490"/>
                  <a:pt x="481823" y="368490"/>
                  <a:pt x="481983" y="368490"/>
                </a:cubicBezTo>
                <a:cubicBezTo>
                  <a:pt x="481983" y="368170"/>
                  <a:pt x="481983" y="368010"/>
                  <a:pt x="482143" y="367850"/>
                </a:cubicBezTo>
                <a:cubicBezTo>
                  <a:pt x="482623" y="367850"/>
                  <a:pt x="483103" y="368010"/>
                  <a:pt x="483743" y="368170"/>
                </a:cubicBezTo>
                <a:cubicBezTo>
                  <a:pt x="484063" y="368330"/>
                  <a:pt x="484383" y="368330"/>
                  <a:pt x="484703" y="368490"/>
                </a:cubicBezTo>
                <a:cubicBezTo>
                  <a:pt x="483743" y="368650"/>
                  <a:pt x="482623" y="368490"/>
                  <a:pt x="481983" y="368490"/>
                </a:cubicBezTo>
                <a:close/>
                <a:moveTo>
                  <a:pt x="514943" y="357770"/>
                </a:moveTo>
                <a:cubicBezTo>
                  <a:pt x="511903" y="356170"/>
                  <a:pt x="507903" y="356970"/>
                  <a:pt x="504703" y="357610"/>
                </a:cubicBezTo>
                <a:cubicBezTo>
                  <a:pt x="503583" y="357770"/>
                  <a:pt x="503263" y="358890"/>
                  <a:pt x="503583" y="359690"/>
                </a:cubicBezTo>
                <a:cubicBezTo>
                  <a:pt x="503263" y="360170"/>
                  <a:pt x="503103" y="360490"/>
                  <a:pt x="502943" y="360970"/>
                </a:cubicBezTo>
                <a:cubicBezTo>
                  <a:pt x="502623" y="362570"/>
                  <a:pt x="503743" y="364970"/>
                  <a:pt x="505183" y="365770"/>
                </a:cubicBezTo>
                <a:cubicBezTo>
                  <a:pt x="507903" y="367050"/>
                  <a:pt x="511903" y="366410"/>
                  <a:pt x="514463" y="365130"/>
                </a:cubicBezTo>
                <a:cubicBezTo>
                  <a:pt x="517983" y="363370"/>
                  <a:pt x="518303" y="359690"/>
                  <a:pt x="514943" y="357770"/>
                </a:cubicBezTo>
                <a:close/>
                <a:moveTo>
                  <a:pt x="509023" y="362090"/>
                </a:moveTo>
                <a:cubicBezTo>
                  <a:pt x="508543" y="362090"/>
                  <a:pt x="507903" y="362090"/>
                  <a:pt x="507583" y="361930"/>
                </a:cubicBezTo>
                <a:cubicBezTo>
                  <a:pt x="507743" y="361930"/>
                  <a:pt x="507583" y="361770"/>
                  <a:pt x="507423" y="361610"/>
                </a:cubicBezTo>
                <a:cubicBezTo>
                  <a:pt x="507583" y="361450"/>
                  <a:pt x="507743" y="361130"/>
                  <a:pt x="507743" y="360970"/>
                </a:cubicBezTo>
                <a:cubicBezTo>
                  <a:pt x="507743" y="360810"/>
                  <a:pt x="507903" y="360650"/>
                  <a:pt x="507903" y="360490"/>
                </a:cubicBezTo>
                <a:cubicBezTo>
                  <a:pt x="508543" y="360490"/>
                  <a:pt x="509183" y="360490"/>
                  <a:pt x="509983" y="360490"/>
                </a:cubicBezTo>
                <a:cubicBezTo>
                  <a:pt x="510783" y="360490"/>
                  <a:pt x="511743" y="360650"/>
                  <a:pt x="512543" y="360970"/>
                </a:cubicBezTo>
                <a:cubicBezTo>
                  <a:pt x="512703" y="361130"/>
                  <a:pt x="512863" y="361130"/>
                  <a:pt x="513183" y="361290"/>
                </a:cubicBezTo>
                <a:cubicBezTo>
                  <a:pt x="512063" y="362090"/>
                  <a:pt x="510143" y="362090"/>
                  <a:pt x="509023" y="362090"/>
                </a:cubicBezTo>
                <a:close/>
                <a:moveTo>
                  <a:pt x="537663" y="348330"/>
                </a:moveTo>
                <a:cubicBezTo>
                  <a:pt x="535583" y="344490"/>
                  <a:pt x="529343" y="345290"/>
                  <a:pt x="525823" y="346410"/>
                </a:cubicBezTo>
                <a:cubicBezTo>
                  <a:pt x="525343" y="346410"/>
                  <a:pt x="524863" y="346410"/>
                  <a:pt x="524223" y="346570"/>
                </a:cubicBezTo>
                <a:cubicBezTo>
                  <a:pt x="522783" y="346890"/>
                  <a:pt x="521183" y="347690"/>
                  <a:pt x="520863" y="349290"/>
                </a:cubicBezTo>
                <a:cubicBezTo>
                  <a:pt x="520063" y="353930"/>
                  <a:pt x="528223" y="354730"/>
                  <a:pt x="531103" y="354730"/>
                </a:cubicBezTo>
                <a:cubicBezTo>
                  <a:pt x="534143" y="354570"/>
                  <a:pt x="539903" y="352490"/>
                  <a:pt x="537663" y="348330"/>
                </a:cubicBezTo>
                <a:close/>
                <a:moveTo>
                  <a:pt x="530783" y="350730"/>
                </a:moveTo>
                <a:cubicBezTo>
                  <a:pt x="529663" y="350730"/>
                  <a:pt x="528543" y="350570"/>
                  <a:pt x="527423" y="350410"/>
                </a:cubicBezTo>
                <a:cubicBezTo>
                  <a:pt x="526943" y="350250"/>
                  <a:pt x="526463" y="350090"/>
                  <a:pt x="525983" y="349930"/>
                </a:cubicBezTo>
                <a:cubicBezTo>
                  <a:pt x="526143" y="349930"/>
                  <a:pt x="526303" y="349930"/>
                  <a:pt x="526463" y="349770"/>
                </a:cubicBezTo>
                <a:cubicBezTo>
                  <a:pt x="527103" y="349610"/>
                  <a:pt x="527583" y="349130"/>
                  <a:pt x="528383" y="348970"/>
                </a:cubicBezTo>
                <a:cubicBezTo>
                  <a:pt x="528543" y="348970"/>
                  <a:pt x="528703" y="348810"/>
                  <a:pt x="528863" y="348650"/>
                </a:cubicBezTo>
                <a:cubicBezTo>
                  <a:pt x="530303" y="348650"/>
                  <a:pt x="531583" y="348650"/>
                  <a:pt x="532863" y="349130"/>
                </a:cubicBezTo>
                <a:cubicBezTo>
                  <a:pt x="533343" y="349290"/>
                  <a:pt x="533663" y="349610"/>
                  <a:pt x="533983" y="349770"/>
                </a:cubicBezTo>
                <a:lnTo>
                  <a:pt x="533983" y="349770"/>
                </a:lnTo>
                <a:cubicBezTo>
                  <a:pt x="533823" y="349770"/>
                  <a:pt x="533823" y="349930"/>
                  <a:pt x="533663" y="349930"/>
                </a:cubicBezTo>
                <a:cubicBezTo>
                  <a:pt x="532703" y="350410"/>
                  <a:pt x="531903" y="350730"/>
                  <a:pt x="530783" y="350730"/>
                </a:cubicBezTo>
                <a:close/>
                <a:moveTo>
                  <a:pt x="559583" y="366090"/>
                </a:moveTo>
                <a:cubicBezTo>
                  <a:pt x="557023" y="367050"/>
                  <a:pt x="553343" y="367210"/>
                  <a:pt x="550783" y="366570"/>
                </a:cubicBezTo>
                <a:cubicBezTo>
                  <a:pt x="549023" y="366090"/>
                  <a:pt x="547743" y="364490"/>
                  <a:pt x="547423" y="362730"/>
                </a:cubicBezTo>
                <a:cubicBezTo>
                  <a:pt x="547103" y="360650"/>
                  <a:pt x="549503" y="359370"/>
                  <a:pt x="551263" y="359690"/>
                </a:cubicBezTo>
                <a:cubicBezTo>
                  <a:pt x="551423" y="359690"/>
                  <a:pt x="551583" y="359850"/>
                  <a:pt x="551743" y="359850"/>
                </a:cubicBezTo>
                <a:cubicBezTo>
                  <a:pt x="554303" y="359050"/>
                  <a:pt x="557183" y="358570"/>
                  <a:pt x="559583" y="359530"/>
                </a:cubicBezTo>
                <a:cubicBezTo>
                  <a:pt x="562783" y="360970"/>
                  <a:pt x="562783" y="364970"/>
                  <a:pt x="559583" y="366090"/>
                </a:cubicBezTo>
                <a:close/>
                <a:moveTo>
                  <a:pt x="538943" y="370410"/>
                </a:moveTo>
                <a:cubicBezTo>
                  <a:pt x="535743" y="369290"/>
                  <a:pt x="530623" y="370570"/>
                  <a:pt x="527743" y="372330"/>
                </a:cubicBezTo>
                <a:cubicBezTo>
                  <a:pt x="527423" y="372490"/>
                  <a:pt x="527263" y="372970"/>
                  <a:pt x="527423" y="373290"/>
                </a:cubicBezTo>
                <a:cubicBezTo>
                  <a:pt x="526783" y="374250"/>
                  <a:pt x="526623" y="375370"/>
                  <a:pt x="527423" y="376490"/>
                </a:cubicBezTo>
                <a:cubicBezTo>
                  <a:pt x="528383" y="377930"/>
                  <a:pt x="530623" y="378410"/>
                  <a:pt x="532223" y="378410"/>
                </a:cubicBezTo>
                <a:cubicBezTo>
                  <a:pt x="534783" y="378570"/>
                  <a:pt x="538143" y="378410"/>
                  <a:pt x="540383" y="377130"/>
                </a:cubicBezTo>
                <a:cubicBezTo>
                  <a:pt x="543743" y="375210"/>
                  <a:pt x="541983" y="371370"/>
                  <a:pt x="538943" y="370410"/>
                </a:cubicBezTo>
                <a:close/>
                <a:moveTo>
                  <a:pt x="533663" y="374250"/>
                </a:moveTo>
                <a:cubicBezTo>
                  <a:pt x="533183" y="374250"/>
                  <a:pt x="532703" y="374250"/>
                  <a:pt x="532223" y="374250"/>
                </a:cubicBezTo>
                <a:cubicBezTo>
                  <a:pt x="531903" y="374250"/>
                  <a:pt x="531423" y="374090"/>
                  <a:pt x="531103" y="373930"/>
                </a:cubicBezTo>
                <a:cubicBezTo>
                  <a:pt x="530943" y="373930"/>
                  <a:pt x="530783" y="373770"/>
                  <a:pt x="530783" y="373770"/>
                </a:cubicBezTo>
                <a:cubicBezTo>
                  <a:pt x="530783" y="373770"/>
                  <a:pt x="530783" y="373770"/>
                  <a:pt x="530783" y="373610"/>
                </a:cubicBezTo>
                <a:cubicBezTo>
                  <a:pt x="530783" y="373610"/>
                  <a:pt x="530783" y="373450"/>
                  <a:pt x="530783" y="373450"/>
                </a:cubicBezTo>
                <a:cubicBezTo>
                  <a:pt x="532063" y="373290"/>
                  <a:pt x="533343" y="373130"/>
                  <a:pt x="534463" y="373130"/>
                </a:cubicBezTo>
                <a:cubicBezTo>
                  <a:pt x="535423" y="373130"/>
                  <a:pt x="536703" y="373130"/>
                  <a:pt x="537663" y="373610"/>
                </a:cubicBezTo>
                <a:cubicBezTo>
                  <a:pt x="537663" y="373610"/>
                  <a:pt x="537823" y="373610"/>
                  <a:pt x="537823" y="373770"/>
                </a:cubicBezTo>
                <a:cubicBezTo>
                  <a:pt x="536543" y="374250"/>
                  <a:pt x="534943" y="374250"/>
                  <a:pt x="533663" y="374250"/>
                </a:cubicBezTo>
                <a:close/>
                <a:moveTo>
                  <a:pt x="514463" y="376650"/>
                </a:moveTo>
                <a:cubicBezTo>
                  <a:pt x="513983" y="377930"/>
                  <a:pt x="513023" y="378890"/>
                  <a:pt x="511743" y="379370"/>
                </a:cubicBezTo>
                <a:cubicBezTo>
                  <a:pt x="510623" y="379690"/>
                  <a:pt x="509663" y="379850"/>
                  <a:pt x="508543" y="379690"/>
                </a:cubicBezTo>
                <a:cubicBezTo>
                  <a:pt x="507263" y="379530"/>
                  <a:pt x="506623" y="377930"/>
                  <a:pt x="507263" y="376810"/>
                </a:cubicBezTo>
                <a:cubicBezTo>
                  <a:pt x="507263" y="376810"/>
                  <a:pt x="507263" y="376810"/>
                  <a:pt x="507263" y="376650"/>
                </a:cubicBezTo>
                <a:cubicBezTo>
                  <a:pt x="507423" y="376330"/>
                  <a:pt x="507743" y="376010"/>
                  <a:pt x="508223" y="375850"/>
                </a:cubicBezTo>
                <a:cubicBezTo>
                  <a:pt x="508543" y="375370"/>
                  <a:pt x="509023" y="375050"/>
                  <a:pt x="509663" y="374890"/>
                </a:cubicBezTo>
                <a:cubicBezTo>
                  <a:pt x="510143" y="374730"/>
                  <a:pt x="510623" y="374570"/>
                  <a:pt x="511103" y="374570"/>
                </a:cubicBezTo>
                <a:cubicBezTo>
                  <a:pt x="511423" y="374570"/>
                  <a:pt x="511583" y="374570"/>
                  <a:pt x="511903" y="374410"/>
                </a:cubicBezTo>
                <a:cubicBezTo>
                  <a:pt x="512063" y="374410"/>
                  <a:pt x="512543" y="374250"/>
                  <a:pt x="512063" y="374410"/>
                </a:cubicBezTo>
                <a:cubicBezTo>
                  <a:pt x="512863" y="374250"/>
                  <a:pt x="513503" y="374250"/>
                  <a:pt x="513983" y="374890"/>
                </a:cubicBezTo>
                <a:cubicBezTo>
                  <a:pt x="514303" y="375210"/>
                  <a:pt x="514783" y="376010"/>
                  <a:pt x="514463" y="376650"/>
                </a:cubicBezTo>
                <a:close/>
              </a:path>
            </a:pathLst>
          </a:custGeom>
          <a:solidFill>
            <a:schemeClr val="accent2"/>
          </a:solidFill>
          <a:ln w="16000" cap="flat">
            <a:noFill/>
            <a:prstDash val="solid"/>
            <a:miter/>
          </a:ln>
        </p:spPr>
        <p:txBody>
          <a:bodyPr rtlCol="0" anchor="ctr"/>
          <a:lstStyle/>
          <a:p>
            <a:endParaRPr lang="zh-CN" altLang="en-US"/>
          </a:p>
        </p:txBody>
      </p:sp>
      <p:sp>
        <p:nvSpPr>
          <p:cNvPr id="150" name="任意多边形: 形状 149">
            <a:extLst>
              <a:ext uri="{FF2B5EF4-FFF2-40B4-BE49-F238E27FC236}">
                <a16:creationId xmlns:a16="http://schemas.microsoft.com/office/drawing/2014/main" id="{E1287083-EFDF-4261-8D62-6AF17350DB9E}"/>
              </a:ext>
            </a:extLst>
          </p:cNvPr>
          <p:cNvSpPr/>
          <p:nvPr userDrawn="1"/>
        </p:nvSpPr>
        <p:spPr>
          <a:xfrm flipV="1">
            <a:off x="3863" y="3646412"/>
            <a:ext cx="12182565" cy="3211589"/>
          </a:xfrm>
          <a:custGeom>
            <a:avLst/>
            <a:gdLst>
              <a:gd name="connsiteX0" fmla="*/ 22240 w 12182565"/>
              <a:gd name="connsiteY0" fmla="*/ 152825 h 3211589"/>
              <a:gd name="connsiteX1" fmla="*/ 280660 w 12182565"/>
              <a:gd name="connsiteY1" fmla="*/ 23785 h 3211589"/>
              <a:gd name="connsiteX2" fmla="*/ 335159 w 12182565"/>
              <a:gd name="connsiteY2" fmla="*/ 0 h 3211589"/>
              <a:gd name="connsiteX3" fmla="*/ 294526 w 12182565"/>
              <a:gd name="connsiteY3" fmla="*/ 0 h 3211589"/>
              <a:gd name="connsiteX4" fmla="*/ 274020 w 12182565"/>
              <a:gd name="connsiteY4" fmla="*/ 8945 h 3211589"/>
              <a:gd name="connsiteX5" fmla="*/ 14560 w 12182565"/>
              <a:gd name="connsiteY5" fmla="*/ 138585 h 3211589"/>
              <a:gd name="connsiteX6" fmla="*/ 11360 w 12182565"/>
              <a:gd name="connsiteY6" fmla="*/ 149465 h 3211589"/>
              <a:gd name="connsiteX7" fmla="*/ 22240 w 12182565"/>
              <a:gd name="connsiteY7" fmla="*/ 152825 h 3211589"/>
              <a:gd name="connsiteX8" fmla="*/ 18560 w 12182565"/>
              <a:gd name="connsiteY8" fmla="*/ 385465 h 3211589"/>
              <a:gd name="connsiteX9" fmla="*/ 569203 w 12182565"/>
              <a:gd name="connsiteY9" fmla="*/ 34825 h 3211589"/>
              <a:gd name="connsiteX10" fmla="*/ 635864 w 12182565"/>
              <a:gd name="connsiteY10" fmla="*/ 0 h 3211589"/>
              <a:gd name="connsiteX11" fmla="*/ 601289 w 12182565"/>
              <a:gd name="connsiteY11" fmla="*/ 0 h 3211589"/>
              <a:gd name="connsiteX12" fmla="*/ 562285 w 12182565"/>
              <a:gd name="connsiteY12" fmla="*/ 20355 h 3211589"/>
              <a:gd name="connsiteX13" fmla="*/ 9280 w 12182565"/>
              <a:gd name="connsiteY13" fmla="*/ 372345 h 3211589"/>
              <a:gd name="connsiteX14" fmla="*/ 7360 w 12182565"/>
              <a:gd name="connsiteY14" fmla="*/ 383545 h 3211589"/>
              <a:gd name="connsiteX15" fmla="*/ 18560 w 12182565"/>
              <a:gd name="connsiteY15" fmla="*/ 385465 h 3211589"/>
              <a:gd name="connsiteX16" fmla="*/ 6700320 w 12182565"/>
              <a:gd name="connsiteY16" fmla="*/ 650905 h 3211589"/>
              <a:gd name="connsiteX17" fmla="*/ 6548160 w 12182565"/>
              <a:gd name="connsiteY17" fmla="*/ 548505 h 3211589"/>
              <a:gd name="connsiteX18" fmla="*/ 6906240 w 12182565"/>
              <a:gd name="connsiteY18" fmla="*/ 381145 h 3211589"/>
              <a:gd name="connsiteX19" fmla="*/ 7703200 w 12182565"/>
              <a:gd name="connsiteY19" fmla="*/ 51865 h 3211589"/>
              <a:gd name="connsiteX20" fmla="*/ 8504960 w 12182565"/>
              <a:gd name="connsiteY20" fmla="*/ 64185 h 3211589"/>
              <a:gd name="connsiteX21" fmla="*/ 8506080 w 12182565"/>
              <a:gd name="connsiteY21" fmla="*/ 64185 h 3211589"/>
              <a:gd name="connsiteX22" fmla="*/ 8545600 w 12182565"/>
              <a:gd name="connsiteY22" fmla="*/ 83065 h 3211589"/>
              <a:gd name="connsiteX23" fmla="*/ 8197600 w 12182565"/>
              <a:gd name="connsiteY23" fmla="*/ 54105 h 3211589"/>
              <a:gd name="connsiteX24" fmla="*/ 7839040 w 12182565"/>
              <a:gd name="connsiteY24" fmla="*/ 83225 h 3211589"/>
              <a:gd name="connsiteX25" fmla="*/ 7067680 w 12182565"/>
              <a:gd name="connsiteY25" fmla="*/ 426425 h 3211589"/>
              <a:gd name="connsiteX26" fmla="*/ 6700320 w 12182565"/>
              <a:gd name="connsiteY26" fmla="*/ 650905 h 3211589"/>
              <a:gd name="connsiteX27" fmla="*/ 18240 w 12182565"/>
              <a:gd name="connsiteY27" fmla="*/ 676505 h 3211589"/>
              <a:gd name="connsiteX28" fmla="*/ 792960 w 12182565"/>
              <a:gd name="connsiteY28" fmla="*/ 73465 h 3211589"/>
              <a:gd name="connsiteX29" fmla="*/ 816000 w 12182565"/>
              <a:gd name="connsiteY29" fmla="*/ 62265 h 3211589"/>
              <a:gd name="connsiteX30" fmla="*/ 946056 w 12182565"/>
              <a:gd name="connsiteY30" fmla="*/ 0 h 3211589"/>
              <a:gd name="connsiteX31" fmla="*/ 908561 w 12182565"/>
              <a:gd name="connsiteY31" fmla="*/ 0 h 3211589"/>
              <a:gd name="connsiteX32" fmla="*/ 808960 w 12182565"/>
              <a:gd name="connsiteY32" fmla="*/ 47705 h 3211589"/>
              <a:gd name="connsiteX33" fmla="*/ 785920 w 12182565"/>
              <a:gd name="connsiteY33" fmla="*/ 58905 h 3211589"/>
              <a:gd name="connsiteX34" fmla="*/ 7200 w 12182565"/>
              <a:gd name="connsiteY34" fmla="*/ 664825 h 3211589"/>
              <a:gd name="connsiteX35" fmla="*/ 6880 w 12182565"/>
              <a:gd name="connsiteY35" fmla="*/ 676185 h 3211589"/>
              <a:gd name="connsiteX36" fmla="*/ 18240 w 12182565"/>
              <a:gd name="connsiteY36" fmla="*/ 676505 h 3211589"/>
              <a:gd name="connsiteX37" fmla="*/ 11024000 w 12182565"/>
              <a:gd name="connsiteY37" fmla="*/ 744825 h 3211589"/>
              <a:gd name="connsiteX38" fmla="*/ 10955840 w 12182565"/>
              <a:gd name="connsiteY38" fmla="*/ 724345 h 3211589"/>
              <a:gd name="connsiteX39" fmla="*/ 10866560 w 12182565"/>
              <a:gd name="connsiteY39" fmla="*/ 704825 h 3211589"/>
              <a:gd name="connsiteX40" fmla="*/ 10737440 w 12182565"/>
              <a:gd name="connsiteY40" fmla="*/ 680505 h 3211589"/>
              <a:gd name="connsiteX41" fmla="*/ 10496640 w 12182565"/>
              <a:gd name="connsiteY41" fmla="*/ 621785 h 3211589"/>
              <a:gd name="connsiteX42" fmla="*/ 10403840 w 12182565"/>
              <a:gd name="connsiteY42" fmla="*/ 593145 h 3211589"/>
              <a:gd name="connsiteX43" fmla="*/ 9867840 w 12182565"/>
              <a:gd name="connsiteY43" fmla="*/ 424505 h 3211589"/>
              <a:gd name="connsiteX44" fmla="*/ 9425760 w 12182565"/>
              <a:gd name="connsiteY44" fmla="*/ 356505 h 3211589"/>
              <a:gd name="connsiteX45" fmla="*/ 9091520 w 12182565"/>
              <a:gd name="connsiteY45" fmla="*/ 287225 h 3211589"/>
              <a:gd name="connsiteX46" fmla="*/ 9014880 w 12182565"/>
              <a:gd name="connsiteY46" fmla="*/ 257785 h 3211589"/>
              <a:gd name="connsiteX47" fmla="*/ 9011840 w 12182565"/>
              <a:gd name="connsiteY47" fmla="*/ 256345 h 3211589"/>
              <a:gd name="connsiteX48" fmla="*/ 9009760 w 12182565"/>
              <a:gd name="connsiteY48" fmla="*/ 255865 h 3211589"/>
              <a:gd name="connsiteX49" fmla="*/ 8883840 w 12182565"/>
              <a:gd name="connsiteY49" fmla="*/ 205785 h 3211589"/>
              <a:gd name="connsiteX50" fmla="*/ 8882080 w 12182565"/>
              <a:gd name="connsiteY50" fmla="*/ 204985 h 3211589"/>
              <a:gd name="connsiteX51" fmla="*/ 8880960 w 12182565"/>
              <a:gd name="connsiteY51" fmla="*/ 204665 h 3211589"/>
              <a:gd name="connsiteX52" fmla="*/ 8876160 w 12182565"/>
              <a:gd name="connsiteY52" fmla="*/ 202745 h 3211589"/>
              <a:gd name="connsiteX53" fmla="*/ 8826400 w 12182565"/>
              <a:gd name="connsiteY53" fmla="*/ 182905 h 3211589"/>
              <a:gd name="connsiteX54" fmla="*/ 8823520 w 12182565"/>
              <a:gd name="connsiteY54" fmla="*/ 181305 h 3211589"/>
              <a:gd name="connsiteX55" fmla="*/ 8820320 w 12182565"/>
              <a:gd name="connsiteY55" fmla="*/ 180345 h 3211589"/>
              <a:gd name="connsiteX56" fmla="*/ 8726560 w 12182565"/>
              <a:gd name="connsiteY56" fmla="*/ 143385 h 3211589"/>
              <a:gd name="connsiteX57" fmla="*/ 9101440 w 12182565"/>
              <a:gd name="connsiteY57" fmla="*/ 227385 h 3211589"/>
              <a:gd name="connsiteX58" fmla="*/ 9750080 w 12182565"/>
              <a:gd name="connsiteY58" fmla="*/ 298105 h 3211589"/>
              <a:gd name="connsiteX59" fmla="*/ 9774400 w 12182565"/>
              <a:gd name="connsiteY59" fmla="*/ 303385 h 3211589"/>
              <a:gd name="connsiteX60" fmla="*/ 10289121 w 12182565"/>
              <a:gd name="connsiteY60" fmla="*/ 452825 h 3211589"/>
              <a:gd name="connsiteX61" fmla="*/ 10445760 w 12182565"/>
              <a:gd name="connsiteY61" fmla="*/ 529465 h 3211589"/>
              <a:gd name="connsiteX62" fmla="*/ 10672640 w 12182565"/>
              <a:gd name="connsiteY62" fmla="*/ 625625 h 3211589"/>
              <a:gd name="connsiteX63" fmla="*/ 11024000 w 12182565"/>
              <a:gd name="connsiteY63" fmla="*/ 744825 h 3211589"/>
              <a:gd name="connsiteX64" fmla="*/ 6841920 w 12182565"/>
              <a:gd name="connsiteY64" fmla="*/ 767865 h 3211589"/>
              <a:gd name="connsiteX65" fmla="*/ 6716480 w 12182565"/>
              <a:gd name="connsiteY65" fmla="*/ 663225 h 3211589"/>
              <a:gd name="connsiteX66" fmla="*/ 7078881 w 12182565"/>
              <a:gd name="connsiteY66" fmla="*/ 437625 h 3211589"/>
              <a:gd name="connsiteX67" fmla="*/ 7841600 w 12182565"/>
              <a:gd name="connsiteY67" fmla="*/ 99065 h 3211589"/>
              <a:gd name="connsiteX68" fmla="*/ 8616320 w 12182565"/>
              <a:gd name="connsiteY68" fmla="*/ 115385 h 3211589"/>
              <a:gd name="connsiteX69" fmla="*/ 8702080 w 12182565"/>
              <a:gd name="connsiteY69" fmla="*/ 151225 h 3211589"/>
              <a:gd name="connsiteX70" fmla="*/ 8346720 w 12182565"/>
              <a:gd name="connsiteY70" fmla="*/ 118265 h 3211589"/>
              <a:gd name="connsiteX71" fmla="*/ 8191840 w 12182565"/>
              <a:gd name="connsiteY71" fmla="*/ 123385 h 3211589"/>
              <a:gd name="connsiteX72" fmla="*/ 7619680 w 12182565"/>
              <a:gd name="connsiteY72" fmla="*/ 228505 h 3211589"/>
              <a:gd name="connsiteX73" fmla="*/ 7129920 w 12182565"/>
              <a:gd name="connsiteY73" fmla="*/ 551545 h 3211589"/>
              <a:gd name="connsiteX74" fmla="*/ 6841920 w 12182565"/>
              <a:gd name="connsiteY74" fmla="*/ 767865 h 3211589"/>
              <a:gd name="connsiteX75" fmla="*/ 11078880 w 12182565"/>
              <a:gd name="connsiteY75" fmla="*/ 792505 h 3211589"/>
              <a:gd name="connsiteX76" fmla="*/ 10958080 w 12182565"/>
              <a:gd name="connsiteY76" fmla="*/ 755865 h 3211589"/>
              <a:gd name="connsiteX77" fmla="*/ 10673760 w 12182565"/>
              <a:gd name="connsiteY77" fmla="*/ 739065 h 3211589"/>
              <a:gd name="connsiteX78" fmla="*/ 10632960 w 12182565"/>
              <a:gd name="connsiteY78" fmla="*/ 738105 h 3211589"/>
              <a:gd name="connsiteX79" fmla="*/ 10469600 w 12182565"/>
              <a:gd name="connsiteY79" fmla="*/ 708345 h 3211589"/>
              <a:gd name="connsiteX80" fmla="*/ 10413920 w 12182565"/>
              <a:gd name="connsiteY80" fmla="*/ 693145 h 3211589"/>
              <a:gd name="connsiteX81" fmla="*/ 10229600 w 12182565"/>
              <a:gd name="connsiteY81" fmla="*/ 640825 h 3211589"/>
              <a:gd name="connsiteX82" fmla="*/ 10100320 w 12182565"/>
              <a:gd name="connsiteY82" fmla="*/ 603225 h 3211589"/>
              <a:gd name="connsiteX83" fmla="*/ 9689440 w 12182565"/>
              <a:gd name="connsiteY83" fmla="*/ 508025 h 3211589"/>
              <a:gd name="connsiteX84" fmla="*/ 9553600 w 12182565"/>
              <a:gd name="connsiteY84" fmla="*/ 490425 h 3211589"/>
              <a:gd name="connsiteX85" fmla="*/ 9330240 w 12182565"/>
              <a:gd name="connsiteY85" fmla="*/ 402745 h 3211589"/>
              <a:gd name="connsiteX86" fmla="*/ 9300160 w 12182565"/>
              <a:gd name="connsiteY86" fmla="*/ 392345 h 3211589"/>
              <a:gd name="connsiteX87" fmla="*/ 9254560 w 12182565"/>
              <a:gd name="connsiteY87" fmla="*/ 366265 h 3211589"/>
              <a:gd name="connsiteX88" fmla="*/ 9247520 w 12182565"/>
              <a:gd name="connsiteY88" fmla="*/ 360345 h 3211589"/>
              <a:gd name="connsiteX89" fmla="*/ 9244640 w 12182565"/>
              <a:gd name="connsiteY89" fmla="*/ 360185 h 3211589"/>
              <a:gd name="connsiteX90" fmla="*/ 9192320 w 12182565"/>
              <a:gd name="connsiteY90" fmla="*/ 329465 h 3211589"/>
              <a:gd name="connsiteX91" fmla="*/ 9424000 w 12182565"/>
              <a:gd name="connsiteY91" fmla="*/ 372345 h 3211589"/>
              <a:gd name="connsiteX92" fmla="*/ 9862080 w 12182565"/>
              <a:gd name="connsiteY92" fmla="*/ 439385 h 3211589"/>
              <a:gd name="connsiteX93" fmla="*/ 10399200 w 12182565"/>
              <a:gd name="connsiteY93" fmla="*/ 608345 h 3211589"/>
              <a:gd name="connsiteX94" fmla="*/ 10491680 w 12182565"/>
              <a:gd name="connsiteY94" fmla="*/ 636985 h 3211589"/>
              <a:gd name="connsiteX95" fmla="*/ 10736160 w 12182565"/>
              <a:gd name="connsiteY95" fmla="*/ 696505 h 3211589"/>
              <a:gd name="connsiteX96" fmla="*/ 10862240 w 12182565"/>
              <a:gd name="connsiteY96" fmla="*/ 720345 h 3211589"/>
              <a:gd name="connsiteX97" fmla="*/ 10953760 w 12182565"/>
              <a:gd name="connsiteY97" fmla="*/ 740345 h 3211589"/>
              <a:gd name="connsiteX98" fmla="*/ 11078880 w 12182565"/>
              <a:gd name="connsiteY98" fmla="*/ 792505 h 3211589"/>
              <a:gd name="connsiteX99" fmla="*/ 10554720 w 12182565"/>
              <a:gd name="connsiteY99" fmla="*/ 808825 h 3211589"/>
              <a:gd name="connsiteX100" fmla="*/ 10362080 w 12182565"/>
              <a:gd name="connsiteY100" fmla="*/ 784345 h 3211589"/>
              <a:gd name="connsiteX101" fmla="*/ 10287040 w 12182565"/>
              <a:gd name="connsiteY101" fmla="*/ 766425 h 3211589"/>
              <a:gd name="connsiteX102" fmla="*/ 10019680 w 12182565"/>
              <a:gd name="connsiteY102" fmla="*/ 712665 h 3211589"/>
              <a:gd name="connsiteX103" fmla="*/ 9768640 w 12182565"/>
              <a:gd name="connsiteY103" fmla="*/ 612665 h 3211589"/>
              <a:gd name="connsiteX104" fmla="*/ 9627360 w 12182565"/>
              <a:gd name="connsiteY104" fmla="*/ 524185 h 3211589"/>
              <a:gd name="connsiteX105" fmla="*/ 9596960 w 12182565"/>
              <a:gd name="connsiteY105" fmla="*/ 510105 h 3211589"/>
              <a:gd name="connsiteX106" fmla="*/ 9686400 w 12182565"/>
              <a:gd name="connsiteY106" fmla="*/ 524025 h 3211589"/>
              <a:gd name="connsiteX107" fmla="*/ 10096160 w 12182565"/>
              <a:gd name="connsiteY107" fmla="*/ 619065 h 3211589"/>
              <a:gd name="connsiteX108" fmla="*/ 10225121 w 12182565"/>
              <a:gd name="connsiteY108" fmla="*/ 656665 h 3211589"/>
              <a:gd name="connsiteX109" fmla="*/ 10410400 w 12182565"/>
              <a:gd name="connsiteY109" fmla="*/ 709305 h 3211589"/>
              <a:gd name="connsiteX110" fmla="*/ 10465280 w 12182565"/>
              <a:gd name="connsiteY110" fmla="*/ 724185 h 3211589"/>
              <a:gd name="connsiteX111" fmla="*/ 10632800 w 12182565"/>
              <a:gd name="connsiteY111" fmla="*/ 754585 h 3211589"/>
              <a:gd name="connsiteX112" fmla="*/ 10673600 w 12182565"/>
              <a:gd name="connsiteY112" fmla="*/ 755545 h 3211589"/>
              <a:gd name="connsiteX113" fmla="*/ 10954240 w 12182565"/>
              <a:gd name="connsiteY113" fmla="*/ 771865 h 3211589"/>
              <a:gd name="connsiteX114" fmla="*/ 11020640 w 12182565"/>
              <a:gd name="connsiteY114" fmla="*/ 791545 h 3211589"/>
              <a:gd name="connsiteX115" fmla="*/ 10727040 w 12182565"/>
              <a:gd name="connsiteY115" fmla="*/ 784185 h 3211589"/>
              <a:gd name="connsiteX116" fmla="*/ 10672960 w 12182565"/>
              <a:gd name="connsiteY116" fmla="*/ 792665 h 3211589"/>
              <a:gd name="connsiteX117" fmla="*/ 10554720 w 12182565"/>
              <a:gd name="connsiteY117" fmla="*/ 808825 h 3211589"/>
              <a:gd name="connsiteX118" fmla="*/ 11720030 w 12182565"/>
              <a:gd name="connsiteY118" fmla="*/ 838040 h 3211589"/>
              <a:gd name="connsiteX119" fmla="*/ 11798880 w 12182565"/>
              <a:gd name="connsiteY119" fmla="*/ 837945 h 3211589"/>
              <a:gd name="connsiteX120" fmla="*/ 12167520 w 12182565"/>
              <a:gd name="connsiteY120" fmla="*/ 825625 h 3211589"/>
              <a:gd name="connsiteX121" fmla="*/ 12175360 w 12182565"/>
              <a:gd name="connsiteY121" fmla="*/ 817465 h 3211589"/>
              <a:gd name="connsiteX122" fmla="*/ 12167360 w 12182565"/>
              <a:gd name="connsiteY122" fmla="*/ 809465 h 3211589"/>
              <a:gd name="connsiteX123" fmla="*/ 12167200 w 12182565"/>
              <a:gd name="connsiteY123" fmla="*/ 809465 h 3211589"/>
              <a:gd name="connsiteX124" fmla="*/ 11797600 w 12182565"/>
              <a:gd name="connsiteY124" fmla="*/ 821785 h 3211589"/>
              <a:gd name="connsiteX125" fmla="*/ 11479840 w 12182565"/>
              <a:gd name="connsiteY125" fmla="*/ 787865 h 3211589"/>
              <a:gd name="connsiteX126" fmla="*/ 11440640 w 12182565"/>
              <a:gd name="connsiteY126" fmla="*/ 780665 h 3211589"/>
              <a:gd name="connsiteX127" fmla="*/ 11386880 w 12182565"/>
              <a:gd name="connsiteY127" fmla="*/ 772185 h 3211589"/>
              <a:gd name="connsiteX128" fmla="*/ 10967840 w 12182565"/>
              <a:gd name="connsiteY128" fmla="*/ 638105 h 3211589"/>
              <a:gd name="connsiteX129" fmla="*/ 10819680 w 12182565"/>
              <a:gd name="connsiteY129" fmla="*/ 506905 h 3211589"/>
              <a:gd name="connsiteX130" fmla="*/ 10614400 w 12182565"/>
              <a:gd name="connsiteY130" fmla="*/ 320665 h 3211589"/>
              <a:gd name="connsiteX131" fmla="*/ 10579520 w 12182565"/>
              <a:gd name="connsiteY131" fmla="*/ 280505 h 3211589"/>
              <a:gd name="connsiteX132" fmla="*/ 10276351 w 12182565"/>
              <a:gd name="connsiteY132" fmla="*/ 12299 h 3211589"/>
              <a:gd name="connsiteX133" fmla="*/ 10253844 w 12182565"/>
              <a:gd name="connsiteY133" fmla="*/ 0 h 3211589"/>
              <a:gd name="connsiteX134" fmla="*/ 10219846 w 12182565"/>
              <a:gd name="connsiteY134" fmla="*/ 0 h 3211589"/>
              <a:gd name="connsiteX135" fmla="*/ 10267475 w 12182565"/>
              <a:gd name="connsiteY135" fmla="*/ 26013 h 3211589"/>
              <a:gd name="connsiteX136" fmla="*/ 10566880 w 12182565"/>
              <a:gd name="connsiteY136" fmla="*/ 290905 h 3211589"/>
              <a:gd name="connsiteX137" fmla="*/ 10602560 w 12182565"/>
              <a:gd name="connsiteY137" fmla="*/ 331865 h 3211589"/>
              <a:gd name="connsiteX138" fmla="*/ 10786880 w 12182565"/>
              <a:gd name="connsiteY138" fmla="*/ 500345 h 3211589"/>
              <a:gd name="connsiteX139" fmla="*/ 10583680 w 12182565"/>
              <a:gd name="connsiteY139" fmla="*/ 342425 h 3211589"/>
              <a:gd name="connsiteX140" fmla="*/ 10527360 w 12182565"/>
              <a:gd name="connsiteY140" fmla="*/ 290905 h 3211589"/>
              <a:gd name="connsiteX141" fmla="*/ 10192160 w 12182565"/>
              <a:gd name="connsiteY141" fmla="*/ 76985 h 3211589"/>
              <a:gd name="connsiteX142" fmla="*/ 10044045 w 12182565"/>
              <a:gd name="connsiteY142" fmla="*/ 9545 h 3211589"/>
              <a:gd name="connsiteX143" fmla="*/ 10014216 w 12182565"/>
              <a:gd name="connsiteY143" fmla="*/ 0 h 3211589"/>
              <a:gd name="connsiteX144" fmla="*/ 9960991 w 12182565"/>
              <a:gd name="connsiteY144" fmla="*/ 0 h 3211589"/>
              <a:gd name="connsiteX145" fmla="*/ 10043388 w 12182565"/>
              <a:gd name="connsiteY145" fmla="*/ 26603 h 3211589"/>
              <a:gd name="connsiteX146" fmla="*/ 10184640 w 12182565"/>
              <a:gd name="connsiteY146" fmla="*/ 90905 h 3211589"/>
              <a:gd name="connsiteX147" fmla="*/ 10517760 w 12182565"/>
              <a:gd name="connsiteY147" fmla="*/ 303385 h 3211589"/>
              <a:gd name="connsiteX148" fmla="*/ 10572960 w 12182565"/>
              <a:gd name="connsiteY148" fmla="*/ 353945 h 3211589"/>
              <a:gd name="connsiteX149" fmla="*/ 10833440 w 12182565"/>
              <a:gd name="connsiteY149" fmla="*/ 540985 h 3211589"/>
              <a:gd name="connsiteX150" fmla="*/ 10834240 w 12182565"/>
              <a:gd name="connsiteY150" fmla="*/ 541145 h 3211589"/>
              <a:gd name="connsiteX151" fmla="*/ 10900960 w 12182565"/>
              <a:gd name="connsiteY151" fmla="*/ 599865 h 3211589"/>
              <a:gd name="connsiteX152" fmla="*/ 10768800 w 12182565"/>
              <a:gd name="connsiteY152" fmla="*/ 530745 h 3211589"/>
              <a:gd name="connsiteX153" fmla="*/ 10585121 w 12182565"/>
              <a:gd name="connsiteY153" fmla="*/ 425625 h 3211589"/>
              <a:gd name="connsiteX154" fmla="*/ 10383520 w 12182565"/>
              <a:gd name="connsiteY154" fmla="*/ 304025 h 3211589"/>
              <a:gd name="connsiteX155" fmla="*/ 9813121 w 12182565"/>
              <a:gd name="connsiteY155" fmla="*/ 62105 h 3211589"/>
              <a:gd name="connsiteX156" fmla="*/ 9496180 w 12182565"/>
              <a:gd name="connsiteY156" fmla="*/ 1545 h 3211589"/>
              <a:gd name="connsiteX157" fmla="*/ 9482946 w 12182565"/>
              <a:gd name="connsiteY157" fmla="*/ 0 h 3211589"/>
              <a:gd name="connsiteX158" fmla="*/ 9341691 w 12182565"/>
              <a:gd name="connsiteY158" fmla="*/ 0 h 3211589"/>
              <a:gd name="connsiteX159" fmla="*/ 9480280 w 12182565"/>
              <a:gd name="connsiteY159" fmla="*/ 15885 h 3211589"/>
              <a:gd name="connsiteX160" fmla="*/ 9809280 w 12182565"/>
              <a:gd name="connsiteY160" fmla="*/ 77625 h 3211589"/>
              <a:gd name="connsiteX161" fmla="*/ 10375840 w 12182565"/>
              <a:gd name="connsiteY161" fmla="*/ 317945 h 3211589"/>
              <a:gd name="connsiteX162" fmla="*/ 10577440 w 12182565"/>
              <a:gd name="connsiteY162" fmla="*/ 439385 h 3211589"/>
              <a:gd name="connsiteX163" fmla="*/ 10763040 w 12182565"/>
              <a:gd name="connsiteY163" fmla="*/ 545465 h 3211589"/>
              <a:gd name="connsiteX164" fmla="*/ 10958240 w 12182565"/>
              <a:gd name="connsiteY164" fmla="*/ 650745 h 3211589"/>
              <a:gd name="connsiteX165" fmla="*/ 11384800 w 12182565"/>
              <a:gd name="connsiteY165" fmla="*/ 788185 h 3211589"/>
              <a:gd name="connsiteX166" fmla="*/ 11438080 w 12182565"/>
              <a:gd name="connsiteY166" fmla="*/ 796505 h 3211589"/>
              <a:gd name="connsiteX167" fmla="*/ 11477121 w 12182565"/>
              <a:gd name="connsiteY167" fmla="*/ 803705 h 3211589"/>
              <a:gd name="connsiteX168" fmla="*/ 11720030 w 12182565"/>
              <a:gd name="connsiteY168" fmla="*/ 838040 h 3211589"/>
              <a:gd name="connsiteX169" fmla="*/ 6949600 w 12182565"/>
              <a:gd name="connsiteY169" fmla="*/ 894105 h 3211589"/>
              <a:gd name="connsiteX170" fmla="*/ 6871520 w 12182565"/>
              <a:gd name="connsiteY170" fmla="*/ 795065 h 3211589"/>
              <a:gd name="connsiteX171" fmla="*/ 6855520 w 12182565"/>
              <a:gd name="connsiteY171" fmla="*/ 780345 h 3211589"/>
              <a:gd name="connsiteX172" fmla="*/ 7142400 w 12182565"/>
              <a:gd name="connsiteY172" fmla="*/ 561945 h 3211589"/>
              <a:gd name="connsiteX173" fmla="*/ 7625120 w 12182565"/>
              <a:gd name="connsiteY173" fmla="*/ 243705 h 3211589"/>
              <a:gd name="connsiteX174" fmla="*/ 8193121 w 12182565"/>
              <a:gd name="connsiteY174" fmla="*/ 139545 h 3211589"/>
              <a:gd name="connsiteX175" fmla="*/ 8726560 w 12182565"/>
              <a:gd name="connsiteY175" fmla="*/ 173145 h 3211589"/>
              <a:gd name="connsiteX176" fmla="*/ 8523680 w 12182565"/>
              <a:gd name="connsiteY176" fmla="*/ 157145 h 3211589"/>
              <a:gd name="connsiteX177" fmla="*/ 7813440 w 12182565"/>
              <a:gd name="connsiteY177" fmla="*/ 241785 h 3211589"/>
              <a:gd name="connsiteX178" fmla="*/ 7150240 w 12182565"/>
              <a:gd name="connsiteY178" fmla="*/ 704665 h 3211589"/>
              <a:gd name="connsiteX179" fmla="*/ 6949600 w 12182565"/>
              <a:gd name="connsiteY179" fmla="*/ 894105 h 3211589"/>
              <a:gd name="connsiteX180" fmla="*/ 10515360 w 12182565"/>
              <a:gd name="connsiteY180" fmla="*/ 898425 h 3211589"/>
              <a:gd name="connsiteX181" fmla="*/ 10219680 w 12182565"/>
              <a:gd name="connsiteY181" fmla="*/ 854905 h 3211589"/>
              <a:gd name="connsiteX182" fmla="*/ 10206400 w 12182565"/>
              <a:gd name="connsiteY182" fmla="*/ 851545 h 3211589"/>
              <a:gd name="connsiteX183" fmla="*/ 9950400 w 12182565"/>
              <a:gd name="connsiteY183" fmla="*/ 814745 h 3211589"/>
              <a:gd name="connsiteX184" fmla="*/ 9938080 w 12182565"/>
              <a:gd name="connsiteY184" fmla="*/ 813305 h 3211589"/>
              <a:gd name="connsiteX185" fmla="*/ 9802560 w 12182565"/>
              <a:gd name="connsiteY185" fmla="*/ 758265 h 3211589"/>
              <a:gd name="connsiteX186" fmla="*/ 9813760 w 12182565"/>
              <a:gd name="connsiteY186" fmla="*/ 680185 h 3211589"/>
              <a:gd name="connsiteX187" fmla="*/ 9796320 w 12182565"/>
              <a:gd name="connsiteY187" fmla="*/ 644345 h 3211589"/>
              <a:gd name="connsiteX188" fmla="*/ 10016160 w 12182565"/>
              <a:gd name="connsiteY188" fmla="*/ 728185 h 3211589"/>
              <a:gd name="connsiteX189" fmla="*/ 10283840 w 12182565"/>
              <a:gd name="connsiteY189" fmla="*/ 782105 h 3211589"/>
              <a:gd name="connsiteX190" fmla="*/ 10358560 w 12182565"/>
              <a:gd name="connsiteY190" fmla="*/ 800025 h 3211589"/>
              <a:gd name="connsiteX191" fmla="*/ 10555840 w 12182565"/>
              <a:gd name="connsiteY191" fmla="*/ 824825 h 3211589"/>
              <a:gd name="connsiteX192" fmla="*/ 10675680 w 12182565"/>
              <a:gd name="connsiteY192" fmla="*/ 808505 h 3211589"/>
              <a:gd name="connsiteX193" fmla="*/ 10728800 w 12182565"/>
              <a:gd name="connsiteY193" fmla="*/ 800185 h 3211589"/>
              <a:gd name="connsiteX194" fmla="*/ 11152640 w 12182565"/>
              <a:gd name="connsiteY194" fmla="*/ 838265 h 3211589"/>
              <a:gd name="connsiteX195" fmla="*/ 11231680 w 12182565"/>
              <a:gd name="connsiteY195" fmla="*/ 875865 h 3211589"/>
              <a:gd name="connsiteX196" fmla="*/ 11075200 w 12182565"/>
              <a:gd name="connsiteY196" fmla="*/ 835705 h 3211589"/>
              <a:gd name="connsiteX197" fmla="*/ 10736800 w 12182565"/>
              <a:gd name="connsiteY197" fmla="*/ 847065 h 3211589"/>
              <a:gd name="connsiteX198" fmla="*/ 10709600 w 12182565"/>
              <a:gd name="connsiteY198" fmla="*/ 855225 h 3211589"/>
              <a:gd name="connsiteX199" fmla="*/ 10515360 w 12182565"/>
              <a:gd name="connsiteY199" fmla="*/ 898425 h 3211589"/>
              <a:gd name="connsiteX200" fmla="*/ 6932640 w 12182565"/>
              <a:gd name="connsiteY200" fmla="*/ 903545 h 3211589"/>
              <a:gd name="connsiteX201" fmla="*/ 6782881 w 12182565"/>
              <a:gd name="connsiteY201" fmla="*/ 763705 h 3211589"/>
              <a:gd name="connsiteX202" fmla="*/ 6312160 w 12182565"/>
              <a:gd name="connsiteY202" fmla="*/ 502585 h 3211589"/>
              <a:gd name="connsiteX203" fmla="*/ 5329121 w 12182565"/>
              <a:gd name="connsiteY203" fmla="*/ 319225 h 3211589"/>
              <a:gd name="connsiteX204" fmla="*/ 4578881 w 12182565"/>
              <a:gd name="connsiteY204" fmla="*/ 362745 h 3211589"/>
              <a:gd name="connsiteX205" fmla="*/ 4321120 w 12182565"/>
              <a:gd name="connsiteY205" fmla="*/ 390425 h 3211589"/>
              <a:gd name="connsiteX206" fmla="*/ 3933440 w 12182565"/>
              <a:gd name="connsiteY206" fmla="*/ 357305 h 3211589"/>
              <a:gd name="connsiteX207" fmla="*/ 3826880 w 12182565"/>
              <a:gd name="connsiteY207" fmla="*/ 277945 h 3211589"/>
              <a:gd name="connsiteX208" fmla="*/ 3710720 w 12182565"/>
              <a:gd name="connsiteY208" fmla="*/ 208985 h 3211589"/>
              <a:gd name="connsiteX209" fmla="*/ 3844960 w 12182565"/>
              <a:gd name="connsiteY209" fmla="*/ 231385 h 3211589"/>
              <a:gd name="connsiteX210" fmla="*/ 4856640 w 12182565"/>
              <a:gd name="connsiteY210" fmla="*/ 235545 h 3211589"/>
              <a:gd name="connsiteX211" fmla="*/ 6079520 w 12182565"/>
              <a:gd name="connsiteY211" fmla="*/ 367385 h 3211589"/>
              <a:gd name="connsiteX212" fmla="*/ 6860320 w 12182565"/>
              <a:gd name="connsiteY212" fmla="*/ 807065 h 3211589"/>
              <a:gd name="connsiteX213" fmla="*/ 6934720 w 12182565"/>
              <a:gd name="connsiteY213" fmla="*/ 901465 h 3211589"/>
              <a:gd name="connsiteX214" fmla="*/ 6932640 w 12182565"/>
              <a:gd name="connsiteY214" fmla="*/ 903545 h 3211589"/>
              <a:gd name="connsiteX215" fmla="*/ 10455520 w 12182565"/>
              <a:gd name="connsiteY215" fmla="*/ 1006265 h 3211589"/>
              <a:gd name="connsiteX216" fmla="*/ 10223520 w 12182565"/>
              <a:gd name="connsiteY216" fmla="*/ 972825 h 3211589"/>
              <a:gd name="connsiteX217" fmla="*/ 10060160 w 12182565"/>
              <a:gd name="connsiteY217" fmla="*/ 947865 h 3211589"/>
              <a:gd name="connsiteX218" fmla="*/ 9739040 w 12182565"/>
              <a:gd name="connsiteY218" fmla="*/ 878905 h 3211589"/>
              <a:gd name="connsiteX219" fmla="*/ 9788000 w 12182565"/>
              <a:gd name="connsiteY219" fmla="*/ 781785 h 3211589"/>
              <a:gd name="connsiteX220" fmla="*/ 9789920 w 12182565"/>
              <a:gd name="connsiteY220" fmla="*/ 778905 h 3211589"/>
              <a:gd name="connsiteX221" fmla="*/ 9794240 w 12182565"/>
              <a:gd name="connsiteY221" fmla="*/ 772345 h 3211589"/>
              <a:gd name="connsiteX222" fmla="*/ 9936160 w 12182565"/>
              <a:gd name="connsiteY222" fmla="*/ 829465 h 3211589"/>
              <a:gd name="connsiteX223" fmla="*/ 9948480 w 12182565"/>
              <a:gd name="connsiteY223" fmla="*/ 830905 h 3211589"/>
              <a:gd name="connsiteX224" fmla="*/ 10202400 w 12182565"/>
              <a:gd name="connsiteY224" fmla="*/ 867385 h 3211589"/>
              <a:gd name="connsiteX225" fmla="*/ 10215680 w 12182565"/>
              <a:gd name="connsiteY225" fmla="*/ 870745 h 3211589"/>
              <a:gd name="connsiteX226" fmla="*/ 10517121 w 12182565"/>
              <a:gd name="connsiteY226" fmla="*/ 914585 h 3211589"/>
              <a:gd name="connsiteX227" fmla="*/ 10714240 w 12182565"/>
              <a:gd name="connsiteY227" fmla="*/ 870745 h 3211589"/>
              <a:gd name="connsiteX228" fmla="*/ 10741280 w 12182565"/>
              <a:gd name="connsiteY228" fmla="*/ 862745 h 3211589"/>
              <a:gd name="connsiteX229" fmla="*/ 11071360 w 12182565"/>
              <a:gd name="connsiteY229" fmla="*/ 851545 h 3211589"/>
              <a:gd name="connsiteX230" fmla="*/ 11351520 w 12182565"/>
              <a:gd name="connsiteY230" fmla="*/ 924345 h 3211589"/>
              <a:gd name="connsiteX231" fmla="*/ 11352320 w 12182565"/>
              <a:gd name="connsiteY231" fmla="*/ 924825 h 3211589"/>
              <a:gd name="connsiteX232" fmla="*/ 11422720 w 12182565"/>
              <a:gd name="connsiteY232" fmla="*/ 958745 h 3211589"/>
              <a:gd name="connsiteX233" fmla="*/ 11339200 w 12182565"/>
              <a:gd name="connsiteY233" fmla="*/ 934585 h 3211589"/>
              <a:gd name="connsiteX234" fmla="*/ 11231200 w 12182565"/>
              <a:gd name="connsiteY234" fmla="*/ 914745 h 3211589"/>
              <a:gd name="connsiteX235" fmla="*/ 10989121 w 12182565"/>
              <a:gd name="connsiteY235" fmla="*/ 883065 h 3211589"/>
              <a:gd name="connsiteX236" fmla="*/ 10932320 w 12182565"/>
              <a:gd name="connsiteY236" fmla="*/ 886425 h 3211589"/>
              <a:gd name="connsiteX237" fmla="*/ 10750240 w 12182565"/>
              <a:gd name="connsiteY237" fmla="*/ 917145 h 3211589"/>
              <a:gd name="connsiteX238" fmla="*/ 10683520 w 12182565"/>
              <a:gd name="connsiteY238" fmla="*/ 948985 h 3211589"/>
              <a:gd name="connsiteX239" fmla="*/ 10455520 w 12182565"/>
              <a:gd name="connsiteY239" fmla="*/ 1006265 h 3211589"/>
              <a:gd name="connsiteX240" fmla="*/ 6966881 w 12182565"/>
              <a:gd name="connsiteY240" fmla="*/ 1047385 h 3211589"/>
              <a:gd name="connsiteX241" fmla="*/ 6662720 w 12182565"/>
              <a:gd name="connsiteY241" fmla="*/ 748185 h 3211589"/>
              <a:gd name="connsiteX242" fmla="*/ 5876160 w 12182565"/>
              <a:gd name="connsiteY242" fmla="*/ 449785 h 3211589"/>
              <a:gd name="connsiteX243" fmla="*/ 4987520 w 12182565"/>
              <a:gd name="connsiteY243" fmla="*/ 432345 h 3211589"/>
              <a:gd name="connsiteX244" fmla="*/ 4596480 w 12182565"/>
              <a:gd name="connsiteY244" fmla="*/ 499225 h 3211589"/>
              <a:gd name="connsiteX245" fmla="*/ 4410560 w 12182565"/>
              <a:gd name="connsiteY245" fmla="*/ 534105 h 3211589"/>
              <a:gd name="connsiteX246" fmla="*/ 4111040 w 12182565"/>
              <a:gd name="connsiteY246" fmla="*/ 533785 h 3211589"/>
              <a:gd name="connsiteX247" fmla="*/ 4076960 w 12182565"/>
              <a:gd name="connsiteY247" fmla="*/ 498905 h 3211589"/>
              <a:gd name="connsiteX248" fmla="*/ 4040640 w 12182565"/>
              <a:gd name="connsiteY248" fmla="*/ 461785 h 3211589"/>
              <a:gd name="connsiteX249" fmla="*/ 3955040 w 12182565"/>
              <a:gd name="connsiteY249" fmla="*/ 381305 h 3211589"/>
              <a:gd name="connsiteX250" fmla="*/ 4321920 w 12182565"/>
              <a:gd name="connsiteY250" fmla="*/ 406585 h 3211589"/>
              <a:gd name="connsiteX251" fmla="*/ 4580640 w 12182565"/>
              <a:gd name="connsiteY251" fmla="*/ 378745 h 3211589"/>
              <a:gd name="connsiteX252" fmla="*/ 5328160 w 12182565"/>
              <a:gd name="connsiteY252" fmla="*/ 335385 h 3211589"/>
              <a:gd name="connsiteX253" fmla="*/ 6305440 w 12182565"/>
              <a:gd name="connsiteY253" fmla="*/ 517305 h 3211589"/>
              <a:gd name="connsiteX254" fmla="*/ 6772640 w 12182565"/>
              <a:gd name="connsiteY254" fmla="*/ 776185 h 3211589"/>
              <a:gd name="connsiteX255" fmla="*/ 6954881 w 12182565"/>
              <a:gd name="connsiteY255" fmla="*/ 947705 h 3211589"/>
              <a:gd name="connsiteX256" fmla="*/ 6966881 w 12182565"/>
              <a:gd name="connsiteY256" fmla="*/ 1047385 h 3211589"/>
              <a:gd name="connsiteX257" fmla="*/ 6982560 w 12182565"/>
              <a:gd name="connsiteY257" fmla="*/ 1061945 h 3211589"/>
              <a:gd name="connsiteX258" fmla="*/ 6972320 w 12182565"/>
              <a:gd name="connsiteY258" fmla="*/ 946425 h 3211589"/>
              <a:gd name="connsiteX259" fmla="*/ 6970240 w 12182565"/>
              <a:gd name="connsiteY259" fmla="*/ 940185 h 3211589"/>
              <a:gd name="connsiteX260" fmla="*/ 6956960 w 12182565"/>
              <a:gd name="connsiteY260" fmla="*/ 908345 h 3211589"/>
              <a:gd name="connsiteX261" fmla="*/ 7164000 w 12182565"/>
              <a:gd name="connsiteY261" fmla="*/ 712665 h 3211589"/>
              <a:gd name="connsiteX262" fmla="*/ 7816960 w 12182565"/>
              <a:gd name="connsiteY262" fmla="*/ 257465 h 3211589"/>
              <a:gd name="connsiteX263" fmla="*/ 8523520 w 12182565"/>
              <a:gd name="connsiteY263" fmla="*/ 173305 h 3211589"/>
              <a:gd name="connsiteX264" fmla="*/ 8875840 w 12182565"/>
              <a:gd name="connsiteY264" fmla="*/ 219865 h 3211589"/>
              <a:gd name="connsiteX265" fmla="*/ 8925760 w 12182565"/>
              <a:gd name="connsiteY265" fmla="*/ 239385 h 3211589"/>
              <a:gd name="connsiteX266" fmla="*/ 8552640 w 12182565"/>
              <a:gd name="connsiteY266" fmla="*/ 216345 h 3211589"/>
              <a:gd name="connsiteX267" fmla="*/ 8212800 w 12182565"/>
              <a:gd name="connsiteY267" fmla="*/ 231225 h 3211589"/>
              <a:gd name="connsiteX268" fmla="*/ 7628960 w 12182565"/>
              <a:gd name="connsiteY268" fmla="*/ 401305 h 3211589"/>
              <a:gd name="connsiteX269" fmla="*/ 7585280 w 12182565"/>
              <a:gd name="connsiteY269" fmla="*/ 424505 h 3211589"/>
              <a:gd name="connsiteX270" fmla="*/ 7158400 w 12182565"/>
              <a:gd name="connsiteY270" fmla="*/ 883705 h 3211589"/>
              <a:gd name="connsiteX271" fmla="*/ 6982560 w 12182565"/>
              <a:gd name="connsiteY271" fmla="*/ 1061945 h 3211589"/>
              <a:gd name="connsiteX272" fmla="*/ 8320 w 12182565"/>
              <a:gd name="connsiteY272" fmla="*/ 1075545 h 3211589"/>
              <a:gd name="connsiteX273" fmla="*/ 19360 w 12182565"/>
              <a:gd name="connsiteY273" fmla="*/ 1073465 h 3211589"/>
              <a:gd name="connsiteX274" fmla="*/ 490720 w 12182565"/>
              <a:gd name="connsiteY274" fmla="*/ 491705 h 3211589"/>
              <a:gd name="connsiteX275" fmla="*/ 589920 w 12182565"/>
              <a:gd name="connsiteY275" fmla="*/ 407065 h 3211589"/>
              <a:gd name="connsiteX276" fmla="*/ 1166708 w 12182565"/>
              <a:gd name="connsiteY276" fmla="*/ 7825 h 3211589"/>
              <a:gd name="connsiteX277" fmla="*/ 1184915 w 12182565"/>
              <a:gd name="connsiteY277" fmla="*/ 0 h 3211589"/>
              <a:gd name="connsiteX278" fmla="*/ 1147823 w 12182565"/>
              <a:gd name="connsiteY278" fmla="*/ 0 h 3211589"/>
              <a:gd name="connsiteX279" fmla="*/ 920480 w 12182565"/>
              <a:gd name="connsiteY279" fmla="*/ 127985 h 3211589"/>
              <a:gd name="connsiteX280" fmla="*/ 579520 w 12182565"/>
              <a:gd name="connsiteY280" fmla="*/ 394905 h 3211589"/>
              <a:gd name="connsiteX281" fmla="*/ 480800 w 12182565"/>
              <a:gd name="connsiteY281" fmla="*/ 479065 h 3211589"/>
              <a:gd name="connsiteX282" fmla="*/ 6240 w 12182565"/>
              <a:gd name="connsiteY282" fmla="*/ 1064345 h 3211589"/>
              <a:gd name="connsiteX283" fmla="*/ 8320 w 12182565"/>
              <a:gd name="connsiteY283" fmla="*/ 1075545 h 3211589"/>
              <a:gd name="connsiteX284" fmla="*/ 10455200 w 12182565"/>
              <a:gd name="connsiteY284" fmla="*/ 1106905 h 3211589"/>
              <a:gd name="connsiteX285" fmla="*/ 10209280 w 12182565"/>
              <a:gd name="connsiteY285" fmla="*/ 1089145 h 3211589"/>
              <a:gd name="connsiteX286" fmla="*/ 9881760 w 12182565"/>
              <a:gd name="connsiteY286" fmla="*/ 1050745 h 3211589"/>
              <a:gd name="connsiteX287" fmla="*/ 9693760 w 12182565"/>
              <a:gd name="connsiteY287" fmla="*/ 988825 h 3211589"/>
              <a:gd name="connsiteX288" fmla="*/ 9732480 w 12182565"/>
              <a:gd name="connsiteY288" fmla="*/ 893465 h 3211589"/>
              <a:gd name="connsiteX289" fmla="*/ 10059360 w 12182565"/>
              <a:gd name="connsiteY289" fmla="*/ 963705 h 3211589"/>
              <a:gd name="connsiteX290" fmla="*/ 10220320 w 12182565"/>
              <a:gd name="connsiteY290" fmla="*/ 988345 h 3211589"/>
              <a:gd name="connsiteX291" fmla="*/ 10454720 w 12182565"/>
              <a:gd name="connsiteY291" fmla="*/ 1022105 h 3211589"/>
              <a:gd name="connsiteX292" fmla="*/ 10690880 w 12182565"/>
              <a:gd name="connsiteY292" fmla="*/ 963065 h 3211589"/>
              <a:gd name="connsiteX293" fmla="*/ 10756000 w 12182565"/>
              <a:gd name="connsiteY293" fmla="*/ 932025 h 3211589"/>
              <a:gd name="connsiteX294" fmla="*/ 10933121 w 12182565"/>
              <a:gd name="connsiteY294" fmla="*/ 902265 h 3211589"/>
              <a:gd name="connsiteX295" fmla="*/ 10990560 w 12182565"/>
              <a:gd name="connsiteY295" fmla="*/ 898905 h 3211589"/>
              <a:gd name="connsiteX296" fmla="*/ 11228160 w 12182565"/>
              <a:gd name="connsiteY296" fmla="*/ 930425 h 3211589"/>
              <a:gd name="connsiteX297" fmla="*/ 11336640 w 12182565"/>
              <a:gd name="connsiteY297" fmla="*/ 950425 h 3211589"/>
              <a:gd name="connsiteX298" fmla="*/ 11480160 w 12182565"/>
              <a:gd name="connsiteY298" fmla="*/ 1004345 h 3211589"/>
              <a:gd name="connsiteX299" fmla="*/ 11221760 w 12182565"/>
              <a:gd name="connsiteY299" fmla="*/ 960985 h 3211589"/>
              <a:gd name="connsiteX300" fmla="*/ 11006080 w 12182565"/>
              <a:gd name="connsiteY300" fmla="*/ 952185 h 3211589"/>
              <a:gd name="connsiteX301" fmla="*/ 10844320 w 12182565"/>
              <a:gd name="connsiteY301" fmla="*/ 958905 h 3211589"/>
              <a:gd name="connsiteX302" fmla="*/ 10657440 w 12182565"/>
              <a:gd name="connsiteY302" fmla="*/ 1049945 h 3211589"/>
              <a:gd name="connsiteX303" fmla="*/ 10626080 w 12182565"/>
              <a:gd name="connsiteY303" fmla="*/ 1074745 h 3211589"/>
              <a:gd name="connsiteX304" fmla="*/ 10455200 w 12182565"/>
              <a:gd name="connsiteY304" fmla="*/ 1106905 h 3211589"/>
              <a:gd name="connsiteX305" fmla="*/ 8432480 w 12182565"/>
              <a:gd name="connsiteY305" fmla="*/ 1141465 h 3211589"/>
              <a:gd name="connsiteX306" fmla="*/ 8521600 w 12182565"/>
              <a:gd name="connsiteY306" fmla="*/ 1133625 h 3211589"/>
              <a:gd name="connsiteX307" fmla="*/ 8969280 w 12182565"/>
              <a:gd name="connsiteY307" fmla="*/ 1030585 h 3211589"/>
              <a:gd name="connsiteX308" fmla="*/ 9107360 w 12182565"/>
              <a:gd name="connsiteY308" fmla="*/ 978425 h 3211589"/>
              <a:gd name="connsiteX309" fmla="*/ 9287520 w 12182565"/>
              <a:gd name="connsiteY309" fmla="*/ 911065 h 3211589"/>
              <a:gd name="connsiteX310" fmla="*/ 9291520 w 12182565"/>
              <a:gd name="connsiteY310" fmla="*/ 909625 h 3211589"/>
              <a:gd name="connsiteX311" fmla="*/ 9724640 w 12182565"/>
              <a:gd name="connsiteY311" fmla="*/ 871545 h 3211589"/>
              <a:gd name="connsiteX312" fmla="*/ 9690880 w 12182565"/>
              <a:gd name="connsiteY312" fmla="*/ 951225 h 3211589"/>
              <a:gd name="connsiteX313" fmla="*/ 9570400 w 12182565"/>
              <a:gd name="connsiteY313" fmla="*/ 939705 h 3211589"/>
              <a:gd name="connsiteX314" fmla="*/ 9177760 w 12182565"/>
              <a:gd name="connsiteY314" fmla="*/ 1015065 h 3211589"/>
              <a:gd name="connsiteX315" fmla="*/ 9120160 w 12182565"/>
              <a:gd name="connsiteY315" fmla="*/ 1032345 h 3211589"/>
              <a:gd name="connsiteX316" fmla="*/ 8630080 w 12182565"/>
              <a:gd name="connsiteY316" fmla="*/ 1137465 h 3211589"/>
              <a:gd name="connsiteX317" fmla="*/ 8432480 w 12182565"/>
              <a:gd name="connsiteY317" fmla="*/ 1141465 h 3211589"/>
              <a:gd name="connsiteX318" fmla="*/ 4520961 w 12182565"/>
              <a:gd name="connsiteY318" fmla="*/ 1146265 h 3211589"/>
              <a:gd name="connsiteX319" fmla="*/ 4367680 w 12182565"/>
              <a:gd name="connsiteY319" fmla="*/ 1089465 h 3211589"/>
              <a:gd name="connsiteX320" fmla="*/ 4175840 w 12182565"/>
              <a:gd name="connsiteY320" fmla="*/ 1037145 h 3211589"/>
              <a:gd name="connsiteX321" fmla="*/ 3950560 w 12182565"/>
              <a:gd name="connsiteY321" fmla="*/ 945145 h 3211589"/>
              <a:gd name="connsiteX322" fmla="*/ 3639360 w 12182565"/>
              <a:gd name="connsiteY322" fmla="*/ 837465 h 3211589"/>
              <a:gd name="connsiteX323" fmla="*/ 3359200 w 12182565"/>
              <a:gd name="connsiteY323" fmla="*/ 812345 h 3211589"/>
              <a:gd name="connsiteX324" fmla="*/ 3284000 w 12182565"/>
              <a:gd name="connsiteY324" fmla="*/ 809625 h 3211589"/>
              <a:gd name="connsiteX325" fmla="*/ 3269600 w 12182565"/>
              <a:gd name="connsiteY325" fmla="*/ 808985 h 3211589"/>
              <a:gd name="connsiteX326" fmla="*/ 3028320 w 12182565"/>
              <a:gd name="connsiteY326" fmla="*/ 802265 h 3211589"/>
              <a:gd name="connsiteX327" fmla="*/ 2873920 w 12182565"/>
              <a:gd name="connsiteY327" fmla="*/ 807225 h 3211589"/>
              <a:gd name="connsiteX328" fmla="*/ 2634560 w 12182565"/>
              <a:gd name="connsiteY328" fmla="*/ 899545 h 3211589"/>
              <a:gd name="connsiteX329" fmla="*/ 2615520 w 12182565"/>
              <a:gd name="connsiteY329" fmla="*/ 913625 h 3211589"/>
              <a:gd name="connsiteX330" fmla="*/ 2430720 w 12182565"/>
              <a:gd name="connsiteY330" fmla="*/ 1042905 h 3211589"/>
              <a:gd name="connsiteX331" fmla="*/ 2352000 w 12182565"/>
              <a:gd name="connsiteY331" fmla="*/ 1065305 h 3211589"/>
              <a:gd name="connsiteX332" fmla="*/ 2532160 w 12182565"/>
              <a:gd name="connsiteY332" fmla="*/ 928665 h 3211589"/>
              <a:gd name="connsiteX333" fmla="*/ 2540480 w 12182565"/>
              <a:gd name="connsiteY333" fmla="*/ 921625 h 3211589"/>
              <a:gd name="connsiteX334" fmla="*/ 2878400 w 12182565"/>
              <a:gd name="connsiteY334" fmla="*/ 778265 h 3211589"/>
              <a:gd name="connsiteX335" fmla="*/ 3396640 w 12182565"/>
              <a:gd name="connsiteY335" fmla="*/ 760505 h 3211589"/>
              <a:gd name="connsiteX336" fmla="*/ 3448000 w 12182565"/>
              <a:gd name="connsiteY336" fmla="*/ 760825 h 3211589"/>
              <a:gd name="connsiteX337" fmla="*/ 3792000 w 12182565"/>
              <a:gd name="connsiteY337" fmla="*/ 834905 h 3211589"/>
              <a:gd name="connsiteX338" fmla="*/ 4023680 w 12182565"/>
              <a:gd name="connsiteY338" fmla="*/ 936985 h 3211589"/>
              <a:gd name="connsiteX339" fmla="*/ 4126880 w 12182565"/>
              <a:gd name="connsiteY339" fmla="*/ 982105 h 3211589"/>
              <a:gd name="connsiteX340" fmla="*/ 4151360 w 12182565"/>
              <a:gd name="connsiteY340" fmla="*/ 994105 h 3211589"/>
              <a:gd name="connsiteX341" fmla="*/ 4320960 w 12182565"/>
              <a:gd name="connsiteY341" fmla="*/ 1062745 h 3211589"/>
              <a:gd name="connsiteX342" fmla="*/ 4495200 w 12182565"/>
              <a:gd name="connsiteY342" fmla="*/ 1129305 h 3211589"/>
              <a:gd name="connsiteX343" fmla="*/ 4520961 w 12182565"/>
              <a:gd name="connsiteY343" fmla="*/ 1146265 h 3211589"/>
              <a:gd name="connsiteX344" fmla="*/ 2197120 w 12182565"/>
              <a:gd name="connsiteY344" fmla="*/ 1148345 h 3211589"/>
              <a:gd name="connsiteX345" fmla="*/ 2276480 w 12182565"/>
              <a:gd name="connsiteY345" fmla="*/ 1062265 h 3211589"/>
              <a:gd name="connsiteX346" fmla="*/ 2387680 w 12182565"/>
              <a:gd name="connsiteY346" fmla="*/ 979065 h 3211589"/>
              <a:gd name="connsiteX347" fmla="*/ 2439200 w 12182565"/>
              <a:gd name="connsiteY347" fmla="*/ 937785 h 3211589"/>
              <a:gd name="connsiteX348" fmla="*/ 2471040 w 12182565"/>
              <a:gd name="connsiteY348" fmla="*/ 906905 h 3211589"/>
              <a:gd name="connsiteX349" fmla="*/ 2701440 w 12182565"/>
              <a:gd name="connsiteY349" fmla="*/ 762585 h 3211589"/>
              <a:gd name="connsiteX350" fmla="*/ 3046400 w 12182565"/>
              <a:gd name="connsiteY350" fmla="*/ 713145 h 3211589"/>
              <a:gd name="connsiteX351" fmla="*/ 3494560 w 12182565"/>
              <a:gd name="connsiteY351" fmla="*/ 691385 h 3211589"/>
              <a:gd name="connsiteX352" fmla="*/ 3899360 w 12182565"/>
              <a:gd name="connsiteY352" fmla="*/ 801945 h 3211589"/>
              <a:gd name="connsiteX353" fmla="*/ 4032800 w 12182565"/>
              <a:gd name="connsiteY353" fmla="*/ 877145 h 3211589"/>
              <a:gd name="connsiteX354" fmla="*/ 4219840 w 12182565"/>
              <a:gd name="connsiteY354" fmla="*/ 975865 h 3211589"/>
              <a:gd name="connsiteX355" fmla="*/ 4428960 w 12182565"/>
              <a:gd name="connsiteY355" fmla="*/ 1061465 h 3211589"/>
              <a:gd name="connsiteX356" fmla="*/ 4448480 w 12182565"/>
              <a:gd name="connsiteY356" fmla="*/ 1076025 h 3211589"/>
              <a:gd name="connsiteX357" fmla="*/ 4497600 w 12182565"/>
              <a:gd name="connsiteY357" fmla="*/ 1112185 h 3211589"/>
              <a:gd name="connsiteX358" fmla="*/ 4324160 w 12182565"/>
              <a:gd name="connsiteY358" fmla="*/ 1047065 h 3211589"/>
              <a:gd name="connsiteX359" fmla="*/ 4158720 w 12182565"/>
              <a:gd name="connsiteY359" fmla="*/ 979865 h 3211589"/>
              <a:gd name="connsiteX360" fmla="*/ 4133920 w 12182565"/>
              <a:gd name="connsiteY360" fmla="*/ 967865 h 3211589"/>
              <a:gd name="connsiteX361" fmla="*/ 4030240 w 12182565"/>
              <a:gd name="connsiteY361" fmla="*/ 922425 h 3211589"/>
              <a:gd name="connsiteX362" fmla="*/ 3798880 w 12182565"/>
              <a:gd name="connsiteY362" fmla="*/ 820505 h 3211589"/>
              <a:gd name="connsiteX363" fmla="*/ 3448320 w 12182565"/>
              <a:gd name="connsiteY363" fmla="*/ 744825 h 3211589"/>
              <a:gd name="connsiteX364" fmla="*/ 3397120 w 12182565"/>
              <a:gd name="connsiteY364" fmla="*/ 744505 h 3211589"/>
              <a:gd name="connsiteX365" fmla="*/ 3283040 w 12182565"/>
              <a:gd name="connsiteY365" fmla="*/ 743865 h 3211589"/>
              <a:gd name="connsiteX366" fmla="*/ 2876800 w 12182565"/>
              <a:gd name="connsiteY366" fmla="*/ 762425 h 3211589"/>
              <a:gd name="connsiteX367" fmla="*/ 2530400 w 12182565"/>
              <a:gd name="connsiteY367" fmla="*/ 909465 h 3211589"/>
              <a:gd name="connsiteX368" fmla="*/ 2522080 w 12182565"/>
              <a:gd name="connsiteY368" fmla="*/ 916505 h 3211589"/>
              <a:gd name="connsiteX369" fmla="*/ 2279040 w 12182565"/>
              <a:gd name="connsiteY369" fmla="*/ 1096185 h 3211589"/>
              <a:gd name="connsiteX370" fmla="*/ 2277920 w 12182565"/>
              <a:gd name="connsiteY370" fmla="*/ 1097305 h 3211589"/>
              <a:gd name="connsiteX371" fmla="*/ 2240160 w 12182565"/>
              <a:gd name="connsiteY371" fmla="*/ 1116185 h 3211589"/>
              <a:gd name="connsiteX372" fmla="*/ 2197120 w 12182565"/>
              <a:gd name="connsiteY372" fmla="*/ 1148345 h 3211589"/>
              <a:gd name="connsiteX373" fmla="*/ 6942080 w 12182565"/>
              <a:gd name="connsiteY373" fmla="*/ 1150265 h 3211589"/>
              <a:gd name="connsiteX374" fmla="*/ 6800800 w 12182565"/>
              <a:gd name="connsiteY374" fmla="*/ 950905 h 3211589"/>
              <a:gd name="connsiteX375" fmla="*/ 6477920 w 12182565"/>
              <a:gd name="connsiteY375" fmla="*/ 729625 h 3211589"/>
              <a:gd name="connsiteX376" fmla="*/ 5795680 w 12182565"/>
              <a:gd name="connsiteY376" fmla="*/ 522425 h 3211589"/>
              <a:gd name="connsiteX377" fmla="*/ 4938720 w 12182565"/>
              <a:gd name="connsiteY377" fmla="*/ 572025 h 3211589"/>
              <a:gd name="connsiteX378" fmla="*/ 4755360 w 12182565"/>
              <a:gd name="connsiteY378" fmla="*/ 614105 h 3211589"/>
              <a:gd name="connsiteX379" fmla="*/ 4399680 w 12182565"/>
              <a:gd name="connsiteY379" fmla="*/ 690265 h 3211589"/>
              <a:gd name="connsiteX380" fmla="*/ 4203841 w 12182565"/>
              <a:gd name="connsiteY380" fmla="*/ 671705 h 3211589"/>
              <a:gd name="connsiteX381" fmla="*/ 4123200 w 12182565"/>
              <a:gd name="connsiteY381" fmla="*/ 551545 h 3211589"/>
              <a:gd name="connsiteX382" fmla="*/ 4412960 w 12182565"/>
              <a:gd name="connsiteY382" fmla="*/ 550105 h 3211589"/>
              <a:gd name="connsiteX383" fmla="*/ 4599360 w 12182565"/>
              <a:gd name="connsiteY383" fmla="*/ 515225 h 3211589"/>
              <a:gd name="connsiteX384" fmla="*/ 4989120 w 12182565"/>
              <a:gd name="connsiteY384" fmla="*/ 448505 h 3211589"/>
              <a:gd name="connsiteX385" fmla="*/ 5873120 w 12182565"/>
              <a:gd name="connsiteY385" fmla="*/ 465625 h 3211589"/>
              <a:gd name="connsiteX386" fmla="*/ 6654240 w 12182565"/>
              <a:gd name="connsiteY386" fmla="*/ 761945 h 3211589"/>
              <a:gd name="connsiteX387" fmla="*/ 6962720 w 12182565"/>
              <a:gd name="connsiteY387" fmla="*/ 1079225 h 3211589"/>
              <a:gd name="connsiteX388" fmla="*/ 6942080 w 12182565"/>
              <a:gd name="connsiteY388" fmla="*/ 1150265 h 3211589"/>
              <a:gd name="connsiteX389" fmla="*/ 8651040 w 12182565"/>
              <a:gd name="connsiteY389" fmla="*/ 1151705 h 3211589"/>
              <a:gd name="connsiteX390" fmla="*/ 9124160 w 12182565"/>
              <a:gd name="connsiteY390" fmla="*/ 1047865 h 3211589"/>
              <a:gd name="connsiteX391" fmla="*/ 9182560 w 12182565"/>
              <a:gd name="connsiteY391" fmla="*/ 1030425 h 3211589"/>
              <a:gd name="connsiteX392" fmla="*/ 9684960 w 12182565"/>
              <a:gd name="connsiteY392" fmla="*/ 966585 h 3211589"/>
              <a:gd name="connsiteX393" fmla="*/ 9676320 w 12182565"/>
              <a:gd name="connsiteY393" fmla="*/ 989625 h 3211589"/>
              <a:gd name="connsiteX394" fmla="*/ 9666080 w 12182565"/>
              <a:gd name="connsiteY394" fmla="*/ 1051385 h 3211589"/>
              <a:gd name="connsiteX395" fmla="*/ 9217760 w 12182565"/>
              <a:gd name="connsiteY395" fmla="*/ 1076345 h 3211589"/>
              <a:gd name="connsiteX396" fmla="*/ 8839680 w 12182565"/>
              <a:gd name="connsiteY396" fmla="*/ 1144665 h 3211589"/>
              <a:gd name="connsiteX397" fmla="*/ 8651040 w 12182565"/>
              <a:gd name="connsiteY397" fmla="*/ 1151705 h 3211589"/>
              <a:gd name="connsiteX398" fmla="*/ 8040640 w 12182565"/>
              <a:gd name="connsiteY398" fmla="*/ 1151705 h 3211589"/>
              <a:gd name="connsiteX399" fmla="*/ 8213921 w 12182565"/>
              <a:gd name="connsiteY399" fmla="*/ 1124985 h 3211589"/>
              <a:gd name="connsiteX400" fmla="*/ 8767040 w 12182565"/>
              <a:gd name="connsiteY400" fmla="*/ 1027865 h 3211589"/>
              <a:gd name="connsiteX401" fmla="*/ 9114720 w 12182565"/>
              <a:gd name="connsiteY401" fmla="*/ 896505 h 3211589"/>
              <a:gd name="connsiteX402" fmla="*/ 9347040 w 12182565"/>
              <a:gd name="connsiteY402" fmla="*/ 808665 h 3211589"/>
              <a:gd name="connsiteX403" fmla="*/ 9761760 w 12182565"/>
              <a:gd name="connsiteY403" fmla="*/ 794425 h 3211589"/>
              <a:gd name="connsiteX404" fmla="*/ 9731360 w 12182565"/>
              <a:gd name="connsiteY404" fmla="*/ 856345 h 3211589"/>
              <a:gd name="connsiteX405" fmla="*/ 9583520 w 12182565"/>
              <a:gd name="connsiteY405" fmla="*/ 839865 h 3211589"/>
              <a:gd name="connsiteX406" fmla="*/ 9286240 w 12182565"/>
              <a:gd name="connsiteY406" fmla="*/ 894265 h 3211589"/>
              <a:gd name="connsiteX407" fmla="*/ 9282240 w 12182565"/>
              <a:gd name="connsiteY407" fmla="*/ 895705 h 3211589"/>
              <a:gd name="connsiteX408" fmla="*/ 9101760 w 12182565"/>
              <a:gd name="connsiteY408" fmla="*/ 963225 h 3211589"/>
              <a:gd name="connsiteX409" fmla="*/ 8963840 w 12182565"/>
              <a:gd name="connsiteY409" fmla="*/ 1015385 h 3211589"/>
              <a:gd name="connsiteX410" fmla="*/ 8520160 w 12182565"/>
              <a:gd name="connsiteY410" fmla="*/ 1117465 h 3211589"/>
              <a:gd name="connsiteX411" fmla="*/ 8175840 w 12182565"/>
              <a:gd name="connsiteY411" fmla="*/ 1144985 h 3211589"/>
              <a:gd name="connsiteX412" fmla="*/ 8099360 w 12182565"/>
              <a:gd name="connsiteY412" fmla="*/ 1148825 h 3211589"/>
              <a:gd name="connsiteX413" fmla="*/ 8084160 w 12182565"/>
              <a:gd name="connsiteY413" fmla="*/ 1150585 h 3211589"/>
              <a:gd name="connsiteX414" fmla="*/ 8050400 w 12182565"/>
              <a:gd name="connsiteY414" fmla="*/ 1151705 h 3211589"/>
              <a:gd name="connsiteX415" fmla="*/ 8040640 w 12182565"/>
              <a:gd name="connsiteY415" fmla="*/ 1151705 h 3211589"/>
              <a:gd name="connsiteX416" fmla="*/ 10411280 w 12182565"/>
              <a:gd name="connsiteY416" fmla="*/ 1207553 h 3211589"/>
              <a:gd name="connsiteX417" fmla="*/ 10350720 w 12182565"/>
              <a:gd name="connsiteY417" fmla="*/ 1204025 h 3211589"/>
              <a:gd name="connsiteX418" fmla="*/ 10341600 w 12182565"/>
              <a:gd name="connsiteY418" fmla="*/ 1203385 h 3211589"/>
              <a:gd name="connsiteX419" fmla="*/ 10021280 w 12182565"/>
              <a:gd name="connsiteY419" fmla="*/ 1175545 h 3211589"/>
              <a:gd name="connsiteX420" fmla="*/ 9932320 w 12182565"/>
              <a:gd name="connsiteY420" fmla="*/ 1167545 h 3211589"/>
              <a:gd name="connsiteX421" fmla="*/ 9680800 w 12182565"/>
              <a:gd name="connsiteY421" fmla="*/ 1107545 h 3211589"/>
              <a:gd name="connsiteX422" fmla="*/ 9688960 w 12182565"/>
              <a:gd name="connsiteY422" fmla="*/ 1004665 h 3211589"/>
              <a:gd name="connsiteX423" fmla="*/ 9881760 w 12182565"/>
              <a:gd name="connsiteY423" fmla="*/ 1066905 h 3211589"/>
              <a:gd name="connsiteX424" fmla="*/ 10205760 w 12182565"/>
              <a:gd name="connsiteY424" fmla="*/ 1104825 h 3211589"/>
              <a:gd name="connsiteX425" fmla="*/ 10455680 w 12182565"/>
              <a:gd name="connsiteY425" fmla="*/ 1123065 h 3211589"/>
              <a:gd name="connsiteX426" fmla="*/ 10635680 w 12182565"/>
              <a:gd name="connsiteY426" fmla="*/ 1088025 h 3211589"/>
              <a:gd name="connsiteX427" fmla="*/ 10667840 w 12182565"/>
              <a:gd name="connsiteY427" fmla="*/ 1062425 h 3211589"/>
              <a:gd name="connsiteX428" fmla="*/ 10846240 w 12182565"/>
              <a:gd name="connsiteY428" fmla="*/ 975065 h 3211589"/>
              <a:gd name="connsiteX429" fmla="*/ 11220640 w 12182565"/>
              <a:gd name="connsiteY429" fmla="*/ 977305 h 3211589"/>
              <a:gd name="connsiteX430" fmla="*/ 11523360 w 12182565"/>
              <a:gd name="connsiteY430" fmla="*/ 1032185 h 3211589"/>
              <a:gd name="connsiteX431" fmla="*/ 11549920 w 12182565"/>
              <a:gd name="connsiteY431" fmla="*/ 1053465 h 3211589"/>
              <a:gd name="connsiteX432" fmla="*/ 11560160 w 12182565"/>
              <a:gd name="connsiteY432" fmla="*/ 1060985 h 3211589"/>
              <a:gd name="connsiteX433" fmla="*/ 11490080 w 12182565"/>
              <a:gd name="connsiteY433" fmla="*/ 1044345 h 3211589"/>
              <a:gd name="connsiteX434" fmla="*/ 11243680 w 12182565"/>
              <a:gd name="connsiteY434" fmla="*/ 1021785 h 3211589"/>
              <a:gd name="connsiteX435" fmla="*/ 11074560 w 12182565"/>
              <a:gd name="connsiteY435" fmla="*/ 1019545 h 3211589"/>
              <a:gd name="connsiteX436" fmla="*/ 10838560 w 12182565"/>
              <a:gd name="connsiteY436" fmla="*/ 1028505 h 3211589"/>
              <a:gd name="connsiteX437" fmla="*/ 10628000 w 12182565"/>
              <a:gd name="connsiteY437" fmla="*/ 1156185 h 3211589"/>
              <a:gd name="connsiteX438" fmla="*/ 10411280 w 12182565"/>
              <a:gd name="connsiteY438" fmla="*/ 1207553 h 3211589"/>
              <a:gd name="connsiteX439" fmla="*/ 7748160 w 12182565"/>
              <a:gd name="connsiteY439" fmla="*/ 1209785 h 3211589"/>
              <a:gd name="connsiteX440" fmla="*/ 7810400 w 12182565"/>
              <a:gd name="connsiteY440" fmla="*/ 1176025 h 3211589"/>
              <a:gd name="connsiteX441" fmla="*/ 8106080 w 12182565"/>
              <a:gd name="connsiteY441" fmla="*/ 1093785 h 3211589"/>
              <a:gd name="connsiteX442" fmla="*/ 8377121 w 12182565"/>
              <a:gd name="connsiteY442" fmla="*/ 1035225 h 3211589"/>
              <a:gd name="connsiteX443" fmla="*/ 8481760 w 12182565"/>
              <a:gd name="connsiteY443" fmla="*/ 1015225 h 3211589"/>
              <a:gd name="connsiteX444" fmla="*/ 8787840 w 12182565"/>
              <a:gd name="connsiteY444" fmla="*/ 940665 h 3211589"/>
              <a:gd name="connsiteX445" fmla="*/ 9259040 w 12182565"/>
              <a:gd name="connsiteY445" fmla="*/ 757465 h 3211589"/>
              <a:gd name="connsiteX446" fmla="*/ 9795360 w 12182565"/>
              <a:gd name="connsiteY446" fmla="*/ 735865 h 3211589"/>
              <a:gd name="connsiteX447" fmla="*/ 9776640 w 12182565"/>
              <a:gd name="connsiteY447" fmla="*/ 769785 h 3211589"/>
              <a:gd name="connsiteX448" fmla="*/ 9774720 w 12182565"/>
              <a:gd name="connsiteY448" fmla="*/ 772665 h 3211589"/>
              <a:gd name="connsiteX449" fmla="*/ 9770080 w 12182565"/>
              <a:gd name="connsiteY449" fmla="*/ 780185 h 3211589"/>
              <a:gd name="connsiteX450" fmla="*/ 9605280 w 12182565"/>
              <a:gd name="connsiteY450" fmla="*/ 756345 h 3211589"/>
              <a:gd name="connsiteX451" fmla="*/ 9343040 w 12182565"/>
              <a:gd name="connsiteY451" fmla="*/ 792985 h 3211589"/>
              <a:gd name="connsiteX452" fmla="*/ 9108640 w 12182565"/>
              <a:gd name="connsiteY452" fmla="*/ 881625 h 3211589"/>
              <a:gd name="connsiteX453" fmla="*/ 8762880 w 12182565"/>
              <a:gd name="connsiteY453" fmla="*/ 1012345 h 3211589"/>
              <a:gd name="connsiteX454" fmla="*/ 8212480 w 12182565"/>
              <a:gd name="connsiteY454" fmla="*/ 1108985 h 3211589"/>
              <a:gd name="connsiteX455" fmla="*/ 7912000 w 12182565"/>
              <a:gd name="connsiteY455" fmla="*/ 1163385 h 3211589"/>
              <a:gd name="connsiteX456" fmla="*/ 7811040 w 12182565"/>
              <a:gd name="connsiteY456" fmla="*/ 1188985 h 3211589"/>
              <a:gd name="connsiteX457" fmla="*/ 7748160 w 12182565"/>
              <a:gd name="connsiteY457" fmla="*/ 1209785 h 3211589"/>
              <a:gd name="connsiteX458" fmla="*/ 4623681 w 12182565"/>
              <a:gd name="connsiteY458" fmla="*/ 1234905 h 3211589"/>
              <a:gd name="connsiteX459" fmla="*/ 4577441 w 12182565"/>
              <a:gd name="connsiteY459" fmla="*/ 1205305 h 3211589"/>
              <a:gd name="connsiteX460" fmla="*/ 4324000 w 12182565"/>
              <a:gd name="connsiteY460" fmla="*/ 1124505 h 3211589"/>
              <a:gd name="connsiteX461" fmla="*/ 4080800 w 12182565"/>
              <a:gd name="connsiteY461" fmla="*/ 1052665 h 3211589"/>
              <a:gd name="connsiteX462" fmla="*/ 3764160 w 12182565"/>
              <a:gd name="connsiteY462" fmla="*/ 954905 h 3211589"/>
              <a:gd name="connsiteX463" fmla="*/ 3692160 w 12182565"/>
              <a:gd name="connsiteY463" fmla="*/ 934905 h 3211589"/>
              <a:gd name="connsiteX464" fmla="*/ 3358400 w 12182565"/>
              <a:gd name="connsiteY464" fmla="*/ 903865 h 3211589"/>
              <a:gd name="connsiteX465" fmla="*/ 3321440 w 12182565"/>
              <a:gd name="connsiteY465" fmla="*/ 902105 h 3211589"/>
              <a:gd name="connsiteX466" fmla="*/ 3209280 w 12182565"/>
              <a:gd name="connsiteY466" fmla="*/ 884825 h 3211589"/>
              <a:gd name="connsiteX467" fmla="*/ 2943360 w 12182565"/>
              <a:gd name="connsiteY467" fmla="*/ 847065 h 3211589"/>
              <a:gd name="connsiteX468" fmla="*/ 2897280 w 12182565"/>
              <a:gd name="connsiteY468" fmla="*/ 845305 h 3211589"/>
              <a:gd name="connsiteX469" fmla="*/ 2650080 w 12182565"/>
              <a:gd name="connsiteY469" fmla="*/ 954265 h 3211589"/>
              <a:gd name="connsiteX470" fmla="*/ 2649600 w 12182565"/>
              <a:gd name="connsiteY470" fmla="*/ 956185 h 3211589"/>
              <a:gd name="connsiteX471" fmla="*/ 2475200 w 12182565"/>
              <a:gd name="connsiteY471" fmla="*/ 1031865 h 3211589"/>
              <a:gd name="connsiteX472" fmla="*/ 2624800 w 12182565"/>
              <a:gd name="connsiteY472" fmla="*/ 926745 h 3211589"/>
              <a:gd name="connsiteX473" fmla="*/ 2644000 w 12182565"/>
              <a:gd name="connsiteY473" fmla="*/ 912505 h 3211589"/>
              <a:gd name="connsiteX474" fmla="*/ 2874880 w 12182565"/>
              <a:gd name="connsiteY474" fmla="*/ 823385 h 3211589"/>
              <a:gd name="connsiteX475" fmla="*/ 3268800 w 12182565"/>
              <a:gd name="connsiteY475" fmla="*/ 825305 h 3211589"/>
              <a:gd name="connsiteX476" fmla="*/ 3283200 w 12182565"/>
              <a:gd name="connsiteY476" fmla="*/ 825945 h 3211589"/>
              <a:gd name="connsiteX477" fmla="*/ 3358560 w 12182565"/>
              <a:gd name="connsiteY477" fmla="*/ 828665 h 3211589"/>
              <a:gd name="connsiteX478" fmla="*/ 3634880 w 12182565"/>
              <a:gd name="connsiteY478" fmla="*/ 853145 h 3211589"/>
              <a:gd name="connsiteX479" fmla="*/ 3943840 w 12182565"/>
              <a:gd name="connsiteY479" fmla="*/ 960025 h 3211589"/>
              <a:gd name="connsiteX480" fmla="*/ 4171360 w 12182565"/>
              <a:gd name="connsiteY480" fmla="*/ 1052825 h 3211589"/>
              <a:gd name="connsiteX481" fmla="*/ 4364000 w 12182565"/>
              <a:gd name="connsiteY481" fmla="*/ 1105305 h 3211589"/>
              <a:gd name="connsiteX482" fmla="*/ 4584161 w 12182565"/>
              <a:gd name="connsiteY482" fmla="*/ 1196185 h 3211589"/>
              <a:gd name="connsiteX483" fmla="*/ 7644160 w 12182565"/>
              <a:gd name="connsiteY483" fmla="*/ 1250265 h 3211589"/>
              <a:gd name="connsiteX484" fmla="*/ 7873440 w 12182565"/>
              <a:gd name="connsiteY484" fmla="*/ 1113625 h 3211589"/>
              <a:gd name="connsiteX485" fmla="*/ 8027360 w 12182565"/>
              <a:gd name="connsiteY485" fmla="*/ 1075705 h 3211589"/>
              <a:gd name="connsiteX486" fmla="*/ 8039200 w 12182565"/>
              <a:gd name="connsiteY486" fmla="*/ 1073625 h 3211589"/>
              <a:gd name="connsiteX487" fmla="*/ 8218240 w 12182565"/>
              <a:gd name="connsiteY487" fmla="*/ 1030745 h 3211589"/>
              <a:gd name="connsiteX488" fmla="*/ 8286560 w 12182565"/>
              <a:gd name="connsiteY488" fmla="*/ 1007865 h 3211589"/>
              <a:gd name="connsiteX489" fmla="*/ 8392960 w 12182565"/>
              <a:gd name="connsiteY489" fmla="*/ 974905 h 3211589"/>
              <a:gd name="connsiteX490" fmla="*/ 8659520 w 12182565"/>
              <a:gd name="connsiteY490" fmla="*/ 902425 h 3211589"/>
              <a:gd name="connsiteX491" fmla="*/ 8726400 w 12182565"/>
              <a:gd name="connsiteY491" fmla="*/ 867545 h 3211589"/>
              <a:gd name="connsiteX492" fmla="*/ 8961440 w 12182565"/>
              <a:gd name="connsiteY492" fmla="*/ 757305 h 3211589"/>
              <a:gd name="connsiteX493" fmla="*/ 8996800 w 12182565"/>
              <a:gd name="connsiteY493" fmla="*/ 749305 h 3211589"/>
              <a:gd name="connsiteX494" fmla="*/ 9411680 w 12182565"/>
              <a:gd name="connsiteY494" fmla="*/ 663385 h 3211589"/>
              <a:gd name="connsiteX495" fmla="*/ 9699360 w 12182565"/>
              <a:gd name="connsiteY495" fmla="*/ 658905 h 3211589"/>
              <a:gd name="connsiteX496" fmla="*/ 9799520 w 12182565"/>
              <a:gd name="connsiteY496" fmla="*/ 698265 h 3211589"/>
              <a:gd name="connsiteX497" fmla="*/ 9800960 w 12182565"/>
              <a:gd name="connsiteY497" fmla="*/ 699545 h 3211589"/>
              <a:gd name="connsiteX498" fmla="*/ 9799520 w 12182565"/>
              <a:gd name="connsiteY498" fmla="*/ 720025 h 3211589"/>
              <a:gd name="connsiteX499" fmla="*/ 9623520 w 12182565"/>
              <a:gd name="connsiteY499" fmla="*/ 703545 h 3211589"/>
              <a:gd name="connsiteX500" fmla="*/ 9256160 w 12182565"/>
              <a:gd name="connsiteY500" fmla="*/ 741305 h 3211589"/>
              <a:gd name="connsiteX501" fmla="*/ 8780640 w 12182565"/>
              <a:gd name="connsiteY501" fmla="*/ 925945 h 3211589"/>
              <a:gd name="connsiteX502" fmla="*/ 8478880 w 12182565"/>
              <a:gd name="connsiteY502" fmla="*/ 999225 h 3211589"/>
              <a:gd name="connsiteX503" fmla="*/ 8372640 w 12182565"/>
              <a:gd name="connsiteY503" fmla="*/ 1019705 h 3211589"/>
              <a:gd name="connsiteX504" fmla="*/ 8103520 w 12182565"/>
              <a:gd name="connsiteY504" fmla="*/ 1077785 h 3211589"/>
              <a:gd name="connsiteX505" fmla="*/ 7803200 w 12182565"/>
              <a:gd name="connsiteY505" fmla="*/ 1161465 h 3211589"/>
              <a:gd name="connsiteX506" fmla="*/ 7644160 w 12182565"/>
              <a:gd name="connsiteY506" fmla="*/ 1250265 h 3211589"/>
              <a:gd name="connsiteX507" fmla="*/ 4637920 w 12182565"/>
              <a:gd name="connsiteY507" fmla="*/ 1264825 h 3211589"/>
              <a:gd name="connsiteX508" fmla="*/ 4446561 w 12182565"/>
              <a:gd name="connsiteY508" fmla="*/ 1192345 h 3211589"/>
              <a:gd name="connsiteX509" fmla="*/ 4388480 w 12182565"/>
              <a:gd name="connsiteY509" fmla="*/ 1186265 h 3211589"/>
              <a:gd name="connsiteX510" fmla="*/ 4193280 w 12182565"/>
              <a:gd name="connsiteY510" fmla="*/ 1161305 h 3211589"/>
              <a:gd name="connsiteX511" fmla="*/ 3835520 w 12182565"/>
              <a:gd name="connsiteY511" fmla="*/ 1050745 h 3211589"/>
              <a:gd name="connsiteX512" fmla="*/ 3438080 w 12182565"/>
              <a:gd name="connsiteY512" fmla="*/ 982905 h 3211589"/>
              <a:gd name="connsiteX513" fmla="*/ 3233280 w 12182565"/>
              <a:gd name="connsiteY513" fmla="*/ 944025 h 3211589"/>
              <a:gd name="connsiteX514" fmla="*/ 3192800 w 12182565"/>
              <a:gd name="connsiteY514" fmla="*/ 931545 h 3211589"/>
              <a:gd name="connsiteX515" fmla="*/ 2952320 w 12182565"/>
              <a:gd name="connsiteY515" fmla="*/ 880825 h 3211589"/>
              <a:gd name="connsiteX516" fmla="*/ 2952160 w 12182565"/>
              <a:gd name="connsiteY516" fmla="*/ 880825 h 3211589"/>
              <a:gd name="connsiteX517" fmla="*/ 2916320 w 12182565"/>
              <a:gd name="connsiteY517" fmla="*/ 874425 h 3211589"/>
              <a:gd name="connsiteX518" fmla="*/ 2897600 w 12182565"/>
              <a:gd name="connsiteY518" fmla="*/ 874105 h 3211589"/>
              <a:gd name="connsiteX519" fmla="*/ 2694080 w 12182565"/>
              <a:gd name="connsiteY519" fmla="*/ 927705 h 3211589"/>
              <a:gd name="connsiteX520" fmla="*/ 2683360 w 12182565"/>
              <a:gd name="connsiteY520" fmla="*/ 935705 h 3211589"/>
              <a:gd name="connsiteX521" fmla="*/ 2942080 w 12182565"/>
              <a:gd name="connsiteY521" fmla="*/ 863545 h 3211589"/>
              <a:gd name="connsiteX522" fmla="*/ 3205920 w 12182565"/>
              <a:gd name="connsiteY522" fmla="*/ 900985 h 3211589"/>
              <a:gd name="connsiteX523" fmla="*/ 3320640 w 12182565"/>
              <a:gd name="connsiteY523" fmla="*/ 918585 h 3211589"/>
              <a:gd name="connsiteX524" fmla="*/ 3357600 w 12182565"/>
              <a:gd name="connsiteY524" fmla="*/ 920345 h 3211589"/>
              <a:gd name="connsiteX525" fmla="*/ 3687680 w 12182565"/>
              <a:gd name="connsiteY525" fmla="*/ 950745 h 3211589"/>
              <a:gd name="connsiteX526" fmla="*/ 3760000 w 12182565"/>
              <a:gd name="connsiteY526" fmla="*/ 970745 h 3211589"/>
              <a:gd name="connsiteX527" fmla="*/ 4074080 w 12182565"/>
              <a:gd name="connsiteY527" fmla="*/ 1067545 h 3211589"/>
              <a:gd name="connsiteX528" fmla="*/ 4320800 w 12182565"/>
              <a:gd name="connsiteY528" fmla="*/ 1140505 h 3211589"/>
              <a:gd name="connsiteX529" fmla="*/ 4569760 w 12182565"/>
              <a:gd name="connsiteY529" fmla="*/ 1219545 h 3211589"/>
              <a:gd name="connsiteX530" fmla="*/ 4637920 w 12182565"/>
              <a:gd name="connsiteY530" fmla="*/ 1264825 h 3211589"/>
              <a:gd name="connsiteX531" fmla="*/ 6877600 w 12182565"/>
              <a:gd name="connsiteY531" fmla="*/ 1276665 h 3211589"/>
              <a:gd name="connsiteX532" fmla="*/ 6888960 w 12182565"/>
              <a:gd name="connsiteY532" fmla="*/ 1192505 h 3211589"/>
              <a:gd name="connsiteX533" fmla="*/ 6766560 w 12182565"/>
              <a:gd name="connsiteY533" fmla="*/ 1005625 h 3211589"/>
              <a:gd name="connsiteX534" fmla="*/ 6323520 w 12182565"/>
              <a:gd name="connsiteY534" fmla="*/ 740185 h 3211589"/>
              <a:gd name="connsiteX535" fmla="*/ 5551840 w 12182565"/>
              <a:gd name="connsiteY535" fmla="*/ 593785 h 3211589"/>
              <a:gd name="connsiteX536" fmla="*/ 4809280 w 12182565"/>
              <a:gd name="connsiteY536" fmla="*/ 705465 h 3211589"/>
              <a:gd name="connsiteX537" fmla="*/ 4791680 w 12182565"/>
              <a:gd name="connsiteY537" fmla="*/ 709625 h 3211589"/>
              <a:gd name="connsiteX538" fmla="*/ 4688320 w 12182565"/>
              <a:gd name="connsiteY538" fmla="*/ 733945 h 3211589"/>
              <a:gd name="connsiteX539" fmla="*/ 4436481 w 12182565"/>
              <a:gd name="connsiteY539" fmla="*/ 792185 h 3211589"/>
              <a:gd name="connsiteX540" fmla="*/ 4254240 w 12182565"/>
              <a:gd name="connsiteY540" fmla="*/ 788185 h 3211589"/>
              <a:gd name="connsiteX541" fmla="*/ 4214400 w 12182565"/>
              <a:gd name="connsiteY541" fmla="*/ 690425 h 3211589"/>
              <a:gd name="connsiteX542" fmla="*/ 4401441 w 12182565"/>
              <a:gd name="connsiteY542" fmla="*/ 706105 h 3211589"/>
              <a:gd name="connsiteX543" fmla="*/ 4759360 w 12182565"/>
              <a:gd name="connsiteY543" fmla="*/ 629625 h 3211589"/>
              <a:gd name="connsiteX544" fmla="*/ 4942080 w 12182565"/>
              <a:gd name="connsiteY544" fmla="*/ 587705 h 3211589"/>
              <a:gd name="connsiteX545" fmla="*/ 5793440 w 12182565"/>
              <a:gd name="connsiteY545" fmla="*/ 538265 h 3211589"/>
              <a:gd name="connsiteX546" fmla="*/ 6470881 w 12182565"/>
              <a:gd name="connsiteY546" fmla="*/ 743865 h 3211589"/>
              <a:gd name="connsiteX547" fmla="*/ 6790240 w 12182565"/>
              <a:gd name="connsiteY547" fmla="*/ 962745 h 3211589"/>
              <a:gd name="connsiteX548" fmla="*/ 6931200 w 12182565"/>
              <a:gd name="connsiteY548" fmla="*/ 1174905 h 3211589"/>
              <a:gd name="connsiteX549" fmla="*/ 6931520 w 12182565"/>
              <a:gd name="connsiteY549" fmla="*/ 1176025 h 3211589"/>
              <a:gd name="connsiteX550" fmla="*/ 6877600 w 12182565"/>
              <a:gd name="connsiteY550" fmla="*/ 1276665 h 3211589"/>
              <a:gd name="connsiteX551" fmla="*/ 6892000 w 12182565"/>
              <a:gd name="connsiteY551" fmla="*/ 1283865 h 3211589"/>
              <a:gd name="connsiteX552" fmla="*/ 6979520 w 12182565"/>
              <a:gd name="connsiteY552" fmla="*/ 1082105 h 3211589"/>
              <a:gd name="connsiteX553" fmla="*/ 7172800 w 12182565"/>
              <a:gd name="connsiteY553" fmla="*/ 891225 h 3211589"/>
              <a:gd name="connsiteX554" fmla="*/ 7592640 w 12182565"/>
              <a:gd name="connsiteY554" fmla="*/ 439065 h 3211589"/>
              <a:gd name="connsiteX555" fmla="*/ 7636480 w 12182565"/>
              <a:gd name="connsiteY555" fmla="*/ 415705 h 3211589"/>
              <a:gd name="connsiteX556" fmla="*/ 8214081 w 12182565"/>
              <a:gd name="connsiteY556" fmla="*/ 247545 h 3211589"/>
              <a:gd name="connsiteX557" fmla="*/ 9004640 w 12182565"/>
              <a:gd name="connsiteY557" fmla="*/ 271065 h 3211589"/>
              <a:gd name="connsiteX558" fmla="*/ 9044480 w 12182565"/>
              <a:gd name="connsiteY558" fmla="*/ 286585 h 3211589"/>
              <a:gd name="connsiteX559" fmla="*/ 8786720 w 12182565"/>
              <a:gd name="connsiteY559" fmla="*/ 258265 h 3211589"/>
              <a:gd name="connsiteX560" fmla="*/ 8770720 w 12182565"/>
              <a:gd name="connsiteY560" fmla="*/ 258585 h 3211589"/>
              <a:gd name="connsiteX561" fmla="*/ 8685600 w 12182565"/>
              <a:gd name="connsiteY561" fmla="*/ 260825 h 3211589"/>
              <a:gd name="connsiteX562" fmla="*/ 8225440 w 12182565"/>
              <a:gd name="connsiteY562" fmla="*/ 282265 h 3211589"/>
              <a:gd name="connsiteX563" fmla="*/ 7487040 w 12182565"/>
              <a:gd name="connsiteY563" fmla="*/ 645625 h 3211589"/>
              <a:gd name="connsiteX564" fmla="*/ 7179680 w 12182565"/>
              <a:gd name="connsiteY564" fmla="*/ 1009465 h 3211589"/>
              <a:gd name="connsiteX565" fmla="*/ 7084000 w 12182565"/>
              <a:gd name="connsiteY565" fmla="*/ 1142425 h 3211589"/>
              <a:gd name="connsiteX566" fmla="*/ 6892000 w 12182565"/>
              <a:gd name="connsiteY566" fmla="*/ 1283865 h 3211589"/>
              <a:gd name="connsiteX567" fmla="*/ 7485600 w 12182565"/>
              <a:gd name="connsiteY567" fmla="*/ 1336025 h 3211589"/>
              <a:gd name="connsiteX568" fmla="*/ 7543840 w 12182565"/>
              <a:gd name="connsiteY568" fmla="*/ 1289945 h 3211589"/>
              <a:gd name="connsiteX569" fmla="*/ 7563200 w 12182565"/>
              <a:gd name="connsiteY569" fmla="*/ 1273785 h 3211589"/>
              <a:gd name="connsiteX570" fmla="*/ 7900160 w 12182565"/>
              <a:gd name="connsiteY570" fmla="*/ 1078265 h 3211589"/>
              <a:gd name="connsiteX571" fmla="*/ 8238240 w 12182565"/>
              <a:gd name="connsiteY571" fmla="*/ 976985 h 3211589"/>
              <a:gd name="connsiteX572" fmla="*/ 8355360 w 12182565"/>
              <a:gd name="connsiteY572" fmla="*/ 937945 h 3211589"/>
              <a:gd name="connsiteX573" fmla="*/ 8461121 w 12182565"/>
              <a:gd name="connsiteY573" fmla="*/ 902905 h 3211589"/>
              <a:gd name="connsiteX574" fmla="*/ 8708000 w 12182565"/>
              <a:gd name="connsiteY574" fmla="*/ 774105 h 3211589"/>
              <a:gd name="connsiteX575" fmla="*/ 9080160 w 12182565"/>
              <a:gd name="connsiteY575" fmla="*/ 658905 h 3211589"/>
              <a:gd name="connsiteX576" fmla="*/ 9308160 w 12182565"/>
              <a:gd name="connsiteY576" fmla="*/ 632665 h 3211589"/>
              <a:gd name="connsiteX577" fmla="*/ 9456000 w 12182565"/>
              <a:gd name="connsiteY577" fmla="*/ 616345 h 3211589"/>
              <a:gd name="connsiteX578" fmla="*/ 9786240 w 12182565"/>
              <a:gd name="connsiteY578" fmla="*/ 658265 h 3211589"/>
              <a:gd name="connsiteX579" fmla="*/ 9786560 w 12182565"/>
              <a:gd name="connsiteY579" fmla="*/ 658265 h 3211589"/>
              <a:gd name="connsiteX580" fmla="*/ 9793600 w 12182565"/>
              <a:gd name="connsiteY580" fmla="*/ 673305 h 3211589"/>
              <a:gd name="connsiteX581" fmla="*/ 9700800 w 12182565"/>
              <a:gd name="connsiteY581" fmla="*/ 643065 h 3211589"/>
              <a:gd name="connsiteX582" fmla="*/ 9601440 w 12182565"/>
              <a:gd name="connsiteY582" fmla="*/ 640025 h 3211589"/>
              <a:gd name="connsiteX583" fmla="*/ 9409280 w 12182565"/>
              <a:gd name="connsiteY583" fmla="*/ 647545 h 3211589"/>
              <a:gd name="connsiteX584" fmla="*/ 8992640 w 12182565"/>
              <a:gd name="connsiteY584" fmla="*/ 733785 h 3211589"/>
              <a:gd name="connsiteX585" fmla="*/ 8957280 w 12182565"/>
              <a:gd name="connsiteY585" fmla="*/ 741785 h 3211589"/>
              <a:gd name="connsiteX586" fmla="*/ 8718240 w 12182565"/>
              <a:gd name="connsiteY586" fmla="*/ 853465 h 3211589"/>
              <a:gd name="connsiteX587" fmla="*/ 8652000 w 12182565"/>
              <a:gd name="connsiteY587" fmla="*/ 888185 h 3211589"/>
              <a:gd name="connsiteX588" fmla="*/ 8389440 w 12182565"/>
              <a:gd name="connsiteY588" fmla="*/ 959225 h 3211589"/>
              <a:gd name="connsiteX589" fmla="*/ 8280800 w 12182565"/>
              <a:gd name="connsiteY589" fmla="*/ 992825 h 3211589"/>
              <a:gd name="connsiteX590" fmla="*/ 8213280 w 12182565"/>
              <a:gd name="connsiteY590" fmla="*/ 1015545 h 3211589"/>
              <a:gd name="connsiteX591" fmla="*/ 8036000 w 12182565"/>
              <a:gd name="connsiteY591" fmla="*/ 1057945 h 3211589"/>
              <a:gd name="connsiteX592" fmla="*/ 8024320 w 12182565"/>
              <a:gd name="connsiteY592" fmla="*/ 1059865 h 3211589"/>
              <a:gd name="connsiteX593" fmla="*/ 7867680 w 12182565"/>
              <a:gd name="connsiteY593" fmla="*/ 1098585 h 3211589"/>
              <a:gd name="connsiteX594" fmla="*/ 7628160 w 12182565"/>
              <a:gd name="connsiteY594" fmla="*/ 1241785 h 3211589"/>
              <a:gd name="connsiteX595" fmla="*/ 7626400 w 12182565"/>
              <a:gd name="connsiteY595" fmla="*/ 1243065 h 3211589"/>
              <a:gd name="connsiteX596" fmla="*/ 7485600 w 12182565"/>
              <a:gd name="connsiteY596" fmla="*/ 1336025 h 3211589"/>
              <a:gd name="connsiteX597" fmla="*/ 7302881 w 12182565"/>
              <a:gd name="connsiteY597" fmla="*/ 1383225 h 3211589"/>
              <a:gd name="connsiteX598" fmla="*/ 7421440 w 12182565"/>
              <a:gd name="connsiteY598" fmla="*/ 1257785 h 3211589"/>
              <a:gd name="connsiteX599" fmla="*/ 7429120 w 12182565"/>
              <a:gd name="connsiteY599" fmla="*/ 1248985 h 3211589"/>
              <a:gd name="connsiteX600" fmla="*/ 7688480 w 12182565"/>
              <a:gd name="connsiteY600" fmla="*/ 1069785 h 3211589"/>
              <a:gd name="connsiteX601" fmla="*/ 8095520 w 12182565"/>
              <a:gd name="connsiteY601" fmla="*/ 837465 h 3211589"/>
              <a:gd name="connsiteX602" fmla="*/ 8097760 w 12182565"/>
              <a:gd name="connsiteY602" fmla="*/ 835865 h 3211589"/>
              <a:gd name="connsiteX603" fmla="*/ 8147840 w 12182565"/>
              <a:gd name="connsiteY603" fmla="*/ 793625 h 3211589"/>
              <a:gd name="connsiteX604" fmla="*/ 8532960 w 12182565"/>
              <a:gd name="connsiteY604" fmla="*/ 566745 h 3211589"/>
              <a:gd name="connsiteX605" fmla="*/ 9106880 w 12182565"/>
              <a:gd name="connsiteY605" fmla="*/ 489305 h 3211589"/>
              <a:gd name="connsiteX606" fmla="*/ 9549760 w 12182565"/>
              <a:gd name="connsiteY606" fmla="*/ 506745 h 3211589"/>
              <a:gd name="connsiteX607" fmla="*/ 9557121 w 12182565"/>
              <a:gd name="connsiteY607" fmla="*/ 509785 h 3211589"/>
              <a:gd name="connsiteX608" fmla="*/ 9476000 w 12182565"/>
              <a:gd name="connsiteY608" fmla="*/ 508025 h 3211589"/>
              <a:gd name="connsiteX609" fmla="*/ 9223840 w 12182565"/>
              <a:gd name="connsiteY609" fmla="*/ 517305 h 3211589"/>
              <a:gd name="connsiteX610" fmla="*/ 8788960 w 12182565"/>
              <a:gd name="connsiteY610" fmla="*/ 564505 h 3211589"/>
              <a:gd name="connsiteX611" fmla="*/ 8430560 w 12182565"/>
              <a:gd name="connsiteY611" fmla="*/ 708185 h 3211589"/>
              <a:gd name="connsiteX612" fmla="*/ 8418240 w 12182565"/>
              <a:gd name="connsiteY612" fmla="*/ 715865 h 3211589"/>
              <a:gd name="connsiteX613" fmla="*/ 8153760 w 12182565"/>
              <a:gd name="connsiteY613" fmla="*/ 877305 h 3211589"/>
              <a:gd name="connsiteX614" fmla="*/ 7743200 w 12182565"/>
              <a:gd name="connsiteY614" fmla="*/ 1064985 h 3211589"/>
              <a:gd name="connsiteX615" fmla="*/ 7408640 w 12182565"/>
              <a:gd name="connsiteY615" fmla="*/ 1299225 h 3211589"/>
              <a:gd name="connsiteX616" fmla="*/ 7400640 w 12182565"/>
              <a:gd name="connsiteY616" fmla="*/ 1306585 h 3211589"/>
              <a:gd name="connsiteX617" fmla="*/ 7302881 w 12182565"/>
              <a:gd name="connsiteY617" fmla="*/ 1383225 h 3211589"/>
              <a:gd name="connsiteX618" fmla="*/ 7361760 w 12182565"/>
              <a:gd name="connsiteY618" fmla="*/ 1401145 h 3211589"/>
              <a:gd name="connsiteX619" fmla="*/ 7463840 w 12182565"/>
              <a:gd name="connsiteY619" fmla="*/ 1314585 h 3211589"/>
              <a:gd name="connsiteX620" fmla="*/ 7502560 w 12182565"/>
              <a:gd name="connsiteY620" fmla="*/ 1280665 h 3211589"/>
              <a:gd name="connsiteX621" fmla="*/ 7532640 w 12182565"/>
              <a:gd name="connsiteY621" fmla="*/ 1256985 h 3211589"/>
              <a:gd name="connsiteX622" fmla="*/ 7762240 w 12182565"/>
              <a:gd name="connsiteY622" fmla="*/ 1102425 h 3211589"/>
              <a:gd name="connsiteX623" fmla="*/ 7881120 w 12182565"/>
              <a:gd name="connsiteY623" fmla="*/ 1061945 h 3211589"/>
              <a:gd name="connsiteX624" fmla="*/ 8119200 w 12182565"/>
              <a:gd name="connsiteY624" fmla="*/ 978905 h 3211589"/>
              <a:gd name="connsiteX625" fmla="*/ 8434240 w 12182565"/>
              <a:gd name="connsiteY625" fmla="*/ 828505 h 3211589"/>
              <a:gd name="connsiteX626" fmla="*/ 8642880 w 12182565"/>
              <a:gd name="connsiteY626" fmla="*/ 700825 h 3211589"/>
              <a:gd name="connsiteX627" fmla="*/ 8943840 w 12182565"/>
              <a:gd name="connsiteY627" fmla="*/ 625305 h 3211589"/>
              <a:gd name="connsiteX628" fmla="*/ 9276480 w 12182565"/>
              <a:gd name="connsiteY628" fmla="*/ 585785 h 3211589"/>
              <a:gd name="connsiteX629" fmla="*/ 9336640 w 12182565"/>
              <a:gd name="connsiteY629" fmla="*/ 578105 h 3211589"/>
              <a:gd name="connsiteX630" fmla="*/ 9759520 w 12182565"/>
              <a:gd name="connsiteY630" fmla="*/ 625785 h 3211589"/>
              <a:gd name="connsiteX631" fmla="*/ 9766400 w 12182565"/>
              <a:gd name="connsiteY631" fmla="*/ 632825 h 3211589"/>
              <a:gd name="connsiteX632" fmla="*/ 9524160 w 12182565"/>
              <a:gd name="connsiteY632" fmla="*/ 597945 h 3211589"/>
              <a:gd name="connsiteX633" fmla="*/ 9454720 w 12182565"/>
              <a:gd name="connsiteY633" fmla="*/ 600345 h 3211589"/>
              <a:gd name="connsiteX634" fmla="*/ 9305920 w 12182565"/>
              <a:gd name="connsiteY634" fmla="*/ 616825 h 3211589"/>
              <a:gd name="connsiteX635" fmla="*/ 9078560 w 12182565"/>
              <a:gd name="connsiteY635" fmla="*/ 642905 h 3211589"/>
              <a:gd name="connsiteX636" fmla="*/ 8698720 w 12182565"/>
              <a:gd name="connsiteY636" fmla="*/ 760985 h 3211589"/>
              <a:gd name="connsiteX637" fmla="*/ 8455360 w 12182565"/>
              <a:gd name="connsiteY637" fmla="*/ 887865 h 3211589"/>
              <a:gd name="connsiteX638" fmla="*/ 8350560 w 12182565"/>
              <a:gd name="connsiteY638" fmla="*/ 922585 h 3211589"/>
              <a:gd name="connsiteX639" fmla="*/ 8232640 w 12182565"/>
              <a:gd name="connsiteY639" fmla="*/ 961785 h 3211589"/>
              <a:gd name="connsiteX640" fmla="*/ 7896800 w 12182565"/>
              <a:gd name="connsiteY640" fmla="*/ 1062425 h 3211589"/>
              <a:gd name="connsiteX641" fmla="*/ 7553120 w 12182565"/>
              <a:gd name="connsiteY641" fmla="*/ 1261305 h 3211589"/>
              <a:gd name="connsiteX642" fmla="*/ 7534400 w 12182565"/>
              <a:gd name="connsiteY642" fmla="*/ 1276985 h 3211589"/>
              <a:gd name="connsiteX643" fmla="*/ 7361760 w 12182565"/>
              <a:gd name="connsiteY643" fmla="*/ 1401145 h 3211589"/>
              <a:gd name="connsiteX644" fmla="*/ 6773280 w 12182565"/>
              <a:gd name="connsiteY644" fmla="*/ 1464985 h 3211589"/>
              <a:gd name="connsiteX645" fmla="*/ 6841920 w 12182565"/>
              <a:gd name="connsiteY645" fmla="*/ 1366745 h 3211589"/>
              <a:gd name="connsiteX646" fmla="*/ 6857760 w 12182565"/>
              <a:gd name="connsiteY646" fmla="*/ 1340505 h 3211589"/>
              <a:gd name="connsiteX647" fmla="*/ 6863840 w 12182565"/>
              <a:gd name="connsiteY647" fmla="*/ 1334745 h 3211589"/>
              <a:gd name="connsiteX648" fmla="*/ 6865760 w 12182565"/>
              <a:gd name="connsiteY648" fmla="*/ 1327225 h 3211589"/>
              <a:gd name="connsiteX649" fmla="*/ 6868640 w 12182565"/>
              <a:gd name="connsiteY649" fmla="*/ 1322585 h 3211589"/>
              <a:gd name="connsiteX650" fmla="*/ 6880480 w 12182565"/>
              <a:gd name="connsiteY650" fmla="*/ 1303065 h 3211589"/>
              <a:gd name="connsiteX651" fmla="*/ 7096320 w 12182565"/>
              <a:gd name="connsiteY651" fmla="*/ 1152825 h 3211589"/>
              <a:gd name="connsiteX652" fmla="*/ 7192960 w 12182565"/>
              <a:gd name="connsiteY652" fmla="*/ 1018585 h 3211589"/>
              <a:gd name="connsiteX653" fmla="*/ 7498080 w 12182565"/>
              <a:gd name="connsiteY653" fmla="*/ 657305 h 3211589"/>
              <a:gd name="connsiteX654" fmla="*/ 8226720 w 12182565"/>
              <a:gd name="connsiteY654" fmla="*/ 298425 h 3211589"/>
              <a:gd name="connsiteX655" fmla="*/ 8685760 w 12182565"/>
              <a:gd name="connsiteY655" fmla="*/ 276985 h 3211589"/>
              <a:gd name="connsiteX656" fmla="*/ 8771200 w 12182565"/>
              <a:gd name="connsiteY656" fmla="*/ 274745 h 3211589"/>
              <a:gd name="connsiteX657" fmla="*/ 9141121 w 12182565"/>
              <a:gd name="connsiteY657" fmla="*/ 322585 h 3211589"/>
              <a:gd name="connsiteX658" fmla="*/ 9201280 w 12182565"/>
              <a:gd name="connsiteY658" fmla="*/ 353305 h 3211589"/>
              <a:gd name="connsiteX659" fmla="*/ 8773920 w 12182565"/>
              <a:gd name="connsiteY659" fmla="*/ 311225 h 3211589"/>
              <a:gd name="connsiteX660" fmla="*/ 8637121 w 12182565"/>
              <a:gd name="connsiteY660" fmla="*/ 312825 h 3211589"/>
              <a:gd name="connsiteX661" fmla="*/ 8632480 w 12182565"/>
              <a:gd name="connsiteY661" fmla="*/ 312825 h 3211589"/>
              <a:gd name="connsiteX662" fmla="*/ 8064480 w 12182565"/>
              <a:gd name="connsiteY662" fmla="*/ 387385 h 3211589"/>
              <a:gd name="connsiteX663" fmla="*/ 7498560 w 12182565"/>
              <a:gd name="connsiteY663" fmla="*/ 778585 h 3211589"/>
              <a:gd name="connsiteX664" fmla="*/ 7244960 w 12182565"/>
              <a:gd name="connsiteY664" fmla="*/ 1065625 h 3211589"/>
              <a:gd name="connsiteX665" fmla="*/ 7021120 w 12182565"/>
              <a:gd name="connsiteY665" fmla="*/ 1311225 h 3211589"/>
              <a:gd name="connsiteX666" fmla="*/ 6773280 w 12182565"/>
              <a:gd name="connsiteY666" fmla="*/ 1464985 h 3211589"/>
              <a:gd name="connsiteX667" fmla="*/ 6733920 w 12182565"/>
              <a:gd name="connsiteY667" fmla="*/ 1486745 h 3211589"/>
              <a:gd name="connsiteX668" fmla="*/ 6785440 w 12182565"/>
              <a:gd name="connsiteY668" fmla="*/ 1345785 h 3211589"/>
              <a:gd name="connsiteX669" fmla="*/ 6699200 w 12182565"/>
              <a:gd name="connsiteY669" fmla="*/ 1064665 h 3211589"/>
              <a:gd name="connsiteX670" fmla="*/ 6459360 w 12182565"/>
              <a:gd name="connsiteY670" fmla="*/ 896665 h 3211589"/>
              <a:gd name="connsiteX671" fmla="*/ 6432320 w 12182565"/>
              <a:gd name="connsiteY671" fmla="*/ 880665 h 3211589"/>
              <a:gd name="connsiteX672" fmla="*/ 5806240 w 12182565"/>
              <a:gd name="connsiteY672" fmla="*/ 681465 h 3211589"/>
              <a:gd name="connsiteX673" fmla="*/ 5639200 w 12182565"/>
              <a:gd name="connsiteY673" fmla="*/ 673945 h 3211589"/>
              <a:gd name="connsiteX674" fmla="*/ 5280000 w 12182565"/>
              <a:gd name="connsiteY674" fmla="*/ 705785 h 3211589"/>
              <a:gd name="connsiteX675" fmla="*/ 5189600 w 12182565"/>
              <a:gd name="connsiteY675" fmla="*/ 718585 h 3211589"/>
              <a:gd name="connsiteX676" fmla="*/ 4638560 w 12182565"/>
              <a:gd name="connsiteY676" fmla="*/ 842745 h 3211589"/>
              <a:gd name="connsiteX677" fmla="*/ 4340320 w 12182565"/>
              <a:gd name="connsiteY677" fmla="*/ 891385 h 3211589"/>
              <a:gd name="connsiteX678" fmla="*/ 4268321 w 12182565"/>
              <a:gd name="connsiteY678" fmla="*/ 807065 h 3211589"/>
              <a:gd name="connsiteX679" fmla="*/ 4439680 w 12182565"/>
              <a:gd name="connsiteY679" fmla="*/ 808025 h 3211589"/>
              <a:gd name="connsiteX680" fmla="*/ 4692000 w 12182565"/>
              <a:gd name="connsiteY680" fmla="*/ 749785 h 3211589"/>
              <a:gd name="connsiteX681" fmla="*/ 4795201 w 12182565"/>
              <a:gd name="connsiteY681" fmla="*/ 725465 h 3211589"/>
              <a:gd name="connsiteX682" fmla="*/ 4812800 w 12182565"/>
              <a:gd name="connsiteY682" fmla="*/ 721305 h 3211589"/>
              <a:gd name="connsiteX683" fmla="*/ 5552000 w 12182565"/>
              <a:gd name="connsiteY683" fmla="*/ 610105 h 3211589"/>
              <a:gd name="connsiteX684" fmla="*/ 6317760 w 12182565"/>
              <a:gd name="connsiteY684" fmla="*/ 755385 h 3211589"/>
              <a:gd name="connsiteX685" fmla="*/ 6756160 w 12182565"/>
              <a:gd name="connsiteY685" fmla="*/ 1018105 h 3211589"/>
              <a:gd name="connsiteX686" fmla="*/ 6872960 w 12182565"/>
              <a:gd name="connsiteY686" fmla="*/ 1194425 h 3211589"/>
              <a:gd name="connsiteX687" fmla="*/ 6850881 w 12182565"/>
              <a:gd name="connsiteY687" fmla="*/ 1320825 h 3211589"/>
              <a:gd name="connsiteX688" fmla="*/ 6828320 w 12182565"/>
              <a:gd name="connsiteY688" fmla="*/ 1358425 h 3211589"/>
              <a:gd name="connsiteX689" fmla="*/ 6733920 w 12182565"/>
              <a:gd name="connsiteY689" fmla="*/ 1486745 h 3211589"/>
              <a:gd name="connsiteX690" fmla="*/ 15840 w 12182565"/>
              <a:gd name="connsiteY690" fmla="*/ 1488825 h 3211589"/>
              <a:gd name="connsiteX691" fmla="*/ 318240 w 12182565"/>
              <a:gd name="connsiteY691" fmla="*/ 1114585 h 3211589"/>
              <a:gd name="connsiteX692" fmla="*/ 915360 w 12182565"/>
              <a:gd name="connsiteY692" fmla="*/ 341145 h 3211589"/>
              <a:gd name="connsiteX693" fmla="*/ 1284300 w 12182565"/>
              <a:gd name="connsiteY693" fmla="*/ 84205 h 3211589"/>
              <a:gd name="connsiteX694" fmla="*/ 1460720 w 12182565"/>
              <a:gd name="connsiteY694" fmla="*/ 0 h 3211589"/>
              <a:gd name="connsiteX695" fmla="*/ 1424515 w 12182565"/>
              <a:gd name="connsiteY695" fmla="*/ 0 h 3211589"/>
              <a:gd name="connsiteX696" fmla="*/ 1277180 w 12182565"/>
              <a:gd name="connsiteY696" fmla="*/ 70325 h 3211589"/>
              <a:gd name="connsiteX697" fmla="*/ 905440 w 12182565"/>
              <a:gd name="connsiteY697" fmla="*/ 329305 h 3211589"/>
              <a:gd name="connsiteX698" fmla="*/ 304640 w 12182565"/>
              <a:gd name="connsiteY698" fmla="*/ 1107225 h 3211589"/>
              <a:gd name="connsiteX699" fmla="*/ 8800 w 12182565"/>
              <a:gd name="connsiteY699" fmla="*/ 1474265 h 3211589"/>
              <a:gd name="connsiteX700" fmla="*/ 5120 w 12182565"/>
              <a:gd name="connsiteY700" fmla="*/ 1484985 h 3211589"/>
              <a:gd name="connsiteX701" fmla="*/ 15840 w 12182565"/>
              <a:gd name="connsiteY701" fmla="*/ 1488825 h 3211589"/>
              <a:gd name="connsiteX702" fmla="*/ 6745600 w 12182565"/>
              <a:gd name="connsiteY702" fmla="*/ 1497465 h 3211589"/>
              <a:gd name="connsiteX703" fmla="*/ 6760320 w 12182565"/>
              <a:gd name="connsiteY703" fmla="*/ 1480345 h 3211589"/>
              <a:gd name="connsiteX704" fmla="*/ 6761760 w 12182565"/>
              <a:gd name="connsiteY704" fmla="*/ 1480825 h 3211589"/>
              <a:gd name="connsiteX705" fmla="*/ 7033600 w 12182565"/>
              <a:gd name="connsiteY705" fmla="*/ 1321625 h 3211589"/>
              <a:gd name="connsiteX706" fmla="*/ 7256640 w 12182565"/>
              <a:gd name="connsiteY706" fmla="*/ 1076825 h 3211589"/>
              <a:gd name="connsiteX707" fmla="*/ 7511840 w 12182565"/>
              <a:gd name="connsiteY707" fmla="*/ 787865 h 3211589"/>
              <a:gd name="connsiteX708" fmla="*/ 8069280 w 12182565"/>
              <a:gd name="connsiteY708" fmla="*/ 402745 h 3211589"/>
              <a:gd name="connsiteX709" fmla="*/ 8632960 w 12182565"/>
              <a:gd name="connsiteY709" fmla="*/ 328825 h 3211589"/>
              <a:gd name="connsiteX710" fmla="*/ 8637600 w 12182565"/>
              <a:gd name="connsiteY710" fmla="*/ 328825 h 3211589"/>
              <a:gd name="connsiteX711" fmla="*/ 9118720 w 12182565"/>
              <a:gd name="connsiteY711" fmla="*/ 352825 h 3211589"/>
              <a:gd name="connsiteX712" fmla="*/ 8875840 w 12182565"/>
              <a:gd name="connsiteY712" fmla="*/ 344825 h 3211589"/>
              <a:gd name="connsiteX713" fmla="*/ 8817920 w 12182565"/>
              <a:gd name="connsiteY713" fmla="*/ 345785 h 3211589"/>
              <a:gd name="connsiteX714" fmla="*/ 8808160 w 12182565"/>
              <a:gd name="connsiteY714" fmla="*/ 346105 h 3211589"/>
              <a:gd name="connsiteX715" fmla="*/ 8129280 w 12182565"/>
              <a:gd name="connsiteY715" fmla="*/ 443065 h 3211589"/>
              <a:gd name="connsiteX716" fmla="*/ 7656640 w 12182565"/>
              <a:gd name="connsiteY716" fmla="*/ 774585 h 3211589"/>
              <a:gd name="connsiteX717" fmla="*/ 7521600 w 12182565"/>
              <a:gd name="connsiteY717" fmla="*/ 912825 h 3211589"/>
              <a:gd name="connsiteX718" fmla="*/ 7317120 w 12182565"/>
              <a:gd name="connsiteY718" fmla="*/ 1119225 h 3211589"/>
              <a:gd name="connsiteX719" fmla="*/ 7036640 w 12182565"/>
              <a:gd name="connsiteY719" fmla="*/ 1390745 h 3211589"/>
              <a:gd name="connsiteX720" fmla="*/ 6745600 w 12182565"/>
              <a:gd name="connsiteY720" fmla="*/ 1497465 h 3211589"/>
              <a:gd name="connsiteX721" fmla="*/ 6720480 w 12182565"/>
              <a:gd name="connsiteY721" fmla="*/ 1524345 h 3211589"/>
              <a:gd name="connsiteX722" fmla="*/ 6731680 w 12182565"/>
              <a:gd name="connsiteY722" fmla="*/ 1512505 h 3211589"/>
              <a:gd name="connsiteX723" fmla="*/ 7048640 w 12182565"/>
              <a:gd name="connsiteY723" fmla="*/ 1401145 h 3211589"/>
              <a:gd name="connsiteX724" fmla="*/ 7327040 w 12182565"/>
              <a:gd name="connsiteY724" fmla="*/ 1131545 h 3211589"/>
              <a:gd name="connsiteX725" fmla="*/ 7532960 w 12182565"/>
              <a:gd name="connsiteY725" fmla="*/ 923865 h 3211589"/>
              <a:gd name="connsiteX726" fmla="*/ 7667040 w 12182565"/>
              <a:gd name="connsiteY726" fmla="*/ 786585 h 3211589"/>
              <a:gd name="connsiteX727" fmla="*/ 8134720 w 12182565"/>
              <a:gd name="connsiteY727" fmla="*/ 457945 h 3211589"/>
              <a:gd name="connsiteX728" fmla="*/ 8808640 w 12182565"/>
              <a:gd name="connsiteY728" fmla="*/ 361945 h 3211589"/>
              <a:gd name="connsiteX729" fmla="*/ 8818400 w 12182565"/>
              <a:gd name="connsiteY729" fmla="*/ 361625 h 3211589"/>
              <a:gd name="connsiteX730" fmla="*/ 9225280 w 12182565"/>
              <a:gd name="connsiteY730" fmla="*/ 375065 h 3211589"/>
              <a:gd name="connsiteX731" fmla="*/ 9240000 w 12182565"/>
              <a:gd name="connsiteY731" fmla="*/ 378745 h 3211589"/>
              <a:gd name="connsiteX732" fmla="*/ 9243840 w 12182565"/>
              <a:gd name="connsiteY732" fmla="*/ 378745 h 3211589"/>
              <a:gd name="connsiteX733" fmla="*/ 9245760 w 12182565"/>
              <a:gd name="connsiteY733" fmla="*/ 379385 h 3211589"/>
              <a:gd name="connsiteX734" fmla="*/ 8764960 w 12182565"/>
              <a:gd name="connsiteY734" fmla="*/ 396505 h 3211589"/>
              <a:gd name="connsiteX735" fmla="*/ 8114560 w 12182565"/>
              <a:gd name="connsiteY735" fmla="*/ 542585 h 3211589"/>
              <a:gd name="connsiteX736" fmla="*/ 7750881 w 12182565"/>
              <a:gd name="connsiteY736" fmla="*/ 824825 h 3211589"/>
              <a:gd name="connsiteX737" fmla="*/ 7712960 w 12182565"/>
              <a:gd name="connsiteY737" fmla="*/ 859865 h 3211589"/>
              <a:gd name="connsiteX738" fmla="*/ 7338720 w 12182565"/>
              <a:gd name="connsiteY738" fmla="*/ 1161305 h 3211589"/>
              <a:gd name="connsiteX739" fmla="*/ 7215680 w 12182565"/>
              <a:gd name="connsiteY739" fmla="*/ 1288185 h 3211589"/>
              <a:gd name="connsiteX740" fmla="*/ 7066080 w 12182565"/>
              <a:gd name="connsiteY740" fmla="*/ 1443545 h 3211589"/>
              <a:gd name="connsiteX741" fmla="*/ 6720480 w 12182565"/>
              <a:gd name="connsiteY741" fmla="*/ 1524345 h 3211589"/>
              <a:gd name="connsiteX742" fmla="*/ 6653280 w 12182565"/>
              <a:gd name="connsiteY742" fmla="*/ 1566905 h 3211589"/>
              <a:gd name="connsiteX743" fmla="*/ 6663520 w 12182565"/>
              <a:gd name="connsiteY743" fmla="*/ 1432825 h 3211589"/>
              <a:gd name="connsiteX744" fmla="*/ 6673600 w 12182565"/>
              <a:gd name="connsiteY744" fmla="*/ 1410745 h 3211589"/>
              <a:gd name="connsiteX745" fmla="*/ 6708000 w 12182565"/>
              <a:gd name="connsiteY745" fmla="*/ 1297465 h 3211589"/>
              <a:gd name="connsiteX746" fmla="*/ 6598080 w 12182565"/>
              <a:gd name="connsiteY746" fmla="*/ 1068505 h 3211589"/>
              <a:gd name="connsiteX747" fmla="*/ 6583040 w 12182565"/>
              <a:gd name="connsiteY747" fmla="*/ 1055865 h 3211589"/>
              <a:gd name="connsiteX748" fmla="*/ 5837921 w 12182565"/>
              <a:gd name="connsiteY748" fmla="*/ 772825 h 3211589"/>
              <a:gd name="connsiteX749" fmla="*/ 4958400 w 12182565"/>
              <a:gd name="connsiteY749" fmla="*/ 847865 h 3211589"/>
              <a:gd name="connsiteX750" fmla="*/ 4950240 w 12182565"/>
              <a:gd name="connsiteY750" fmla="*/ 850265 h 3211589"/>
              <a:gd name="connsiteX751" fmla="*/ 4883201 w 12182565"/>
              <a:gd name="connsiteY751" fmla="*/ 870105 h 3211589"/>
              <a:gd name="connsiteX752" fmla="*/ 4534240 w 12182565"/>
              <a:gd name="connsiteY752" fmla="*/ 965945 h 3211589"/>
              <a:gd name="connsiteX753" fmla="*/ 4357280 w 12182565"/>
              <a:gd name="connsiteY753" fmla="*/ 907385 h 3211589"/>
              <a:gd name="connsiteX754" fmla="*/ 4643040 w 12182565"/>
              <a:gd name="connsiteY754" fmla="*/ 858265 h 3211589"/>
              <a:gd name="connsiteX755" fmla="*/ 5191361 w 12182565"/>
              <a:gd name="connsiteY755" fmla="*/ 734745 h 3211589"/>
              <a:gd name="connsiteX756" fmla="*/ 5282240 w 12182565"/>
              <a:gd name="connsiteY756" fmla="*/ 721945 h 3211589"/>
              <a:gd name="connsiteX757" fmla="*/ 5804640 w 12182565"/>
              <a:gd name="connsiteY757" fmla="*/ 697625 h 3211589"/>
              <a:gd name="connsiteX758" fmla="*/ 6424000 w 12182565"/>
              <a:gd name="connsiteY758" fmla="*/ 894585 h 3211589"/>
              <a:gd name="connsiteX759" fmla="*/ 6451200 w 12182565"/>
              <a:gd name="connsiteY759" fmla="*/ 910585 h 3211589"/>
              <a:gd name="connsiteX760" fmla="*/ 6687520 w 12182565"/>
              <a:gd name="connsiteY760" fmla="*/ 1075865 h 3211589"/>
              <a:gd name="connsiteX761" fmla="*/ 6770400 w 12182565"/>
              <a:gd name="connsiteY761" fmla="*/ 1339545 h 3211589"/>
              <a:gd name="connsiteX762" fmla="*/ 6712480 w 12182565"/>
              <a:gd name="connsiteY762" fmla="*/ 1501465 h 3211589"/>
              <a:gd name="connsiteX763" fmla="*/ 6712480 w 12182565"/>
              <a:gd name="connsiteY763" fmla="*/ 1501945 h 3211589"/>
              <a:gd name="connsiteX764" fmla="*/ 6712320 w 12182565"/>
              <a:gd name="connsiteY764" fmla="*/ 1502425 h 3211589"/>
              <a:gd name="connsiteX765" fmla="*/ 6712320 w 12182565"/>
              <a:gd name="connsiteY765" fmla="*/ 1503385 h 3211589"/>
              <a:gd name="connsiteX766" fmla="*/ 6712480 w 12182565"/>
              <a:gd name="connsiteY766" fmla="*/ 1504985 h 3211589"/>
              <a:gd name="connsiteX767" fmla="*/ 6712960 w 12182565"/>
              <a:gd name="connsiteY767" fmla="*/ 1506425 h 3211589"/>
              <a:gd name="connsiteX768" fmla="*/ 6713600 w 12182565"/>
              <a:gd name="connsiteY768" fmla="*/ 1507865 h 3211589"/>
              <a:gd name="connsiteX769" fmla="*/ 6713760 w 12182565"/>
              <a:gd name="connsiteY769" fmla="*/ 1508185 h 3211589"/>
              <a:gd name="connsiteX770" fmla="*/ 6653280 w 12182565"/>
              <a:gd name="connsiteY770" fmla="*/ 1566905 h 3211589"/>
              <a:gd name="connsiteX771" fmla="*/ 6674720 w 12182565"/>
              <a:gd name="connsiteY771" fmla="*/ 1568825 h 3211589"/>
              <a:gd name="connsiteX772" fmla="*/ 6704320 w 12182565"/>
              <a:gd name="connsiteY772" fmla="*/ 1540665 h 3211589"/>
              <a:gd name="connsiteX773" fmla="*/ 6704960 w 12182565"/>
              <a:gd name="connsiteY773" fmla="*/ 1540825 h 3211589"/>
              <a:gd name="connsiteX774" fmla="*/ 7075520 w 12182565"/>
              <a:gd name="connsiteY774" fmla="*/ 1456665 h 3211589"/>
              <a:gd name="connsiteX775" fmla="*/ 7227680 w 12182565"/>
              <a:gd name="connsiteY775" fmla="*/ 1298905 h 3211589"/>
              <a:gd name="connsiteX776" fmla="*/ 7347680 w 12182565"/>
              <a:gd name="connsiteY776" fmla="*/ 1174905 h 3211589"/>
              <a:gd name="connsiteX777" fmla="*/ 7723200 w 12182565"/>
              <a:gd name="connsiteY777" fmla="*/ 872505 h 3211589"/>
              <a:gd name="connsiteX778" fmla="*/ 7761600 w 12182565"/>
              <a:gd name="connsiteY778" fmla="*/ 836985 h 3211589"/>
              <a:gd name="connsiteX779" fmla="*/ 8121120 w 12182565"/>
              <a:gd name="connsiteY779" fmla="*/ 557465 h 3211589"/>
              <a:gd name="connsiteX780" fmla="*/ 8765280 w 12182565"/>
              <a:gd name="connsiteY780" fmla="*/ 412985 h 3211589"/>
              <a:gd name="connsiteX781" fmla="*/ 9270560 w 12182565"/>
              <a:gd name="connsiteY781" fmla="*/ 394905 h 3211589"/>
              <a:gd name="connsiteX782" fmla="*/ 9293600 w 12182565"/>
              <a:gd name="connsiteY782" fmla="*/ 407385 h 3211589"/>
              <a:gd name="connsiteX783" fmla="*/ 9325280 w 12182565"/>
              <a:gd name="connsiteY783" fmla="*/ 418425 h 3211589"/>
              <a:gd name="connsiteX784" fmla="*/ 9374240 w 12182565"/>
              <a:gd name="connsiteY784" fmla="*/ 434745 h 3211589"/>
              <a:gd name="connsiteX785" fmla="*/ 9277920 w 12182565"/>
              <a:gd name="connsiteY785" fmla="*/ 425465 h 3211589"/>
              <a:gd name="connsiteX786" fmla="*/ 8838080 w 12182565"/>
              <a:gd name="connsiteY786" fmla="*/ 443225 h 3211589"/>
              <a:gd name="connsiteX787" fmla="*/ 8410400 w 12182565"/>
              <a:gd name="connsiteY787" fmla="*/ 514585 h 3211589"/>
              <a:gd name="connsiteX788" fmla="*/ 8356640 w 12182565"/>
              <a:gd name="connsiteY788" fmla="*/ 532665 h 3211589"/>
              <a:gd name="connsiteX789" fmla="*/ 7948480 w 12182565"/>
              <a:gd name="connsiteY789" fmla="*/ 798265 h 3211589"/>
              <a:gd name="connsiteX790" fmla="*/ 7515040 w 12182565"/>
              <a:gd name="connsiteY790" fmla="*/ 1094105 h 3211589"/>
              <a:gd name="connsiteX791" fmla="*/ 7276000 w 12182565"/>
              <a:gd name="connsiteY791" fmla="*/ 1289465 h 3211589"/>
              <a:gd name="connsiteX792" fmla="*/ 7118881 w 12182565"/>
              <a:gd name="connsiteY792" fmla="*/ 1451385 h 3211589"/>
              <a:gd name="connsiteX793" fmla="*/ 6871200 w 12182565"/>
              <a:gd name="connsiteY793" fmla="*/ 1544825 h 3211589"/>
              <a:gd name="connsiteX794" fmla="*/ 6674720 w 12182565"/>
              <a:gd name="connsiteY794" fmla="*/ 1568825 h 3211589"/>
              <a:gd name="connsiteX795" fmla="*/ 6591360 w 12182565"/>
              <a:gd name="connsiteY795" fmla="*/ 1618265 h 3211589"/>
              <a:gd name="connsiteX796" fmla="*/ 6609760 w 12182565"/>
              <a:gd name="connsiteY796" fmla="*/ 1366425 h 3211589"/>
              <a:gd name="connsiteX797" fmla="*/ 6367680 w 12182565"/>
              <a:gd name="connsiteY797" fmla="*/ 1045785 h 3211589"/>
              <a:gd name="connsiteX798" fmla="*/ 5801600 w 12182565"/>
              <a:gd name="connsiteY798" fmla="*/ 863385 h 3211589"/>
              <a:gd name="connsiteX799" fmla="*/ 5245760 w 12182565"/>
              <a:gd name="connsiteY799" fmla="*/ 865625 h 3211589"/>
              <a:gd name="connsiteX800" fmla="*/ 5168960 w 12182565"/>
              <a:gd name="connsiteY800" fmla="*/ 873625 h 3211589"/>
              <a:gd name="connsiteX801" fmla="*/ 4684480 w 12182565"/>
              <a:gd name="connsiteY801" fmla="*/ 993145 h 3211589"/>
              <a:gd name="connsiteX802" fmla="*/ 4442240 w 12182565"/>
              <a:gd name="connsiteY802" fmla="*/ 980665 h 3211589"/>
              <a:gd name="connsiteX803" fmla="*/ 4413921 w 12182565"/>
              <a:gd name="connsiteY803" fmla="*/ 963065 h 3211589"/>
              <a:gd name="connsiteX804" fmla="*/ 4537120 w 12182565"/>
              <a:gd name="connsiteY804" fmla="*/ 981785 h 3211589"/>
              <a:gd name="connsiteX805" fmla="*/ 4887680 w 12182565"/>
              <a:gd name="connsiteY805" fmla="*/ 885625 h 3211589"/>
              <a:gd name="connsiteX806" fmla="*/ 4954560 w 12182565"/>
              <a:gd name="connsiteY806" fmla="*/ 865785 h 3211589"/>
              <a:gd name="connsiteX807" fmla="*/ 4962720 w 12182565"/>
              <a:gd name="connsiteY807" fmla="*/ 863385 h 3211589"/>
              <a:gd name="connsiteX808" fmla="*/ 5836640 w 12182565"/>
              <a:gd name="connsiteY808" fmla="*/ 788825 h 3211589"/>
              <a:gd name="connsiteX809" fmla="*/ 6572800 w 12182565"/>
              <a:gd name="connsiteY809" fmla="*/ 1068025 h 3211589"/>
              <a:gd name="connsiteX810" fmla="*/ 6588160 w 12182565"/>
              <a:gd name="connsiteY810" fmla="*/ 1080985 h 3211589"/>
              <a:gd name="connsiteX811" fmla="*/ 6692160 w 12182565"/>
              <a:gd name="connsiteY811" fmla="*/ 1297305 h 3211589"/>
              <a:gd name="connsiteX812" fmla="*/ 6659520 w 12182565"/>
              <a:gd name="connsiteY812" fmla="*/ 1403065 h 3211589"/>
              <a:gd name="connsiteX813" fmla="*/ 6648000 w 12182565"/>
              <a:gd name="connsiteY813" fmla="*/ 1429145 h 3211589"/>
              <a:gd name="connsiteX814" fmla="*/ 6636800 w 12182565"/>
              <a:gd name="connsiteY814" fmla="*/ 1575865 h 3211589"/>
              <a:gd name="connsiteX815" fmla="*/ 6637920 w 12182565"/>
              <a:gd name="connsiteY815" fmla="*/ 1580185 h 3211589"/>
              <a:gd name="connsiteX816" fmla="*/ 6591360 w 12182565"/>
              <a:gd name="connsiteY816" fmla="*/ 1618265 h 3211589"/>
              <a:gd name="connsiteX817" fmla="*/ 1515520 w 12182565"/>
              <a:gd name="connsiteY817" fmla="*/ 1645945 h 3211589"/>
              <a:gd name="connsiteX818" fmla="*/ 1740000 w 12182565"/>
              <a:gd name="connsiteY818" fmla="*/ 1465145 h 3211589"/>
              <a:gd name="connsiteX819" fmla="*/ 1838240 w 12182565"/>
              <a:gd name="connsiteY819" fmla="*/ 1299385 h 3211589"/>
              <a:gd name="connsiteX820" fmla="*/ 1956320 w 12182565"/>
              <a:gd name="connsiteY820" fmla="*/ 1131065 h 3211589"/>
              <a:gd name="connsiteX821" fmla="*/ 2153440 w 12182565"/>
              <a:gd name="connsiteY821" fmla="*/ 864825 h 3211589"/>
              <a:gd name="connsiteX822" fmla="*/ 2444640 w 12182565"/>
              <a:gd name="connsiteY822" fmla="*/ 595065 h 3211589"/>
              <a:gd name="connsiteX823" fmla="*/ 2802240 w 12182565"/>
              <a:gd name="connsiteY823" fmla="*/ 485785 h 3211589"/>
              <a:gd name="connsiteX824" fmla="*/ 2926880 w 12182565"/>
              <a:gd name="connsiteY824" fmla="*/ 452825 h 3211589"/>
              <a:gd name="connsiteX825" fmla="*/ 3492000 w 12182565"/>
              <a:gd name="connsiteY825" fmla="*/ 372985 h 3211589"/>
              <a:gd name="connsiteX826" fmla="*/ 4044000 w 12182565"/>
              <a:gd name="connsiteY826" fmla="*/ 588025 h 3211589"/>
              <a:gd name="connsiteX827" fmla="*/ 4241760 w 12182565"/>
              <a:gd name="connsiteY827" fmla="*/ 800345 h 3211589"/>
              <a:gd name="connsiteX828" fmla="*/ 4304640 w 12182565"/>
              <a:gd name="connsiteY828" fmla="*/ 874105 h 3211589"/>
              <a:gd name="connsiteX829" fmla="*/ 4002400 w 12182565"/>
              <a:gd name="connsiteY829" fmla="*/ 618105 h 3211589"/>
              <a:gd name="connsiteX830" fmla="*/ 3525920 w 12182565"/>
              <a:gd name="connsiteY830" fmla="*/ 450905 h 3211589"/>
              <a:gd name="connsiteX831" fmla="*/ 3428640 w 12182565"/>
              <a:gd name="connsiteY831" fmla="*/ 445305 h 3211589"/>
              <a:gd name="connsiteX832" fmla="*/ 3098720 w 12182565"/>
              <a:gd name="connsiteY832" fmla="*/ 474265 h 3211589"/>
              <a:gd name="connsiteX833" fmla="*/ 2595840 w 12182565"/>
              <a:gd name="connsiteY833" fmla="*/ 598905 h 3211589"/>
              <a:gd name="connsiteX834" fmla="*/ 2238400 w 12182565"/>
              <a:gd name="connsiteY834" fmla="*/ 842425 h 3211589"/>
              <a:gd name="connsiteX835" fmla="*/ 2234240 w 12182565"/>
              <a:gd name="connsiteY835" fmla="*/ 848185 h 3211589"/>
              <a:gd name="connsiteX836" fmla="*/ 2043200 w 12182565"/>
              <a:gd name="connsiteY836" fmla="*/ 1071705 h 3211589"/>
              <a:gd name="connsiteX837" fmla="*/ 1946240 w 12182565"/>
              <a:gd name="connsiteY837" fmla="*/ 1216185 h 3211589"/>
              <a:gd name="connsiteX838" fmla="*/ 1912160 w 12182565"/>
              <a:gd name="connsiteY838" fmla="*/ 1281465 h 3211589"/>
              <a:gd name="connsiteX839" fmla="*/ 1886400 w 12182565"/>
              <a:gd name="connsiteY839" fmla="*/ 1340825 h 3211589"/>
              <a:gd name="connsiteX840" fmla="*/ 1771840 w 12182565"/>
              <a:gd name="connsiteY840" fmla="*/ 1520985 h 3211589"/>
              <a:gd name="connsiteX841" fmla="*/ 1515520 w 12182565"/>
              <a:gd name="connsiteY841" fmla="*/ 1645945 h 3211589"/>
              <a:gd name="connsiteX842" fmla="*/ 6543200 w 12182565"/>
              <a:gd name="connsiteY842" fmla="*/ 1653785 h 3211589"/>
              <a:gd name="connsiteX843" fmla="*/ 6528160 w 12182565"/>
              <a:gd name="connsiteY843" fmla="*/ 1505305 h 3211589"/>
              <a:gd name="connsiteX844" fmla="*/ 6451680 w 12182565"/>
              <a:gd name="connsiteY844" fmla="*/ 1231705 h 3211589"/>
              <a:gd name="connsiteX845" fmla="*/ 6034720 w 12182565"/>
              <a:gd name="connsiteY845" fmla="*/ 1004025 h 3211589"/>
              <a:gd name="connsiteX846" fmla="*/ 5438400 w 12182565"/>
              <a:gd name="connsiteY846" fmla="*/ 908505 h 3211589"/>
              <a:gd name="connsiteX847" fmla="*/ 5040800 w 12182565"/>
              <a:gd name="connsiteY847" fmla="*/ 952825 h 3211589"/>
              <a:gd name="connsiteX848" fmla="*/ 4986400 w 12182565"/>
              <a:gd name="connsiteY848" fmla="*/ 963705 h 3211589"/>
              <a:gd name="connsiteX849" fmla="*/ 4875040 w 12182565"/>
              <a:gd name="connsiteY849" fmla="*/ 996825 h 3211589"/>
              <a:gd name="connsiteX850" fmla="*/ 4682080 w 12182565"/>
              <a:gd name="connsiteY850" fmla="*/ 1048825 h 3211589"/>
              <a:gd name="connsiteX851" fmla="*/ 4478560 w 12182565"/>
              <a:gd name="connsiteY851" fmla="*/ 1019705 h 3211589"/>
              <a:gd name="connsiteX852" fmla="*/ 4455200 w 12182565"/>
              <a:gd name="connsiteY852" fmla="*/ 1001465 h 3211589"/>
              <a:gd name="connsiteX853" fmla="*/ 4688960 w 12182565"/>
              <a:gd name="connsiteY853" fmla="*/ 1008185 h 3211589"/>
              <a:gd name="connsiteX854" fmla="*/ 5170080 w 12182565"/>
              <a:gd name="connsiteY854" fmla="*/ 889305 h 3211589"/>
              <a:gd name="connsiteX855" fmla="*/ 5247520 w 12182565"/>
              <a:gd name="connsiteY855" fmla="*/ 881305 h 3211589"/>
              <a:gd name="connsiteX856" fmla="*/ 5799040 w 12182565"/>
              <a:gd name="connsiteY856" fmla="*/ 878905 h 3211589"/>
              <a:gd name="connsiteX857" fmla="*/ 6359360 w 12182565"/>
              <a:gd name="connsiteY857" fmla="*/ 1059225 h 3211589"/>
              <a:gd name="connsiteX858" fmla="*/ 6593600 w 12182565"/>
              <a:gd name="connsiteY858" fmla="*/ 1365625 h 3211589"/>
              <a:gd name="connsiteX859" fmla="*/ 6574400 w 12182565"/>
              <a:gd name="connsiteY859" fmla="*/ 1624025 h 3211589"/>
              <a:gd name="connsiteX860" fmla="*/ 6575840 w 12182565"/>
              <a:gd name="connsiteY860" fmla="*/ 1629785 h 3211589"/>
              <a:gd name="connsiteX861" fmla="*/ 6543200 w 12182565"/>
              <a:gd name="connsiteY861" fmla="*/ 1653785 h 3211589"/>
              <a:gd name="connsiteX862" fmla="*/ 6593060 w 12182565"/>
              <a:gd name="connsiteY862" fmla="*/ 1670205 h 3211589"/>
              <a:gd name="connsiteX863" fmla="*/ 6554400 w 12182565"/>
              <a:gd name="connsiteY863" fmla="*/ 1665625 h 3211589"/>
              <a:gd name="connsiteX864" fmla="*/ 6656960 w 12182565"/>
              <a:gd name="connsiteY864" fmla="*/ 1584825 h 3211589"/>
              <a:gd name="connsiteX865" fmla="*/ 6875200 w 12182565"/>
              <a:gd name="connsiteY865" fmla="*/ 1560505 h 3211589"/>
              <a:gd name="connsiteX866" fmla="*/ 7128960 w 12182565"/>
              <a:gd name="connsiteY866" fmla="*/ 1464025 h 3211589"/>
              <a:gd name="connsiteX867" fmla="*/ 7288320 w 12182565"/>
              <a:gd name="connsiteY867" fmla="*/ 1299865 h 3211589"/>
              <a:gd name="connsiteX868" fmla="*/ 7521760 w 12182565"/>
              <a:gd name="connsiteY868" fmla="*/ 1108665 h 3211589"/>
              <a:gd name="connsiteX869" fmla="*/ 7958400 w 12182565"/>
              <a:gd name="connsiteY869" fmla="*/ 810745 h 3211589"/>
              <a:gd name="connsiteX870" fmla="*/ 8361440 w 12182565"/>
              <a:gd name="connsiteY870" fmla="*/ 547865 h 3211589"/>
              <a:gd name="connsiteX871" fmla="*/ 8415520 w 12182565"/>
              <a:gd name="connsiteY871" fmla="*/ 529785 h 3211589"/>
              <a:gd name="connsiteX872" fmla="*/ 8838720 w 12182565"/>
              <a:gd name="connsiteY872" fmla="*/ 459225 h 3211589"/>
              <a:gd name="connsiteX873" fmla="*/ 9277440 w 12182565"/>
              <a:gd name="connsiteY873" fmla="*/ 441465 h 3211589"/>
              <a:gd name="connsiteX874" fmla="*/ 9426080 w 12182565"/>
              <a:gd name="connsiteY874" fmla="*/ 456025 h 3211589"/>
              <a:gd name="connsiteX875" fmla="*/ 9429280 w 12182565"/>
              <a:gd name="connsiteY875" fmla="*/ 455545 h 3211589"/>
              <a:gd name="connsiteX876" fmla="*/ 9496640 w 12182565"/>
              <a:gd name="connsiteY876" fmla="*/ 483545 h 3211589"/>
              <a:gd name="connsiteX877" fmla="*/ 9228800 w 12182565"/>
              <a:gd name="connsiteY877" fmla="*/ 470425 h 3211589"/>
              <a:gd name="connsiteX878" fmla="*/ 9105920 w 12182565"/>
              <a:gd name="connsiteY878" fmla="*/ 473305 h 3211589"/>
              <a:gd name="connsiteX879" fmla="*/ 8529600 w 12182565"/>
              <a:gd name="connsiteY879" fmla="*/ 551065 h 3211589"/>
              <a:gd name="connsiteX880" fmla="*/ 8136960 w 12182565"/>
              <a:gd name="connsiteY880" fmla="*/ 781625 h 3211589"/>
              <a:gd name="connsiteX881" fmla="*/ 8088160 w 12182565"/>
              <a:gd name="connsiteY881" fmla="*/ 822745 h 3211589"/>
              <a:gd name="connsiteX882" fmla="*/ 8085920 w 12182565"/>
              <a:gd name="connsiteY882" fmla="*/ 824345 h 3211589"/>
              <a:gd name="connsiteX883" fmla="*/ 7683040 w 12182565"/>
              <a:gd name="connsiteY883" fmla="*/ 1054425 h 3211589"/>
              <a:gd name="connsiteX884" fmla="*/ 7416800 w 12182565"/>
              <a:gd name="connsiteY884" fmla="*/ 1238265 h 3211589"/>
              <a:gd name="connsiteX885" fmla="*/ 7409280 w 12182565"/>
              <a:gd name="connsiteY885" fmla="*/ 1246905 h 3211589"/>
              <a:gd name="connsiteX886" fmla="*/ 7251520 w 12182565"/>
              <a:gd name="connsiteY886" fmla="*/ 1408825 h 3211589"/>
              <a:gd name="connsiteX887" fmla="*/ 6974400 w 12182565"/>
              <a:gd name="connsiteY887" fmla="*/ 1540825 h 3211589"/>
              <a:gd name="connsiteX888" fmla="*/ 6939680 w 12182565"/>
              <a:gd name="connsiteY888" fmla="*/ 1555225 h 3211589"/>
              <a:gd name="connsiteX889" fmla="*/ 6877600 w 12182565"/>
              <a:gd name="connsiteY889" fmla="*/ 1584505 h 3211589"/>
              <a:gd name="connsiteX890" fmla="*/ 6664960 w 12182565"/>
              <a:gd name="connsiteY890" fmla="*/ 1664825 h 3211589"/>
              <a:gd name="connsiteX891" fmla="*/ 6593060 w 12182565"/>
              <a:gd name="connsiteY891" fmla="*/ 1670205 h 3211589"/>
              <a:gd name="connsiteX892" fmla="*/ 6492480 w 12182565"/>
              <a:gd name="connsiteY892" fmla="*/ 1704505 h 3211589"/>
              <a:gd name="connsiteX893" fmla="*/ 6476640 w 12182565"/>
              <a:gd name="connsiteY893" fmla="*/ 1517465 h 3211589"/>
              <a:gd name="connsiteX894" fmla="*/ 6476160 w 12182565"/>
              <a:gd name="connsiteY894" fmla="*/ 1504985 h 3211589"/>
              <a:gd name="connsiteX895" fmla="*/ 6265120 w 12182565"/>
              <a:gd name="connsiteY895" fmla="*/ 1209785 h 3211589"/>
              <a:gd name="connsiteX896" fmla="*/ 5633280 w 12182565"/>
              <a:gd name="connsiteY896" fmla="*/ 988825 h 3211589"/>
              <a:gd name="connsiteX897" fmla="*/ 4974240 w 12182565"/>
              <a:gd name="connsiteY897" fmla="*/ 1034425 h 3211589"/>
              <a:gd name="connsiteX898" fmla="*/ 4946720 w 12182565"/>
              <a:gd name="connsiteY898" fmla="*/ 1043385 h 3211589"/>
              <a:gd name="connsiteX899" fmla="*/ 4674240 w 12182565"/>
              <a:gd name="connsiteY899" fmla="*/ 1105625 h 3211589"/>
              <a:gd name="connsiteX900" fmla="*/ 4528000 w 12182565"/>
              <a:gd name="connsiteY900" fmla="*/ 1080825 h 3211589"/>
              <a:gd name="connsiteX901" fmla="*/ 4354720 w 12182565"/>
              <a:gd name="connsiteY901" fmla="*/ 975225 h 3211589"/>
              <a:gd name="connsiteX902" fmla="*/ 4115520 w 12182565"/>
              <a:gd name="connsiteY902" fmla="*/ 830265 h 3211589"/>
              <a:gd name="connsiteX903" fmla="*/ 3775840 w 12182565"/>
              <a:gd name="connsiteY903" fmla="*/ 652665 h 3211589"/>
              <a:gd name="connsiteX904" fmla="*/ 3417280 w 12182565"/>
              <a:gd name="connsiteY904" fmla="*/ 599865 h 3211589"/>
              <a:gd name="connsiteX905" fmla="*/ 3268000 w 12182565"/>
              <a:gd name="connsiteY905" fmla="*/ 606745 h 3211589"/>
              <a:gd name="connsiteX906" fmla="*/ 3115840 w 12182565"/>
              <a:gd name="connsiteY906" fmla="*/ 622585 h 3211589"/>
              <a:gd name="connsiteX907" fmla="*/ 2852960 w 12182565"/>
              <a:gd name="connsiteY907" fmla="*/ 649785 h 3211589"/>
              <a:gd name="connsiteX908" fmla="*/ 2496160 w 12182565"/>
              <a:gd name="connsiteY908" fmla="*/ 770105 h 3211589"/>
              <a:gd name="connsiteX909" fmla="*/ 2470560 w 12182565"/>
              <a:gd name="connsiteY909" fmla="*/ 784505 h 3211589"/>
              <a:gd name="connsiteX910" fmla="*/ 2351040 w 12182565"/>
              <a:gd name="connsiteY910" fmla="*/ 908025 h 3211589"/>
              <a:gd name="connsiteX911" fmla="*/ 2296480 w 12182565"/>
              <a:gd name="connsiteY911" fmla="*/ 974745 h 3211589"/>
              <a:gd name="connsiteX912" fmla="*/ 2255680 w 12182565"/>
              <a:gd name="connsiteY912" fmla="*/ 1007705 h 3211589"/>
              <a:gd name="connsiteX913" fmla="*/ 2049120 w 12182565"/>
              <a:gd name="connsiteY913" fmla="*/ 1270265 h 3211589"/>
              <a:gd name="connsiteX914" fmla="*/ 1894560 w 12182565"/>
              <a:gd name="connsiteY914" fmla="*/ 1469945 h 3211589"/>
              <a:gd name="connsiteX915" fmla="*/ 2024800 w 12182565"/>
              <a:gd name="connsiteY915" fmla="*/ 1232185 h 3211589"/>
              <a:gd name="connsiteX916" fmla="*/ 2085440 w 12182565"/>
              <a:gd name="connsiteY916" fmla="*/ 1147865 h 3211589"/>
              <a:gd name="connsiteX917" fmla="*/ 2190720 w 12182565"/>
              <a:gd name="connsiteY917" fmla="*/ 1021305 h 3211589"/>
              <a:gd name="connsiteX918" fmla="*/ 2292800 w 12182565"/>
              <a:gd name="connsiteY918" fmla="*/ 917465 h 3211589"/>
              <a:gd name="connsiteX919" fmla="*/ 2344160 w 12182565"/>
              <a:gd name="connsiteY919" fmla="*/ 860185 h 3211589"/>
              <a:gd name="connsiteX920" fmla="*/ 2365120 w 12182565"/>
              <a:gd name="connsiteY920" fmla="*/ 838905 h 3211589"/>
              <a:gd name="connsiteX921" fmla="*/ 2636000 w 12182565"/>
              <a:gd name="connsiteY921" fmla="*/ 661785 h 3211589"/>
              <a:gd name="connsiteX922" fmla="*/ 2976640 w 12182565"/>
              <a:gd name="connsiteY922" fmla="*/ 596985 h 3211589"/>
              <a:gd name="connsiteX923" fmla="*/ 3170080 w 12182565"/>
              <a:gd name="connsiteY923" fmla="*/ 568025 h 3211589"/>
              <a:gd name="connsiteX924" fmla="*/ 3284800 w 12182565"/>
              <a:gd name="connsiteY924" fmla="*/ 549305 h 3211589"/>
              <a:gd name="connsiteX925" fmla="*/ 3790720 w 12182565"/>
              <a:gd name="connsiteY925" fmla="*/ 611385 h 3211589"/>
              <a:gd name="connsiteX926" fmla="*/ 4087040 w 12182565"/>
              <a:gd name="connsiteY926" fmla="*/ 773145 h 3211589"/>
              <a:gd name="connsiteX927" fmla="*/ 4099200 w 12182565"/>
              <a:gd name="connsiteY927" fmla="*/ 782425 h 3211589"/>
              <a:gd name="connsiteX928" fmla="*/ 4331521 w 12182565"/>
              <a:gd name="connsiteY928" fmla="*/ 941785 h 3211589"/>
              <a:gd name="connsiteX929" fmla="*/ 4469280 w 12182565"/>
              <a:gd name="connsiteY929" fmla="*/ 1033305 h 3211589"/>
              <a:gd name="connsiteX930" fmla="*/ 4471520 w 12182565"/>
              <a:gd name="connsiteY930" fmla="*/ 1034585 h 3211589"/>
              <a:gd name="connsiteX931" fmla="*/ 4683360 w 12182565"/>
              <a:gd name="connsiteY931" fmla="*/ 1065145 h 3211589"/>
              <a:gd name="connsiteX932" fmla="*/ 4880000 w 12182565"/>
              <a:gd name="connsiteY932" fmla="*/ 1012345 h 3211589"/>
              <a:gd name="connsiteX933" fmla="*/ 4988480 w 12182565"/>
              <a:gd name="connsiteY933" fmla="*/ 979865 h 3211589"/>
              <a:gd name="connsiteX934" fmla="*/ 5043840 w 12182565"/>
              <a:gd name="connsiteY934" fmla="*/ 968825 h 3211589"/>
              <a:gd name="connsiteX935" fmla="*/ 5437920 w 12182565"/>
              <a:gd name="connsiteY935" fmla="*/ 924825 h 3211589"/>
              <a:gd name="connsiteX936" fmla="*/ 6029120 w 12182565"/>
              <a:gd name="connsiteY936" fmla="*/ 1019545 h 3211589"/>
              <a:gd name="connsiteX937" fmla="*/ 6439200 w 12182565"/>
              <a:gd name="connsiteY937" fmla="*/ 1242425 h 3211589"/>
              <a:gd name="connsiteX938" fmla="*/ 6511840 w 12182565"/>
              <a:gd name="connsiteY938" fmla="*/ 1504505 h 3211589"/>
              <a:gd name="connsiteX939" fmla="*/ 6528640 w 12182565"/>
              <a:gd name="connsiteY939" fmla="*/ 1664505 h 3211589"/>
              <a:gd name="connsiteX940" fmla="*/ 6492480 w 12182565"/>
              <a:gd name="connsiteY940" fmla="*/ 1704505 h 3211589"/>
              <a:gd name="connsiteX941" fmla="*/ 7377280 w 12182565"/>
              <a:gd name="connsiteY941" fmla="*/ 1704825 h 3211589"/>
              <a:gd name="connsiteX942" fmla="*/ 7663360 w 12182565"/>
              <a:gd name="connsiteY942" fmla="*/ 1484505 h 3211589"/>
              <a:gd name="connsiteX943" fmla="*/ 7755360 w 12182565"/>
              <a:gd name="connsiteY943" fmla="*/ 1386905 h 3211589"/>
              <a:gd name="connsiteX944" fmla="*/ 7881440 w 12182565"/>
              <a:gd name="connsiteY944" fmla="*/ 1260505 h 3211589"/>
              <a:gd name="connsiteX945" fmla="*/ 7898560 w 12182565"/>
              <a:gd name="connsiteY945" fmla="*/ 1249465 h 3211589"/>
              <a:gd name="connsiteX946" fmla="*/ 8089600 w 12182565"/>
              <a:gd name="connsiteY946" fmla="*/ 1166585 h 3211589"/>
              <a:gd name="connsiteX947" fmla="*/ 8177600 w 12182565"/>
              <a:gd name="connsiteY947" fmla="*/ 1161145 h 3211589"/>
              <a:gd name="connsiteX948" fmla="*/ 8243041 w 12182565"/>
              <a:gd name="connsiteY948" fmla="*/ 1159705 h 3211589"/>
              <a:gd name="connsiteX949" fmla="*/ 7988000 w 12182565"/>
              <a:gd name="connsiteY949" fmla="*/ 1283545 h 3211589"/>
              <a:gd name="connsiteX950" fmla="*/ 7892640 w 12182565"/>
              <a:gd name="connsiteY950" fmla="*/ 1362745 h 3211589"/>
              <a:gd name="connsiteX951" fmla="*/ 7802560 w 12182565"/>
              <a:gd name="connsiteY951" fmla="*/ 1437625 h 3211589"/>
              <a:gd name="connsiteX952" fmla="*/ 7768480 w 12182565"/>
              <a:gd name="connsiteY952" fmla="*/ 1459705 h 3211589"/>
              <a:gd name="connsiteX953" fmla="*/ 7540320 w 12182565"/>
              <a:gd name="connsiteY953" fmla="*/ 1610745 h 3211589"/>
              <a:gd name="connsiteX954" fmla="*/ 7377280 w 12182565"/>
              <a:gd name="connsiteY954" fmla="*/ 1704825 h 3211589"/>
              <a:gd name="connsiteX955" fmla="*/ 13440 w 12182565"/>
              <a:gd name="connsiteY955" fmla="*/ 1716185 h 3211589"/>
              <a:gd name="connsiteX956" fmla="*/ 500960 w 12182565"/>
              <a:gd name="connsiteY956" fmla="*/ 1390425 h 3211589"/>
              <a:gd name="connsiteX957" fmla="*/ 796160 w 12182565"/>
              <a:gd name="connsiteY957" fmla="*/ 799705 h 3211589"/>
              <a:gd name="connsiteX958" fmla="*/ 1305120 w 12182565"/>
              <a:gd name="connsiteY958" fmla="*/ 216185 h 3211589"/>
              <a:gd name="connsiteX959" fmla="*/ 1414080 w 12182565"/>
              <a:gd name="connsiteY959" fmla="*/ 149945 h 3211589"/>
              <a:gd name="connsiteX960" fmla="*/ 1640700 w 12182565"/>
              <a:gd name="connsiteY960" fmla="*/ 23525 h 3211589"/>
              <a:gd name="connsiteX961" fmla="*/ 1703527 w 12182565"/>
              <a:gd name="connsiteY961" fmla="*/ 0 h 3211589"/>
              <a:gd name="connsiteX962" fmla="*/ 1657276 w 12182565"/>
              <a:gd name="connsiteY962" fmla="*/ 0 h 3211589"/>
              <a:gd name="connsiteX963" fmla="*/ 1634140 w 12182565"/>
              <a:gd name="connsiteY963" fmla="*/ 8665 h 3211589"/>
              <a:gd name="connsiteX964" fmla="*/ 1405440 w 12182565"/>
              <a:gd name="connsiteY964" fmla="*/ 136185 h 3211589"/>
              <a:gd name="connsiteX965" fmla="*/ 1296800 w 12182565"/>
              <a:gd name="connsiteY965" fmla="*/ 202265 h 3211589"/>
              <a:gd name="connsiteX966" fmla="*/ 781600 w 12182565"/>
              <a:gd name="connsiteY966" fmla="*/ 792825 h 3211589"/>
              <a:gd name="connsiteX967" fmla="*/ 486560 w 12182565"/>
              <a:gd name="connsiteY967" fmla="*/ 1383065 h 3211589"/>
              <a:gd name="connsiteX968" fmla="*/ 10720 w 12182565"/>
              <a:gd name="connsiteY968" fmla="*/ 1700345 h 3211589"/>
              <a:gd name="connsiteX969" fmla="*/ 4160 w 12182565"/>
              <a:gd name="connsiteY969" fmla="*/ 1709625 h 3211589"/>
              <a:gd name="connsiteX970" fmla="*/ 13440 w 12182565"/>
              <a:gd name="connsiteY970" fmla="*/ 1716185 h 3211589"/>
              <a:gd name="connsiteX971" fmla="*/ 6475040 w 12182565"/>
              <a:gd name="connsiteY971" fmla="*/ 1732825 h 3211589"/>
              <a:gd name="connsiteX972" fmla="*/ 6439680 w 12182565"/>
              <a:gd name="connsiteY972" fmla="*/ 1611065 h 3211589"/>
              <a:gd name="connsiteX973" fmla="*/ 6431840 w 12182565"/>
              <a:gd name="connsiteY973" fmla="*/ 1557305 h 3211589"/>
              <a:gd name="connsiteX974" fmla="*/ 6329280 w 12182565"/>
              <a:gd name="connsiteY974" fmla="*/ 1361305 h 3211589"/>
              <a:gd name="connsiteX975" fmla="*/ 6043360 w 12182565"/>
              <a:gd name="connsiteY975" fmla="*/ 1174585 h 3211589"/>
              <a:gd name="connsiteX976" fmla="*/ 5451840 w 12182565"/>
              <a:gd name="connsiteY976" fmla="*/ 1052985 h 3211589"/>
              <a:gd name="connsiteX977" fmla="*/ 5019680 w 12182565"/>
              <a:gd name="connsiteY977" fmla="*/ 1110905 h 3211589"/>
              <a:gd name="connsiteX978" fmla="*/ 4953760 w 12182565"/>
              <a:gd name="connsiteY978" fmla="*/ 1130585 h 3211589"/>
              <a:gd name="connsiteX979" fmla="*/ 4610560 w 12182565"/>
              <a:gd name="connsiteY979" fmla="*/ 1148985 h 3211589"/>
              <a:gd name="connsiteX980" fmla="*/ 4457761 w 12182565"/>
              <a:gd name="connsiteY980" fmla="*/ 1063385 h 3211589"/>
              <a:gd name="connsiteX981" fmla="*/ 4437441 w 12182565"/>
              <a:gd name="connsiteY981" fmla="*/ 1048185 h 3211589"/>
              <a:gd name="connsiteX982" fmla="*/ 4223840 w 12182565"/>
              <a:gd name="connsiteY982" fmla="*/ 960505 h 3211589"/>
              <a:gd name="connsiteX983" fmla="*/ 4040480 w 12182565"/>
              <a:gd name="connsiteY983" fmla="*/ 863225 h 3211589"/>
              <a:gd name="connsiteX984" fmla="*/ 3906240 w 12182565"/>
              <a:gd name="connsiteY984" fmla="*/ 787705 h 3211589"/>
              <a:gd name="connsiteX985" fmla="*/ 3496160 w 12182565"/>
              <a:gd name="connsiteY985" fmla="*/ 675385 h 3211589"/>
              <a:gd name="connsiteX986" fmla="*/ 3397440 w 12182565"/>
              <a:gd name="connsiteY986" fmla="*/ 670425 h 3211589"/>
              <a:gd name="connsiteX987" fmla="*/ 3044480 w 12182565"/>
              <a:gd name="connsiteY987" fmla="*/ 696985 h 3211589"/>
              <a:gd name="connsiteX988" fmla="*/ 2697920 w 12182565"/>
              <a:gd name="connsiteY988" fmla="*/ 746585 h 3211589"/>
              <a:gd name="connsiteX989" fmla="*/ 2459200 w 12182565"/>
              <a:gd name="connsiteY989" fmla="*/ 895545 h 3211589"/>
              <a:gd name="connsiteX990" fmla="*/ 2429760 w 12182565"/>
              <a:gd name="connsiteY990" fmla="*/ 924345 h 3211589"/>
              <a:gd name="connsiteX991" fmla="*/ 2377440 w 12182565"/>
              <a:gd name="connsiteY991" fmla="*/ 966425 h 3211589"/>
              <a:gd name="connsiteX992" fmla="*/ 2269600 w 12182565"/>
              <a:gd name="connsiteY992" fmla="*/ 1047545 h 3211589"/>
              <a:gd name="connsiteX993" fmla="*/ 2145280 w 12182565"/>
              <a:gd name="connsiteY993" fmla="*/ 1193785 h 3211589"/>
              <a:gd name="connsiteX994" fmla="*/ 2144160 w 12182565"/>
              <a:gd name="connsiteY994" fmla="*/ 1198105 h 3211589"/>
              <a:gd name="connsiteX995" fmla="*/ 2053280 w 12182565"/>
              <a:gd name="connsiteY995" fmla="*/ 1295545 h 3211589"/>
              <a:gd name="connsiteX996" fmla="*/ 2063520 w 12182565"/>
              <a:gd name="connsiteY996" fmla="*/ 1277465 h 3211589"/>
              <a:gd name="connsiteX997" fmla="*/ 2265120 w 12182565"/>
              <a:gd name="connsiteY997" fmla="*/ 1020665 h 3211589"/>
              <a:gd name="connsiteX998" fmla="*/ 2308160 w 12182565"/>
              <a:gd name="connsiteY998" fmla="*/ 985785 h 3211589"/>
              <a:gd name="connsiteX999" fmla="*/ 2363840 w 12182565"/>
              <a:gd name="connsiteY999" fmla="*/ 917785 h 3211589"/>
              <a:gd name="connsiteX1000" fmla="*/ 2478080 w 12182565"/>
              <a:gd name="connsiteY1000" fmla="*/ 798745 h 3211589"/>
              <a:gd name="connsiteX1001" fmla="*/ 2504000 w 12182565"/>
              <a:gd name="connsiteY1001" fmla="*/ 784185 h 3211589"/>
              <a:gd name="connsiteX1002" fmla="*/ 2854560 w 12182565"/>
              <a:gd name="connsiteY1002" fmla="*/ 665945 h 3211589"/>
              <a:gd name="connsiteX1003" fmla="*/ 3117440 w 12182565"/>
              <a:gd name="connsiteY1003" fmla="*/ 638745 h 3211589"/>
              <a:gd name="connsiteX1004" fmla="*/ 3269760 w 12182565"/>
              <a:gd name="connsiteY1004" fmla="*/ 622905 h 3211589"/>
              <a:gd name="connsiteX1005" fmla="*/ 3769920 w 12182565"/>
              <a:gd name="connsiteY1005" fmla="*/ 667705 h 3211589"/>
              <a:gd name="connsiteX1006" fmla="*/ 4106240 w 12182565"/>
              <a:gd name="connsiteY1006" fmla="*/ 843385 h 3211589"/>
              <a:gd name="connsiteX1007" fmla="*/ 4347520 w 12182565"/>
              <a:gd name="connsiteY1007" fmla="*/ 989785 h 3211589"/>
              <a:gd name="connsiteX1008" fmla="*/ 4516481 w 12182565"/>
              <a:gd name="connsiteY1008" fmla="*/ 1092185 h 3211589"/>
              <a:gd name="connsiteX1009" fmla="*/ 4519520 w 12182565"/>
              <a:gd name="connsiteY1009" fmla="*/ 1094905 h 3211589"/>
              <a:gd name="connsiteX1010" fmla="*/ 4674240 w 12182565"/>
              <a:gd name="connsiteY1010" fmla="*/ 1121945 h 3211589"/>
              <a:gd name="connsiteX1011" fmla="*/ 4951680 w 12182565"/>
              <a:gd name="connsiteY1011" fmla="*/ 1058905 h 3211589"/>
              <a:gd name="connsiteX1012" fmla="*/ 4979040 w 12182565"/>
              <a:gd name="connsiteY1012" fmla="*/ 1050105 h 3211589"/>
              <a:gd name="connsiteX1013" fmla="*/ 5630560 w 12182565"/>
              <a:gd name="connsiteY1013" fmla="*/ 1004985 h 3211589"/>
              <a:gd name="connsiteX1014" fmla="*/ 6256000 w 12182565"/>
              <a:gd name="connsiteY1014" fmla="*/ 1223385 h 3211589"/>
              <a:gd name="connsiteX1015" fmla="*/ 6460160 w 12182565"/>
              <a:gd name="connsiteY1015" fmla="*/ 1505945 h 3211589"/>
              <a:gd name="connsiteX1016" fmla="*/ 6460640 w 12182565"/>
              <a:gd name="connsiteY1016" fmla="*/ 1518425 h 3211589"/>
              <a:gd name="connsiteX1017" fmla="*/ 6478400 w 12182565"/>
              <a:gd name="connsiteY1017" fmla="*/ 1713465 h 3211589"/>
              <a:gd name="connsiteX1018" fmla="*/ 6483360 w 12182565"/>
              <a:gd name="connsiteY1018" fmla="*/ 1718425 h 3211589"/>
              <a:gd name="connsiteX1019" fmla="*/ 6475040 w 12182565"/>
              <a:gd name="connsiteY1019" fmla="*/ 1732825 h 3211589"/>
              <a:gd name="connsiteX1020" fmla="*/ 7281600 w 12182565"/>
              <a:gd name="connsiteY1020" fmla="*/ 1745145 h 3211589"/>
              <a:gd name="connsiteX1021" fmla="*/ 7568960 w 12182565"/>
              <a:gd name="connsiteY1021" fmla="*/ 1486105 h 3211589"/>
              <a:gd name="connsiteX1022" fmla="*/ 7586080 w 12182565"/>
              <a:gd name="connsiteY1022" fmla="*/ 1460985 h 3211589"/>
              <a:gd name="connsiteX1023" fmla="*/ 7816000 w 12182565"/>
              <a:gd name="connsiteY1023" fmla="*/ 1204345 h 3211589"/>
              <a:gd name="connsiteX1024" fmla="*/ 7915360 w 12182565"/>
              <a:gd name="connsiteY1024" fmla="*/ 1179065 h 3211589"/>
              <a:gd name="connsiteX1025" fmla="*/ 8015360 w 12182565"/>
              <a:gd name="connsiteY1025" fmla="*/ 1168505 h 3211589"/>
              <a:gd name="connsiteX1026" fmla="*/ 7889920 w 12182565"/>
              <a:gd name="connsiteY1026" fmla="*/ 1235865 h 3211589"/>
              <a:gd name="connsiteX1027" fmla="*/ 7872960 w 12182565"/>
              <a:gd name="connsiteY1027" fmla="*/ 1246905 h 3211589"/>
              <a:gd name="connsiteX1028" fmla="*/ 7743520 w 12182565"/>
              <a:gd name="connsiteY1028" fmla="*/ 1376185 h 3211589"/>
              <a:gd name="connsiteX1029" fmla="*/ 7652480 w 12182565"/>
              <a:gd name="connsiteY1029" fmla="*/ 1472825 h 3211589"/>
              <a:gd name="connsiteX1030" fmla="*/ 7319840 w 12182565"/>
              <a:gd name="connsiteY1030" fmla="*/ 1726745 h 3211589"/>
              <a:gd name="connsiteX1031" fmla="*/ 7281600 w 12182565"/>
              <a:gd name="connsiteY1031" fmla="*/ 1745145 h 3211589"/>
              <a:gd name="connsiteX1032" fmla="*/ 8000 w 12182565"/>
              <a:gd name="connsiteY1032" fmla="*/ 1747865 h 3211589"/>
              <a:gd name="connsiteX1033" fmla="*/ 542080 w 12182565"/>
              <a:gd name="connsiteY1033" fmla="*/ 1648505 h 3211589"/>
              <a:gd name="connsiteX1034" fmla="*/ 883360 w 12182565"/>
              <a:gd name="connsiteY1034" fmla="*/ 1285305 h 3211589"/>
              <a:gd name="connsiteX1035" fmla="*/ 951680 w 12182565"/>
              <a:gd name="connsiteY1035" fmla="*/ 1160345 h 3211589"/>
              <a:gd name="connsiteX1036" fmla="*/ 1031520 w 12182565"/>
              <a:gd name="connsiteY1036" fmla="*/ 990105 h 3211589"/>
              <a:gd name="connsiteX1037" fmla="*/ 1191360 w 12182565"/>
              <a:gd name="connsiteY1037" fmla="*/ 586905 h 3211589"/>
              <a:gd name="connsiteX1038" fmla="*/ 1769120 w 12182565"/>
              <a:gd name="connsiteY1038" fmla="*/ 80505 h 3211589"/>
              <a:gd name="connsiteX1039" fmla="*/ 1974883 w 12182565"/>
              <a:gd name="connsiteY1039" fmla="*/ 1008 h 3211589"/>
              <a:gd name="connsiteX1040" fmla="*/ 1979093 w 12182565"/>
              <a:gd name="connsiteY1040" fmla="*/ 0 h 3211589"/>
              <a:gd name="connsiteX1041" fmla="*/ 1925025 w 12182565"/>
              <a:gd name="connsiteY1041" fmla="*/ 0 h 3211589"/>
              <a:gd name="connsiteX1042" fmla="*/ 1924083 w 12182565"/>
              <a:gd name="connsiteY1042" fmla="*/ 268 h 3211589"/>
              <a:gd name="connsiteX1043" fmla="*/ 1762080 w 12182565"/>
              <a:gd name="connsiteY1043" fmla="*/ 65625 h 3211589"/>
              <a:gd name="connsiteX1044" fmla="*/ 1176800 w 12182565"/>
              <a:gd name="connsiteY1044" fmla="*/ 579545 h 3211589"/>
              <a:gd name="connsiteX1045" fmla="*/ 1015520 w 12182565"/>
              <a:gd name="connsiteY1045" fmla="*/ 986905 h 3211589"/>
              <a:gd name="connsiteX1046" fmla="*/ 937760 w 12182565"/>
              <a:gd name="connsiteY1046" fmla="*/ 1151865 h 3211589"/>
              <a:gd name="connsiteX1047" fmla="*/ 868640 w 12182565"/>
              <a:gd name="connsiteY1047" fmla="*/ 1278745 h 3211589"/>
              <a:gd name="connsiteX1048" fmla="*/ 532800 w 12182565"/>
              <a:gd name="connsiteY1048" fmla="*/ 1635385 h 3211589"/>
              <a:gd name="connsiteX1049" fmla="*/ 8000 w 12182565"/>
              <a:gd name="connsiteY1049" fmla="*/ 1731705 h 3211589"/>
              <a:gd name="connsiteX1050" fmla="*/ 0 w 12182565"/>
              <a:gd name="connsiteY1050" fmla="*/ 1739705 h 3211589"/>
              <a:gd name="connsiteX1051" fmla="*/ 8000 w 12182565"/>
              <a:gd name="connsiteY1051" fmla="*/ 1747865 h 3211589"/>
              <a:gd name="connsiteX1052" fmla="*/ 6459200 w 12182565"/>
              <a:gd name="connsiteY1052" fmla="*/ 1768025 h 3211589"/>
              <a:gd name="connsiteX1053" fmla="*/ 6391840 w 12182565"/>
              <a:gd name="connsiteY1053" fmla="*/ 1630265 h 3211589"/>
              <a:gd name="connsiteX1054" fmla="*/ 6373280 w 12182565"/>
              <a:gd name="connsiteY1054" fmla="*/ 1574585 h 3211589"/>
              <a:gd name="connsiteX1055" fmla="*/ 6256800 w 12182565"/>
              <a:gd name="connsiteY1055" fmla="*/ 1390745 h 3211589"/>
              <a:gd name="connsiteX1056" fmla="*/ 5755360 w 12182565"/>
              <a:gd name="connsiteY1056" fmla="*/ 1158425 h 3211589"/>
              <a:gd name="connsiteX1057" fmla="*/ 5477120 w 12182565"/>
              <a:gd name="connsiteY1057" fmla="*/ 1131545 h 3211589"/>
              <a:gd name="connsiteX1058" fmla="*/ 5204961 w 12182565"/>
              <a:gd name="connsiteY1058" fmla="*/ 1150905 h 3211589"/>
              <a:gd name="connsiteX1059" fmla="*/ 5126400 w 12182565"/>
              <a:gd name="connsiteY1059" fmla="*/ 1165145 h 3211589"/>
              <a:gd name="connsiteX1060" fmla="*/ 4865281 w 12182565"/>
              <a:gd name="connsiteY1060" fmla="*/ 1199065 h 3211589"/>
              <a:gd name="connsiteX1061" fmla="*/ 4592480 w 12182565"/>
              <a:gd name="connsiteY1061" fmla="*/ 1182105 h 3211589"/>
              <a:gd name="connsiteX1062" fmla="*/ 4532321 w 12182565"/>
              <a:gd name="connsiteY1062" fmla="*/ 1134745 h 3211589"/>
              <a:gd name="connsiteX1063" fmla="*/ 4609280 w 12182565"/>
              <a:gd name="connsiteY1063" fmla="*/ 1164825 h 3211589"/>
              <a:gd name="connsiteX1064" fmla="*/ 4958080 w 12182565"/>
              <a:gd name="connsiteY1064" fmla="*/ 1146105 h 3211589"/>
              <a:gd name="connsiteX1065" fmla="*/ 5024800 w 12182565"/>
              <a:gd name="connsiteY1065" fmla="*/ 1126265 h 3211589"/>
              <a:gd name="connsiteX1066" fmla="*/ 5451520 w 12182565"/>
              <a:gd name="connsiteY1066" fmla="*/ 1068985 h 3211589"/>
              <a:gd name="connsiteX1067" fmla="*/ 6036160 w 12182565"/>
              <a:gd name="connsiteY1067" fmla="*/ 1188825 h 3211589"/>
              <a:gd name="connsiteX1068" fmla="*/ 6319040 w 12182565"/>
              <a:gd name="connsiteY1068" fmla="*/ 1373465 h 3211589"/>
              <a:gd name="connsiteX1069" fmla="*/ 6416480 w 12182565"/>
              <a:gd name="connsiteY1069" fmla="*/ 1561145 h 3211589"/>
              <a:gd name="connsiteX1070" fmla="*/ 6423840 w 12182565"/>
              <a:gd name="connsiteY1070" fmla="*/ 1612665 h 3211589"/>
              <a:gd name="connsiteX1071" fmla="*/ 6467840 w 12182565"/>
              <a:gd name="connsiteY1071" fmla="*/ 1747225 h 3211589"/>
              <a:gd name="connsiteX1072" fmla="*/ 6459200 w 12182565"/>
              <a:gd name="connsiteY1072" fmla="*/ 1768025 h 3211589"/>
              <a:gd name="connsiteX1073" fmla="*/ 6475360 w 12182565"/>
              <a:gd name="connsiteY1073" fmla="*/ 1770745 h 3211589"/>
              <a:gd name="connsiteX1074" fmla="*/ 6538560 w 12182565"/>
              <a:gd name="connsiteY1074" fmla="*/ 1677305 h 3211589"/>
              <a:gd name="connsiteX1075" fmla="*/ 6667360 w 12182565"/>
              <a:gd name="connsiteY1075" fmla="*/ 1680665 h 3211589"/>
              <a:gd name="connsiteX1076" fmla="*/ 6884640 w 12182565"/>
              <a:gd name="connsiteY1076" fmla="*/ 1598905 h 3211589"/>
              <a:gd name="connsiteX1077" fmla="*/ 6945920 w 12182565"/>
              <a:gd name="connsiteY1077" fmla="*/ 1569945 h 3211589"/>
              <a:gd name="connsiteX1078" fmla="*/ 6980480 w 12182565"/>
              <a:gd name="connsiteY1078" fmla="*/ 1555545 h 3211589"/>
              <a:gd name="connsiteX1079" fmla="*/ 7041760 w 12182565"/>
              <a:gd name="connsiteY1079" fmla="*/ 1530105 h 3211589"/>
              <a:gd name="connsiteX1080" fmla="*/ 6799840 w 12182565"/>
              <a:gd name="connsiteY1080" fmla="*/ 1689145 h 3211589"/>
              <a:gd name="connsiteX1081" fmla="*/ 6475360 w 12182565"/>
              <a:gd name="connsiteY1081" fmla="*/ 1770745 h 3211589"/>
              <a:gd name="connsiteX1082" fmla="*/ 6451040 w 12182565"/>
              <a:gd name="connsiteY1082" fmla="*/ 1801305 h 3211589"/>
              <a:gd name="connsiteX1083" fmla="*/ 6341280 w 12182565"/>
              <a:gd name="connsiteY1083" fmla="*/ 1619225 h 3211589"/>
              <a:gd name="connsiteX1084" fmla="*/ 6272320 w 12182565"/>
              <a:gd name="connsiteY1084" fmla="*/ 1520025 h 3211589"/>
              <a:gd name="connsiteX1085" fmla="*/ 6238560 w 12182565"/>
              <a:gd name="connsiteY1085" fmla="*/ 1479705 h 3211589"/>
              <a:gd name="connsiteX1086" fmla="*/ 5802080 w 12182565"/>
              <a:gd name="connsiteY1086" fmla="*/ 1247385 h 3211589"/>
              <a:gd name="connsiteX1087" fmla="*/ 5446560 w 12182565"/>
              <a:gd name="connsiteY1087" fmla="*/ 1203225 h 3211589"/>
              <a:gd name="connsiteX1088" fmla="*/ 5286081 w 12182565"/>
              <a:gd name="connsiteY1088" fmla="*/ 1208025 h 3211589"/>
              <a:gd name="connsiteX1089" fmla="*/ 5237920 w 12182565"/>
              <a:gd name="connsiteY1089" fmla="*/ 1210105 h 3211589"/>
              <a:gd name="connsiteX1090" fmla="*/ 5078720 w 12182565"/>
              <a:gd name="connsiteY1090" fmla="*/ 1229625 h 3211589"/>
              <a:gd name="connsiteX1091" fmla="*/ 4925280 w 12182565"/>
              <a:gd name="connsiteY1091" fmla="*/ 1247225 h 3211589"/>
              <a:gd name="connsiteX1092" fmla="*/ 4650721 w 12182565"/>
              <a:gd name="connsiteY1092" fmla="*/ 1233465 h 3211589"/>
              <a:gd name="connsiteX1093" fmla="*/ 4616961 w 12182565"/>
              <a:gd name="connsiteY1093" fmla="*/ 1201625 h 3211589"/>
              <a:gd name="connsiteX1094" fmla="*/ 4865440 w 12182565"/>
              <a:gd name="connsiteY1094" fmla="*/ 1214905 h 3211589"/>
              <a:gd name="connsiteX1095" fmla="*/ 5129281 w 12182565"/>
              <a:gd name="connsiteY1095" fmla="*/ 1180825 h 3211589"/>
              <a:gd name="connsiteX1096" fmla="*/ 5207040 w 12182565"/>
              <a:gd name="connsiteY1096" fmla="*/ 1166745 h 3211589"/>
              <a:gd name="connsiteX1097" fmla="*/ 5752000 w 12182565"/>
              <a:gd name="connsiteY1097" fmla="*/ 1174105 h 3211589"/>
              <a:gd name="connsiteX1098" fmla="*/ 6244800 w 12182565"/>
              <a:gd name="connsiteY1098" fmla="*/ 1401305 h 3211589"/>
              <a:gd name="connsiteX1099" fmla="*/ 6358560 w 12182565"/>
              <a:gd name="connsiteY1099" fmla="*/ 1580665 h 3211589"/>
              <a:gd name="connsiteX1100" fmla="*/ 6376480 w 12182565"/>
              <a:gd name="connsiteY1100" fmla="*/ 1634745 h 3211589"/>
              <a:gd name="connsiteX1101" fmla="*/ 6452960 w 12182565"/>
              <a:gd name="connsiteY1101" fmla="*/ 1784025 h 3211589"/>
              <a:gd name="connsiteX1102" fmla="*/ 6453600 w 12182565"/>
              <a:gd name="connsiteY1102" fmla="*/ 1784345 h 3211589"/>
              <a:gd name="connsiteX1103" fmla="*/ 6454240 w 12182565"/>
              <a:gd name="connsiteY1103" fmla="*/ 1784825 h 3211589"/>
              <a:gd name="connsiteX1104" fmla="*/ 6451040 w 12182565"/>
              <a:gd name="connsiteY1104" fmla="*/ 1801305 h 3211589"/>
              <a:gd name="connsiteX1105" fmla="*/ 7118400 w 12182565"/>
              <a:gd name="connsiteY1105" fmla="*/ 1815385 h 3211589"/>
              <a:gd name="connsiteX1106" fmla="*/ 7398881 w 12182565"/>
              <a:gd name="connsiteY1106" fmla="*/ 1580665 h 3211589"/>
              <a:gd name="connsiteX1107" fmla="*/ 7522720 w 12182565"/>
              <a:gd name="connsiteY1107" fmla="*/ 1417305 h 3211589"/>
              <a:gd name="connsiteX1108" fmla="*/ 7606560 w 12182565"/>
              <a:gd name="connsiteY1108" fmla="*/ 1313945 h 3211589"/>
              <a:gd name="connsiteX1109" fmla="*/ 7752000 w 12182565"/>
              <a:gd name="connsiteY1109" fmla="*/ 1225785 h 3211589"/>
              <a:gd name="connsiteX1110" fmla="*/ 7572960 w 12182565"/>
              <a:gd name="connsiteY1110" fmla="*/ 1451865 h 3211589"/>
              <a:gd name="connsiteX1111" fmla="*/ 7555840 w 12182565"/>
              <a:gd name="connsiteY1111" fmla="*/ 1476985 h 3211589"/>
              <a:gd name="connsiteX1112" fmla="*/ 7221920 w 12182565"/>
              <a:gd name="connsiteY1112" fmla="*/ 1768185 h 3211589"/>
              <a:gd name="connsiteX1113" fmla="*/ 7218560 w 12182565"/>
              <a:gd name="connsiteY1113" fmla="*/ 1774425 h 3211589"/>
              <a:gd name="connsiteX1114" fmla="*/ 7118400 w 12182565"/>
              <a:gd name="connsiteY1114" fmla="*/ 1815385 h 3211589"/>
              <a:gd name="connsiteX1115" fmla="*/ 770560 w 12182565"/>
              <a:gd name="connsiteY1115" fmla="*/ 1817785 h 3211589"/>
              <a:gd name="connsiteX1116" fmla="*/ 825280 w 12182565"/>
              <a:gd name="connsiteY1116" fmla="*/ 1793945 h 3211589"/>
              <a:gd name="connsiteX1117" fmla="*/ 927840 w 12182565"/>
              <a:gd name="connsiteY1117" fmla="*/ 1723065 h 3211589"/>
              <a:gd name="connsiteX1118" fmla="*/ 1072320 w 12182565"/>
              <a:gd name="connsiteY1118" fmla="*/ 1627545 h 3211589"/>
              <a:gd name="connsiteX1119" fmla="*/ 1418240 w 12182565"/>
              <a:gd name="connsiteY1119" fmla="*/ 1443065 h 3211589"/>
              <a:gd name="connsiteX1120" fmla="*/ 1597920 w 12182565"/>
              <a:gd name="connsiteY1120" fmla="*/ 1209145 h 3211589"/>
              <a:gd name="connsiteX1121" fmla="*/ 1602720 w 12182565"/>
              <a:gd name="connsiteY1121" fmla="*/ 1198425 h 3211589"/>
              <a:gd name="connsiteX1122" fmla="*/ 1776000 w 12182565"/>
              <a:gd name="connsiteY1122" fmla="*/ 839865 h 3211589"/>
              <a:gd name="connsiteX1123" fmla="*/ 1786560 w 12182565"/>
              <a:gd name="connsiteY1123" fmla="*/ 822905 h 3211589"/>
              <a:gd name="connsiteX1124" fmla="*/ 2257920 w 12182565"/>
              <a:gd name="connsiteY1124" fmla="*/ 386585 h 3211589"/>
              <a:gd name="connsiteX1125" fmla="*/ 2506400 w 12182565"/>
              <a:gd name="connsiteY1125" fmla="*/ 280825 h 3211589"/>
              <a:gd name="connsiteX1126" fmla="*/ 2544800 w 12182565"/>
              <a:gd name="connsiteY1126" fmla="*/ 262425 h 3211589"/>
              <a:gd name="connsiteX1127" fmla="*/ 2899520 w 12182565"/>
              <a:gd name="connsiteY1127" fmla="*/ 137625 h 3211589"/>
              <a:gd name="connsiteX1128" fmla="*/ 3468320 w 12182565"/>
              <a:gd name="connsiteY1128" fmla="*/ 160345 h 3211589"/>
              <a:gd name="connsiteX1129" fmla="*/ 3866080 w 12182565"/>
              <a:gd name="connsiteY1129" fmla="*/ 328025 h 3211589"/>
              <a:gd name="connsiteX1130" fmla="*/ 3944160 w 12182565"/>
              <a:gd name="connsiteY1130" fmla="*/ 392985 h 3211589"/>
              <a:gd name="connsiteX1131" fmla="*/ 3909600 w 12182565"/>
              <a:gd name="connsiteY1131" fmla="*/ 367065 h 3211589"/>
              <a:gd name="connsiteX1132" fmla="*/ 3451520 w 12182565"/>
              <a:gd name="connsiteY1132" fmla="*/ 194905 h 3211589"/>
              <a:gd name="connsiteX1133" fmla="*/ 3258560 w 12182565"/>
              <a:gd name="connsiteY1133" fmla="*/ 186745 h 3211589"/>
              <a:gd name="connsiteX1134" fmla="*/ 2929600 w 12182565"/>
              <a:gd name="connsiteY1134" fmla="*/ 208825 h 3211589"/>
              <a:gd name="connsiteX1135" fmla="*/ 2600000 w 12182565"/>
              <a:gd name="connsiteY1135" fmla="*/ 336025 h 3211589"/>
              <a:gd name="connsiteX1136" fmla="*/ 2144800 w 12182565"/>
              <a:gd name="connsiteY1136" fmla="*/ 559225 h 3211589"/>
              <a:gd name="connsiteX1137" fmla="*/ 1782720 w 12182565"/>
              <a:gd name="connsiteY1137" fmla="*/ 1080505 h 3211589"/>
              <a:gd name="connsiteX1138" fmla="*/ 1566720 w 12182565"/>
              <a:gd name="connsiteY1138" fmla="*/ 1382265 h 3211589"/>
              <a:gd name="connsiteX1139" fmla="*/ 1400800 w 12182565"/>
              <a:gd name="connsiteY1139" fmla="*/ 1497625 h 3211589"/>
              <a:gd name="connsiteX1140" fmla="*/ 1207840 w 12182565"/>
              <a:gd name="connsiteY1140" fmla="*/ 1632665 h 3211589"/>
              <a:gd name="connsiteX1141" fmla="*/ 991200 w 12182565"/>
              <a:gd name="connsiteY1141" fmla="*/ 1760825 h 3211589"/>
              <a:gd name="connsiteX1142" fmla="*/ 990880 w 12182565"/>
              <a:gd name="connsiteY1142" fmla="*/ 1760985 h 3211589"/>
              <a:gd name="connsiteX1143" fmla="*/ 990720 w 12182565"/>
              <a:gd name="connsiteY1143" fmla="*/ 1760985 h 3211589"/>
              <a:gd name="connsiteX1144" fmla="*/ 933760 w 12182565"/>
              <a:gd name="connsiteY1144" fmla="*/ 1790905 h 3211589"/>
              <a:gd name="connsiteX1145" fmla="*/ 928320 w 12182565"/>
              <a:gd name="connsiteY1145" fmla="*/ 1788665 h 3211589"/>
              <a:gd name="connsiteX1146" fmla="*/ 927040 w 12182565"/>
              <a:gd name="connsiteY1146" fmla="*/ 1788825 h 3211589"/>
              <a:gd name="connsiteX1147" fmla="*/ 872480 w 12182565"/>
              <a:gd name="connsiteY1147" fmla="*/ 1803225 h 3211589"/>
              <a:gd name="connsiteX1148" fmla="*/ 866400 w 12182565"/>
              <a:gd name="connsiteY1148" fmla="*/ 1800185 h 3211589"/>
              <a:gd name="connsiteX1149" fmla="*/ 864960 w 12182565"/>
              <a:gd name="connsiteY1149" fmla="*/ 1800345 h 3211589"/>
              <a:gd name="connsiteX1150" fmla="*/ 811200 w 12182565"/>
              <a:gd name="connsiteY1150" fmla="*/ 1815225 h 3211589"/>
              <a:gd name="connsiteX1151" fmla="*/ 804640 w 12182565"/>
              <a:gd name="connsiteY1151" fmla="*/ 1811545 h 3211589"/>
              <a:gd name="connsiteX1152" fmla="*/ 803840 w 12182565"/>
              <a:gd name="connsiteY1152" fmla="*/ 1811545 h 3211589"/>
              <a:gd name="connsiteX1153" fmla="*/ 770560 w 12182565"/>
              <a:gd name="connsiteY1153" fmla="*/ 1817785 h 3211589"/>
              <a:gd name="connsiteX1154" fmla="*/ 6449280 w 12182565"/>
              <a:gd name="connsiteY1154" fmla="*/ 1822105 h 3211589"/>
              <a:gd name="connsiteX1155" fmla="*/ 6332320 w 12182565"/>
              <a:gd name="connsiteY1155" fmla="*/ 1680665 h 3211589"/>
              <a:gd name="connsiteX1156" fmla="*/ 6314400 w 12182565"/>
              <a:gd name="connsiteY1156" fmla="*/ 1646425 h 3211589"/>
              <a:gd name="connsiteX1157" fmla="*/ 6033440 w 12182565"/>
              <a:gd name="connsiteY1157" fmla="*/ 1408825 h 3211589"/>
              <a:gd name="connsiteX1158" fmla="*/ 5567040 w 12182565"/>
              <a:gd name="connsiteY1158" fmla="*/ 1289625 h 3211589"/>
              <a:gd name="connsiteX1159" fmla="*/ 5192000 w 12182565"/>
              <a:gd name="connsiteY1159" fmla="*/ 1288345 h 3211589"/>
              <a:gd name="connsiteX1160" fmla="*/ 5050400 w 12182565"/>
              <a:gd name="connsiteY1160" fmla="*/ 1289625 h 3211589"/>
              <a:gd name="connsiteX1161" fmla="*/ 4677921 w 12182565"/>
              <a:gd name="connsiteY1161" fmla="*/ 1262425 h 3211589"/>
              <a:gd name="connsiteX1162" fmla="*/ 4667520 w 12182565"/>
              <a:gd name="connsiteY1162" fmla="*/ 1250585 h 3211589"/>
              <a:gd name="connsiteX1163" fmla="*/ 4925440 w 12182565"/>
              <a:gd name="connsiteY1163" fmla="*/ 1263065 h 3211589"/>
              <a:gd name="connsiteX1164" fmla="*/ 5081600 w 12182565"/>
              <a:gd name="connsiteY1164" fmla="*/ 1245305 h 3211589"/>
              <a:gd name="connsiteX1165" fmla="*/ 5238721 w 12182565"/>
              <a:gd name="connsiteY1165" fmla="*/ 1226105 h 3211589"/>
              <a:gd name="connsiteX1166" fmla="*/ 5287040 w 12182565"/>
              <a:gd name="connsiteY1166" fmla="*/ 1224025 h 3211589"/>
              <a:gd name="connsiteX1167" fmla="*/ 5797600 w 12182565"/>
              <a:gd name="connsiteY1167" fmla="*/ 1262905 h 3211589"/>
              <a:gd name="connsiteX1168" fmla="*/ 6226400 w 12182565"/>
              <a:gd name="connsiteY1168" fmla="*/ 1490105 h 3211589"/>
              <a:gd name="connsiteX1169" fmla="*/ 6260160 w 12182565"/>
              <a:gd name="connsiteY1169" fmla="*/ 1530585 h 3211589"/>
              <a:gd name="connsiteX1170" fmla="*/ 6326240 w 12182565"/>
              <a:gd name="connsiteY1170" fmla="*/ 1624985 h 3211589"/>
              <a:gd name="connsiteX1171" fmla="*/ 6449440 w 12182565"/>
              <a:gd name="connsiteY1171" fmla="*/ 1818265 h 3211589"/>
              <a:gd name="connsiteX1172" fmla="*/ 6449280 w 12182565"/>
              <a:gd name="connsiteY1172" fmla="*/ 1822105 h 3211589"/>
              <a:gd name="connsiteX1173" fmla="*/ 7041120 w 12182565"/>
              <a:gd name="connsiteY1173" fmla="*/ 1841305 h 3211589"/>
              <a:gd name="connsiteX1174" fmla="*/ 7281280 w 12182565"/>
              <a:gd name="connsiteY1174" fmla="*/ 1633145 h 3211589"/>
              <a:gd name="connsiteX1175" fmla="*/ 7383040 w 12182565"/>
              <a:gd name="connsiteY1175" fmla="*/ 1493305 h 3211589"/>
              <a:gd name="connsiteX1176" fmla="*/ 7493440 w 12182565"/>
              <a:gd name="connsiteY1176" fmla="*/ 1357145 h 3211589"/>
              <a:gd name="connsiteX1177" fmla="*/ 7616160 w 12182565"/>
              <a:gd name="connsiteY1177" fmla="*/ 1284985 h 3211589"/>
              <a:gd name="connsiteX1178" fmla="*/ 7596000 w 12182565"/>
              <a:gd name="connsiteY1178" fmla="*/ 1301465 h 3211589"/>
              <a:gd name="connsiteX1179" fmla="*/ 7509600 w 12182565"/>
              <a:gd name="connsiteY1179" fmla="*/ 1407705 h 3211589"/>
              <a:gd name="connsiteX1180" fmla="*/ 7386400 w 12182565"/>
              <a:gd name="connsiteY1180" fmla="*/ 1570265 h 3211589"/>
              <a:gd name="connsiteX1181" fmla="*/ 7080960 w 12182565"/>
              <a:gd name="connsiteY1181" fmla="*/ 1819065 h 3211589"/>
              <a:gd name="connsiteX1182" fmla="*/ 7077280 w 12182565"/>
              <a:gd name="connsiteY1182" fmla="*/ 1828025 h 3211589"/>
              <a:gd name="connsiteX1183" fmla="*/ 7043840 w 12182565"/>
              <a:gd name="connsiteY1183" fmla="*/ 1840345 h 3211589"/>
              <a:gd name="connsiteX1184" fmla="*/ 7041120 w 12182565"/>
              <a:gd name="connsiteY1184" fmla="*/ 1841305 h 3211589"/>
              <a:gd name="connsiteX1185" fmla="*/ 6417280 w 12182565"/>
              <a:gd name="connsiteY1185" fmla="*/ 1862745 h 3211589"/>
              <a:gd name="connsiteX1186" fmla="*/ 6257600 w 12182565"/>
              <a:gd name="connsiteY1186" fmla="*/ 1730905 h 3211589"/>
              <a:gd name="connsiteX1187" fmla="*/ 6241120 w 12182565"/>
              <a:gd name="connsiteY1187" fmla="*/ 1713945 h 3211589"/>
              <a:gd name="connsiteX1188" fmla="*/ 6056160 w 12182565"/>
              <a:gd name="connsiteY1188" fmla="*/ 1578585 h 3211589"/>
              <a:gd name="connsiteX1189" fmla="*/ 5740320 w 12182565"/>
              <a:gd name="connsiteY1189" fmla="*/ 1461625 h 3211589"/>
              <a:gd name="connsiteX1190" fmla="*/ 5342240 w 12182565"/>
              <a:gd name="connsiteY1190" fmla="*/ 1419065 h 3211589"/>
              <a:gd name="connsiteX1191" fmla="*/ 5129760 w 12182565"/>
              <a:gd name="connsiteY1191" fmla="*/ 1377785 h 3211589"/>
              <a:gd name="connsiteX1192" fmla="*/ 5027360 w 12182565"/>
              <a:gd name="connsiteY1192" fmla="*/ 1352345 h 3211589"/>
              <a:gd name="connsiteX1193" fmla="*/ 4750081 w 12182565"/>
              <a:gd name="connsiteY1193" fmla="*/ 1320985 h 3211589"/>
              <a:gd name="connsiteX1194" fmla="*/ 4740480 w 12182565"/>
              <a:gd name="connsiteY1194" fmla="*/ 1314585 h 3211589"/>
              <a:gd name="connsiteX1195" fmla="*/ 5024321 w 12182565"/>
              <a:gd name="connsiteY1195" fmla="*/ 1336665 h 3211589"/>
              <a:gd name="connsiteX1196" fmla="*/ 5328320 w 12182565"/>
              <a:gd name="connsiteY1196" fmla="*/ 1363545 h 3211589"/>
              <a:gd name="connsiteX1197" fmla="*/ 5800320 w 12182565"/>
              <a:gd name="connsiteY1197" fmla="*/ 1423545 h 3211589"/>
              <a:gd name="connsiteX1198" fmla="*/ 6104320 w 12182565"/>
              <a:gd name="connsiteY1198" fmla="*/ 1543705 h 3211589"/>
              <a:gd name="connsiteX1199" fmla="*/ 6254400 w 12182565"/>
              <a:gd name="connsiteY1199" fmla="*/ 1682425 h 3211589"/>
              <a:gd name="connsiteX1200" fmla="*/ 6281920 w 12182565"/>
              <a:gd name="connsiteY1200" fmla="*/ 1720345 h 3211589"/>
              <a:gd name="connsiteX1201" fmla="*/ 6417280 w 12182565"/>
              <a:gd name="connsiteY1201" fmla="*/ 1862745 h 3211589"/>
              <a:gd name="connsiteX1202" fmla="*/ 6457440 w 12182565"/>
              <a:gd name="connsiteY1202" fmla="*/ 1863225 h 3211589"/>
              <a:gd name="connsiteX1203" fmla="*/ 6295200 w 12182565"/>
              <a:gd name="connsiteY1203" fmla="*/ 1711225 h 3211589"/>
              <a:gd name="connsiteX1204" fmla="*/ 6266881 w 12182565"/>
              <a:gd name="connsiteY1204" fmla="*/ 1672345 h 3211589"/>
              <a:gd name="connsiteX1205" fmla="*/ 6111680 w 12182565"/>
              <a:gd name="connsiteY1205" fmla="*/ 1529465 h 3211589"/>
              <a:gd name="connsiteX1206" fmla="*/ 5805120 w 12182565"/>
              <a:gd name="connsiteY1206" fmla="*/ 1408345 h 3211589"/>
              <a:gd name="connsiteX1207" fmla="*/ 5328001 w 12182565"/>
              <a:gd name="connsiteY1207" fmla="*/ 1347705 h 3211589"/>
              <a:gd name="connsiteX1208" fmla="*/ 5027040 w 12182565"/>
              <a:gd name="connsiteY1208" fmla="*/ 1320985 h 3211589"/>
              <a:gd name="connsiteX1209" fmla="*/ 4719681 w 12182565"/>
              <a:gd name="connsiteY1209" fmla="*/ 1298425 h 3211589"/>
              <a:gd name="connsiteX1210" fmla="*/ 4716960 w 12182565"/>
              <a:gd name="connsiteY1210" fmla="*/ 1298425 h 3211589"/>
              <a:gd name="connsiteX1211" fmla="*/ 4696800 w 12182565"/>
              <a:gd name="connsiteY1211" fmla="*/ 1283545 h 3211589"/>
              <a:gd name="connsiteX1212" fmla="*/ 4693920 w 12182565"/>
              <a:gd name="connsiteY1212" fmla="*/ 1280185 h 3211589"/>
              <a:gd name="connsiteX1213" fmla="*/ 5050720 w 12182565"/>
              <a:gd name="connsiteY1213" fmla="*/ 1305625 h 3211589"/>
              <a:gd name="connsiteX1214" fmla="*/ 5192481 w 12182565"/>
              <a:gd name="connsiteY1214" fmla="*/ 1304345 h 3211589"/>
              <a:gd name="connsiteX1215" fmla="*/ 5566400 w 12182565"/>
              <a:gd name="connsiteY1215" fmla="*/ 1305625 h 3211589"/>
              <a:gd name="connsiteX1216" fmla="*/ 6026881 w 12182565"/>
              <a:gd name="connsiteY1216" fmla="*/ 1423385 h 3211589"/>
              <a:gd name="connsiteX1217" fmla="*/ 6300960 w 12182565"/>
              <a:gd name="connsiteY1217" fmla="*/ 1654905 h 3211589"/>
              <a:gd name="connsiteX1218" fmla="*/ 6318080 w 12182565"/>
              <a:gd name="connsiteY1218" fmla="*/ 1687705 h 3211589"/>
              <a:gd name="connsiteX1219" fmla="*/ 6450881 w 12182565"/>
              <a:gd name="connsiteY1219" fmla="*/ 1839865 h 3211589"/>
              <a:gd name="connsiteX1220" fmla="*/ 6457440 w 12182565"/>
              <a:gd name="connsiteY1220" fmla="*/ 1863225 h 3211589"/>
              <a:gd name="connsiteX1221" fmla="*/ 6477440 w 12182565"/>
              <a:gd name="connsiteY1221" fmla="*/ 1868025 h 3211589"/>
              <a:gd name="connsiteX1222" fmla="*/ 6465920 w 12182565"/>
              <a:gd name="connsiteY1222" fmla="*/ 1832665 h 3211589"/>
              <a:gd name="connsiteX1223" fmla="*/ 6470400 w 12182565"/>
              <a:gd name="connsiteY1223" fmla="*/ 1786905 h 3211589"/>
              <a:gd name="connsiteX1224" fmla="*/ 6808960 w 12182565"/>
              <a:gd name="connsiteY1224" fmla="*/ 1702745 h 3211589"/>
              <a:gd name="connsiteX1225" fmla="*/ 7144160 w 12182565"/>
              <a:gd name="connsiteY1225" fmla="*/ 1495065 h 3211589"/>
              <a:gd name="connsiteX1226" fmla="*/ 7411360 w 12182565"/>
              <a:gd name="connsiteY1226" fmla="*/ 1318585 h 3211589"/>
              <a:gd name="connsiteX1227" fmla="*/ 7419360 w 12182565"/>
              <a:gd name="connsiteY1227" fmla="*/ 1311225 h 3211589"/>
              <a:gd name="connsiteX1228" fmla="*/ 7748320 w 12182565"/>
              <a:gd name="connsiteY1228" fmla="*/ 1080185 h 3211589"/>
              <a:gd name="connsiteX1229" fmla="*/ 8161440 w 12182565"/>
              <a:gd name="connsiteY1229" fmla="*/ 891385 h 3211589"/>
              <a:gd name="connsiteX1230" fmla="*/ 8426560 w 12182565"/>
              <a:gd name="connsiteY1230" fmla="*/ 729625 h 3211589"/>
              <a:gd name="connsiteX1231" fmla="*/ 8438880 w 12182565"/>
              <a:gd name="connsiteY1231" fmla="*/ 721785 h 3211589"/>
              <a:gd name="connsiteX1232" fmla="*/ 8791040 w 12182565"/>
              <a:gd name="connsiteY1232" fmla="*/ 580505 h 3211589"/>
              <a:gd name="connsiteX1233" fmla="*/ 9225121 w 12182565"/>
              <a:gd name="connsiteY1233" fmla="*/ 533465 h 3211589"/>
              <a:gd name="connsiteX1234" fmla="*/ 9591040 w 12182565"/>
              <a:gd name="connsiteY1234" fmla="*/ 528025 h 3211589"/>
              <a:gd name="connsiteX1235" fmla="*/ 9595200 w 12182565"/>
              <a:gd name="connsiteY1235" fmla="*/ 527065 h 3211589"/>
              <a:gd name="connsiteX1236" fmla="*/ 9620960 w 12182565"/>
              <a:gd name="connsiteY1236" fmla="*/ 538905 h 3211589"/>
              <a:gd name="connsiteX1237" fmla="*/ 9691680 w 12182565"/>
              <a:gd name="connsiteY1237" fmla="*/ 575705 h 3211589"/>
              <a:gd name="connsiteX1238" fmla="*/ 9502080 w 12182565"/>
              <a:gd name="connsiteY1238" fmla="*/ 550905 h 3211589"/>
              <a:gd name="connsiteX1239" fmla="*/ 9334880 w 12182565"/>
              <a:gd name="connsiteY1239" fmla="*/ 562265 h 3211589"/>
              <a:gd name="connsiteX1240" fmla="*/ 9274560 w 12182565"/>
              <a:gd name="connsiteY1240" fmla="*/ 569945 h 3211589"/>
              <a:gd name="connsiteX1241" fmla="*/ 8942400 w 12182565"/>
              <a:gd name="connsiteY1241" fmla="*/ 609305 h 3211589"/>
              <a:gd name="connsiteX1242" fmla="*/ 8636320 w 12182565"/>
              <a:gd name="connsiteY1242" fmla="*/ 686265 h 3211589"/>
              <a:gd name="connsiteX1243" fmla="*/ 8426400 w 12182565"/>
              <a:gd name="connsiteY1243" fmla="*/ 814585 h 3211589"/>
              <a:gd name="connsiteX1244" fmla="*/ 8112960 w 12182565"/>
              <a:gd name="connsiteY1244" fmla="*/ 964185 h 3211589"/>
              <a:gd name="connsiteX1245" fmla="*/ 7876000 w 12182565"/>
              <a:gd name="connsiteY1245" fmla="*/ 1046745 h 3211589"/>
              <a:gd name="connsiteX1246" fmla="*/ 7756960 w 12182565"/>
              <a:gd name="connsiteY1246" fmla="*/ 1087225 h 3211589"/>
              <a:gd name="connsiteX1247" fmla="*/ 7522560 w 12182565"/>
              <a:gd name="connsiteY1247" fmla="*/ 1244505 h 3211589"/>
              <a:gd name="connsiteX1248" fmla="*/ 7493120 w 12182565"/>
              <a:gd name="connsiteY1248" fmla="*/ 1267705 h 3211589"/>
              <a:gd name="connsiteX1249" fmla="*/ 7453120 w 12182565"/>
              <a:gd name="connsiteY1249" fmla="*/ 1302745 h 3211589"/>
              <a:gd name="connsiteX1250" fmla="*/ 7289600 w 12182565"/>
              <a:gd name="connsiteY1250" fmla="*/ 1423385 h 3211589"/>
              <a:gd name="connsiteX1251" fmla="*/ 7058240 w 12182565"/>
              <a:gd name="connsiteY1251" fmla="*/ 1588825 h 3211589"/>
              <a:gd name="connsiteX1252" fmla="*/ 6795520 w 12182565"/>
              <a:gd name="connsiteY1252" fmla="*/ 1796185 h 3211589"/>
              <a:gd name="connsiteX1253" fmla="*/ 6477440 w 12182565"/>
              <a:gd name="connsiteY1253" fmla="*/ 1868025 h 3211589"/>
              <a:gd name="connsiteX1254" fmla="*/ 460160 w 12182565"/>
              <a:gd name="connsiteY1254" fmla="*/ 1881305 h 3211589"/>
              <a:gd name="connsiteX1255" fmla="*/ 653280 w 12182565"/>
              <a:gd name="connsiteY1255" fmla="*/ 1786105 h 3211589"/>
              <a:gd name="connsiteX1256" fmla="*/ 715520 w 12182565"/>
              <a:gd name="connsiteY1256" fmla="*/ 1752025 h 3211589"/>
              <a:gd name="connsiteX1257" fmla="*/ 780800 w 12182565"/>
              <a:gd name="connsiteY1257" fmla="*/ 1714265 h 3211589"/>
              <a:gd name="connsiteX1258" fmla="*/ 1059840 w 12182565"/>
              <a:gd name="connsiteY1258" fmla="*/ 1582425 h 3211589"/>
              <a:gd name="connsiteX1259" fmla="*/ 1399520 w 12182565"/>
              <a:gd name="connsiteY1259" fmla="*/ 1327545 h 3211589"/>
              <a:gd name="connsiteX1260" fmla="*/ 1520160 w 12182565"/>
              <a:gd name="connsiteY1260" fmla="*/ 1074105 h 3211589"/>
              <a:gd name="connsiteX1261" fmla="*/ 1580320 w 12182565"/>
              <a:gd name="connsiteY1261" fmla="*/ 946585 h 3211589"/>
              <a:gd name="connsiteX1262" fmla="*/ 2118720 w 12182565"/>
              <a:gd name="connsiteY1262" fmla="*/ 325145 h 3211589"/>
              <a:gd name="connsiteX1263" fmla="*/ 2216800 w 12182565"/>
              <a:gd name="connsiteY1263" fmla="*/ 275865 h 3211589"/>
              <a:gd name="connsiteX1264" fmla="*/ 2742720 w 12182565"/>
              <a:gd name="connsiteY1264" fmla="*/ 75225 h 3211589"/>
              <a:gd name="connsiteX1265" fmla="*/ 3507520 w 12182565"/>
              <a:gd name="connsiteY1265" fmla="*/ 130425 h 3211589"/>
              <a:gd name="connsiteX1266" fmla="*/ 3755200 w 12182565"/>
              <a:gd name="connsiteY1266" fmla="*/ 251545 h 3211589"/>
              <a:gd name="connsiteX1267" fmla="*/ 3472640 w 12182565"/>
              <a:gd name="connsiteY1267" fmla="*/ 144825 h 3211589"/>
              <a:gd name="connsiteX1268" fmla="*/ 3123680 w 12182565"/>
              <a:gd name="connsiteY1268" fmla="*/ 110745 h 3211589"/>
              <a:gd name="connsiteX1269" fmla="*/ 2897920 w 12182565"/>
              <a:gd name="connsiteY1269" fmla="*/ 121625 h 3211589"/>
              <a:gd name="connsiteX1270" fmla="*/ 2537920 w 12182565"/>
              <a:gd name="connsiteY1270" fmla="*/ 248025 h 3211589"/>
              <a:gd name="connsiteX1271" fmla="*/ 2500000 w 12182565"/>
              <a:gd name="connsiteY1271" fmla="*/ 266265 h 3211589"/>
              <a:gd name="connsiteX1272" fmla="*/ 2252480 w 12182565"/>
              <a:gd name="connsiteY1272" fmla="*/ 371705 h 3211589"/>
              <a:gd name="connsiteX1273" fmla="*/ 1773280 w 12182565"/>
              <a:gd name="connsiteY1273" fmla="*/ 814585 h 3211589"/>
              <a:gd name="connsiteX1274" fmla="*/ 1762880 w 12182565"/>
              <a:gd name="connsiteY1274" fmla="*/ 831385 h 3211589"/>
              <a:gd name="connsiteX1275" fmla="*/ 1588480 w 12182565"/>
              <a:gd name="connsiteY1275" fmla="*/ 1192025 h 3211589"/>
              <a:gd name="connsiteX1276" fmla="*/ 1583680 w 12182565"/>
              <a:gd name="connsiteY1276" fmla="*/ 1202745 h 3211589"/>
              <a:gd name="connsiteX1277" fmla="*/ 1410720 w 12182565"/>
              <a:gd name="connsiteY1277" fmla="*/ 1429305 h 3211589"/>
              <a:gd name="connsiteX1278" fmla="*/ 1065760 w 12182565"/>
              <a:gd name="connsiteY1278" fmla="*/ 1613145 h 3211589"/>
              <a:gd name="connsiteX1279" fmla="*/ 918560 w 12182565"/>
              <a:gd name="connsiteY1279" fmla="*/ 1710265 h 3211589"/>
              <a:gd name="connsiteX1280" fmla="*/ 817120 w 12182565"/>
              <a:gd name="connsiteY1280" fmla="*/ 1780345 h 3211589"/>
              <a:gd name="connsiteX1281" fmla="*/ 504320 w 12182565"/>
              <a:gd name="connsiteY1281" fmla="*/ 1871065 h 3211589"/>
              <a:gd name="connsiteX1282" fmla="*/ 460160 w 12182565"/>
              <a:gd name="connsiteY1282" fmla="*/ 1881305 h 3211589"/>
              <a:gd name="connsiteX1283" fmla="*/ 6860960 w 12182565"/>
              <a:gd name="connsiteY1283" fmla="*/ 1899705 h 3211589"/>
              <a:gd name="connsiteX1284" fmla="*/ 7112800 w 12182565"/>
              <a:gd name="connsiteY1284" fmla="*/ 1742425 h 3211589"/>
              <a:gd name="connsiteX1285" fmla="*/ 7242080 w 12182565"/>
              <a:gd name="connsiteY1285" fmla="*/ 1581305 h 3211589"/>
              <a:gd name="connsiteX1286" fmla="*/ 7264000 w 12182565"/>
              <a:gd name="connsiteY1286" fmla="*/ 1548825 h 3211589"/>
              <a:gd name="connsiteX1287" fmla="*/ 7275520 w 12182565"/>
              <a:gd name="connsiteY1287" fmla="*/ 1536185 h 3211589"/>
              <a:gd name="connsiteX1288" fmla="*/ 7425440 w 12182565"/>
              <a:gd name="connsiteY1288" fmla="*/ 1389305 h 3211589"/>
              <a:gd name="connsiteX1289" fmla="*/ 7450720 w 12182565"/>
              <a:gd name="connsiteY1289" fmla="*/ 1376185 h 3211589"/>
              <a:gd name="connsiteX1290" fmla="*/ 7370080 w 12182565"/>
              <a:gd name="connsiteY1290" fmla="*/ 1484185 h 3211589"/>
              <a:gd name="connsiteX1291" fmla="*/ 7268480 w 12182565"/>
              <a:gd name="connsiteY1291" fmla="*/ 1623705 h 3211589"/>
              <a:gd name="connsiteX1292" fmla="*/ 6950560 w 12182565"/>
              <a:gd name="connsiteY1292" fmla="*/ 1870585 h 3211589"/>
              <a:gd name="connsiteX1293" fmla="*/ 6860960 w 12182565"/>
              <a:gd name="connsiteY1293" fmla="*/ 1899705 h 3211589"/>
              <a:gd name="connsiteX1294" fmla="*/ 6487680 w 12182565"/>
              <a:gd name="connsiteY1294" fmla="*/ 1903865 h 3211589"/>
              <a:gd name="connsiteX1295" fmla="*/ 6450625 w 12182565"/>
              <a:gd name="connsiteY1295" fmla="*/ 1894215 h 3211589"/>
              <a:gd name="connsiteX1296" fmla="*/ 6449382 w 12182565"/>
              <a:gd name="connsiteY1296" fmla="*/ 1893942 h 3211589"/>
              <a:gd name="connsiteX1297" fmla="*/ 6449053 w 12182565"/>
              <a:gd name="connsiteY1297" fmla="*/ 1893806 h 3211589"/>
              <a:gd name="connsiteX1298" fmla="*/ 6409113 w 12182565"/>
              <a:gd name="connsiteY1298" fmla="*/ 1883405 h 3211589"/>
              <a:gd name="connsiteX1299" fmla="*/ 6224320 w 12182565"/>
              <a:gd name="connsiteY1299" fmla="*/ 1792505 h 3211589"/>
              <a:gd name="connsiteX1300" fmla="*/ 6142881 w 12182565"/>
              <a:gd name="connsiteY1300" fmla="*/ 1727385 h 3211589"/>
              <a:gd name="connsiteX1301" fmla="*/ 6010400 w 12182565"/>
              <a:gd name="connsiteY1301" fmla="*/ 1622745 h 3211589"/>
              <a:gd name="connsiteX1302" fmla="*/ 5715680 w 12182565"/>
              <a:gd name="connsiteY1302" fmla="*/ 1528985 h 3211589"/>
              <a:gd name="connsiteX1303" fmla="*/ 5354881 w 12182565"/>
              <a:gd name="connsiteY1303" fmla="*/ 1483865 h 3211589"/>
              <a:gd name="connsiteX1304" fmla="*/ 5116000 w 12182565"/>
              <a:gd name="connsiteY1304" fmla="*/ 1414585 h 3211589"/>
              <a:gd name="connsiteX1305" fmla="*/ 4936480 w 12182565"/>
              <a:gd name="connsiteY1305" fmla="*/ 1368985 h 3211589"/>
              <a:gd name="connsiteX1306" fmla="*/ 4789760 w 12182565"/>
              <a:gd name="connsiteY1306" fmla="*/ 1341945 h 3211589"/>
              <a:gd name="connsiteX1307" fmla="*/ 4780800 w 12182565"/>
              <a:gd name="connsiteY1307" fmla="*/ 1338265 h 3211589"/>
              <a:gd name="connsiteX1308" fmla="*/ 5023680 w 12182565"/>
              <a:gd name="connsiteY1308" fmla="*/ 1368025 h 3211589"/>
              <a:gd name="connsiteX1309" fmla="*/ 5125760 w 12182565"/>
              <a:gd name="connsiteY1309" fmla="*/ 1393465 h 3211589"/>
              <a:gd name="connsiteX1310" fmla="*/ 5341441 w 12182565"/>
              <a:gd name="connsiteY1310" fmla="*/ 1435225 h 3211589"/>
              <a:gd name="connsiteX1311" fmla="*/ 5737120 w 12182565"/>
              <a:gd name="connsiteY1311" fmla="*/ 1477465 h 3211589"/>
              <a:gd name="connsiteX1312" fmla="*/ 6048480 w 12182565"/>
              <a:gd name="connsiteY1312" fmla="*/ 1592825 h 3211589"/>
              <a:gd name="connsiteX1313" fmla="*/ 6229920 w 12182565"/>
              <a:gd name="connsiteY1313" fmla="*/ 1725625 h 3211589"/>
              <a:gd name="connsiteX1314" fmla="*/ 6246080 w 12182565"/>
              <a:gd name="connsiteY1314" fmla="*/ 1742265 h 3211589"/>
              <a:gd name="connsiteX1315" fmla="*/ 6413705 w 12182565"/>
              <a:gd name="connsiteY1315" fmla="*/ 1879200 h 3211589"/>
              <a:gd name="connsiteX1316" fmla="*/ 6449053 w 12182565"/>
              <a:gd name="connsiteY1316" fmla="*/ 1893806 h 3211589"/>
              <a:gd name="connsiteX1317" fmla="*/ 6450625 w 12182565"/>
              <a:gd name="connsiteY1317" fmla="*/ 1894215 h 3211589"/>
              <a:gd name="connsiteX1318" fmla="*/ 6485760 w 12182565"/>
              <a:gd name="connsiteY1318" fmla="*/ 1901945 h 3211589"/>
              <a:gd name="connsiteX1319" fmla="*/ 6487680 w 12182565"/>
              <a:gd name="connsiteY1319" fmla="*/ 1903865 h 3211589"/>
              <a:gd name="connsiteX1320" fmla="*/ 6440000 w 12182565"/>
              <a:gd name="connsiteY1320" fmla="*/ 1909785 h 3211589"/>
              <a:gd name="connsiteX1321" fmla="*/ 6053920 w 12182565"/>
              <a:gd name="connsiteY1321" fmla="*/ 1740185 h 3211589"/>
              <a:gd name="connsiteX1322" fmla="*/ 6044640 w 12182565"/>
              <a:gd name="connsiteY1322" fmla="*/ 1733145 h 3211589"/>
              <a:gd name="connsiteX1323" fmla="*/ 5815520 w 12182565"/>
              <a:gd name="connsiteY1323" fmla="*/ 1611545 h 3211589"/>
              <a:gd name="connsiteX1324" fmla="*/ 5444480 w 12182565"/>
              <a:gd name="connsiteY1324" fmla="*/ 1562745 h 3211589"/>
              <a:gd name="connsiteX1325" fmla="*/ 5426560 w 12182565"/>
              <a:gd name="connsiteY1325" fmla="*/ 1561305 h 3211589"/>
              <a:gd name="connsiteX1326" fmla="*/ 5126720 w 12182565"/>
              <a:gd name="connsiteY1326" fmla="*/ 1456025 h 3211589"/>
              <a:gd name="connsiteX1327" fmla="*/ 5113120 w 12182565"/>
              <a:gd name="connsiteY1327" fmla="*/ 1449625 h 3211589"/>
              <a:gd name="connsiteX1328" fmla="*/ 4910401 w 12182565"/>
              <a:gd name="connsiteY1328" fmla="*/ 1391705 h 3211589"/>
              <a:gd name="connsiteX1329" fmla="*/ 4872800 w 12182565"/>
              <a:gd name="connsiteY1329" fmla="*/ 1377625 h 3211589"/>
              <a:gd name="connsiteX1330" fmla="*/ 4935520 w 12182565"/>
              <a:gd name="connsiteY1330" fmla="*/ 1385305 h 3211589"/>
              <a:gd name="connsiteX1331" fmla="*/ 5110081 w 12182565"/>
              <a:gd name="connsiteY1331" fmla="*/ 1429785 h 3211589"/>
              <a:gd name="connsiteX1332" fmla="*/ 5354240 w 12182565"/>
              <a:gd name="connsiteY1332" fmla="*/ 1500025 h 3211589"/>
              <a:gd name="connsiteX1333" fmla="*/ 5712801 w 12182565"/>
              <a:gd name="connsiteY1333" fmla="*/ 1544825 h 3211589"/>
              <a:gd name="connsiteX1334" fmla="*/ 6000960 w 12182565"/>
              <a:gd name="connsiteY1334" fmla="*/ 1635865 h 3211589"/>
              <a:gd name="connsiteX1335" fmla="*/ 6132800 w 12182565"/>
              <a:gd name="connsiteY1335" fmla="*/ 1740025 h 3211589"/>
              <a:gd name="connsiteX1336" fmla="*/ 6214881 w 12182565"/>
              <a:gd name="connsiteY1336" fmla="*/ 1805625 h 3211589"/>
              <a:gd name="connsiteX1337" fmla="*/ 6440000 w 12182565"/>
              <a:gd name="connsiteY1337" fmla="*/ 1909785 h 3211589"/>
              <a:gd name="connsiteX1338" fmla="*/ 6411840 w 12182565"/>
              <a:gd name="connsiteY1338" fmla="*/ 1920185 h 3211589"/>
              <a:gd name="connsiteX1339" fmla="*/ 6200800 w 12182565"/>
              <a:gd name="connsiteY1339" fmla="*/ 1878745 h 3211589"/>
              <a:gd name="connsiteX1340" fmla="*/ 6011840 w 12182565"/>
              <a:gd name="connsiteY1340" fmla="*/ 1789785 h 3211589"/>
              <a:gd name="connsiteX1341" fmla="*/ 5888800 w 12182565"/>
              <a:gd name="connsiteY1341" fmla="*/ 1726745 h 3211589"/>
              <a:gd name="connsiteX1342" fmla="*/ 5526240 w 12182565"/>
              <a:gd name="connsiteY1342" fmla="*/ 1643705 h 3211589"/>
              <a:gd name="connsiteX1343" fmla="*/ 5327200 w 12182565"/>
              <a:gd name="connsiteY1343" fmla="*/ 1609305 h 3211589"/>
              <a:gd name="connsiteX1344" fmla="*/ 5176000 w 12182565"/>
              <a:gd name="connsiteY1344" fmla="*/ 1517465 h 3211589"/>
              <a:gd name="connsiteX1345" fmla="*/ 5079681 w 12182565"/>
              <a:gd name="connsiteY1345" fmla="*/ 1457145 h 3211589"/>
              <a:gd name="connsiteX1346" fmla="*/ 5016800 w 12182565"/>
              <a:gd name="connsiteY1346" fmla="*/ 1430905 h 3211589"/>
              <a:gd name="connsiteX1347" fmla="*/ 5106881 w 12182565"/>
              <a:gd name="connsiteY1347" fmla="*/ 1464185 h 3211589"/>
              <a:gd name="connsiteX1348" fmla="*/ 5120480 w 12182565"/>
              <a:gd name="connsiteY1348" fmla="*/ 1470585 h 3211589"/>
              <a:gd name="connsiteX1349" fmla="*/ 5425760 w 12182565"/>
              <a:gd name="connsiteY1349" fmla="*/ 1577305 h 3211589"/>
              <a:gd name="connsiteX1350" fmla="*/ 5443680 w 12182565"/>
              <a:gd name="connsiteY1350" fmla="*/ 1578745 h 3211589"/>
              <a:gd name="connsiteX1351" fmla="*/ 5811840 w 12182565"/>
              <a:gd name="connsiteY1351" fmla="*/ 1627065 h 3211589"/>
              <a:gd name="connsiteX1352" fmla="*/ 6035360 w 12182565"/>
              <a:gd name="connsiteY1352" fmla="*/ 1745945 h 3211589"/>
              <a:gd name="connsiteX1353" fmla="*/ 6044640 w 12182565"/>
              <a:gd name="connsiteY1353" fmla="*/ 1752985 h 3211589"/>
              <a:gd name="connsiteX1354" fmla="*/ 6411840 w 12182565"/>
              <a:gd name="connsiteY1354" fmla="*/ 1920185 h 3211589"/>
              <a:gd name="connsiteX1355" fmla="*/ 6564160 w 12182565"/>
              <a:gd name="connsiteY1355" fmla="*/ 1921625 h 3211589"/>
              <a:gd name="connsiteX1356" fmla="*/ 6525600 w 12182565"/>
              <a:gd name="connsiteY1356" fmla="*/ 1908185 h 3211589"/>
              <a:gd name="connsiteX1357" fmla="*/ 6489120 w 12182565"/>
              <a:gd name="connsiteY1357" fmla="*/ 1883225 h 3211589"/>
              <a:gd name="connsiteX1358" fmla="*/ 6802080 w 12182565"/>
              <a:gd name="connsiteY1358" fmla="*/ 1810585 h 3211589"/>
              <a:gd name="connsiteX1359" fmla="*/ 7069120 w 12182565"/>
              <a:gd name="connsiteY1359" fmla="*/ 1600185 h 3211589"/>
              <a:gd name="connsiteX1360" fmla="*/ 7293920 w 12182565"/>
              <a:gd name="connsiteY1360" fmla="*/ 1438745 h 3211589"/>
              <a:gd name="connsiteX1361" fmla="*/ 7307840 w 12182565"/>
              <a:gd name="connsiteY1361" fmla="*/ 1433465 h 3211589"/>
              <a:gd name="connsiteX1362" fmla="*/ 7256000 w 12182565"/>
              <a:gd name="connsiteY1362" fmla="*/ 1481305 h 3211589"/>
              <a:gd name="connsiteX1363" fmla="*/ 7225280 w 12182565"/>
              <a:gd name="connsiteY1363" fmla="*/ 1510265 h 3211589"/>
              <a:gd name="connsiteX1364" fmla="*/ 7160320 w 12182565"/>
              <a:gd name="connsiteY1364" fmla="*/ 1588185 h 3211589"/>
              <a:gd name="connsiteX1365" fmla="*/ 7113280 w 12182565"/>
              <a:gd name="connsiteY1365" fmla="*/ 1647545 h 3211589"/>
              <a:gd name="connsiteX1366" fmla="*/ 6892160 w 12182565"/>
              <a:gd name="connsiteY1366" fmla="*/ 1816665 h 3211589"/>
              <a:gd name="connsiteX1367" fmla="*/ 6564160 w 12182565"/>
              <a:gd name="connsiteY1367" fmla="*/ 1921625 h 3211589"/>
              <a:gd name="connsiteX1368" fmla="*/ 6657083 w 12182565"/>
              <a:gd name="connsiteY1368" fmla="*/ 1933330 h 3211589"/>
              <a:gd name="connsiteX1369" fmla="*/ 6603200 w 12182565"/>
              <a:gd name="connsiteY1369" fmla="*/ 1929625 h 3211589"/>
              <a:gd name="connsiteX1370" fmla="*/ 6900800 w 12182565"/>
              <a:gd name="connsiteY1370" fmla="*/ 1830745 h 3211589"/>
              <a:gd name="connsiteX1371" fmla="*/ 7125120 w 12182565"/>
              <a:gd name="connsiteY1371" fmla="*/ 1659065 h 3211589"/>
              <a:gd name="connsiteX1372" fmla="*/ 7173280 w 12182565"/>
              <a:gd name="connsiteY1372" fmla="*/ 1598265 h 3211589"/>
              <a:gd name="connsiteX1373" fmla="*/ 7235840 w 12182565"/>
              <a:gd name="connsiteY1373" fmla="*/ 1522745 h 3211589"/>
              <a:gd name="connsiteX1374" fmla="*/ 7267200 w 12182565"/>
              <a:gd name="connsiteY1374" fmla="*/ 1493305 h 3211589"/>
              <a:gd name="connsiteX1375" fmla="*/ 7360960 w 12182565"/>
              <a:gd name="connsiteY1375" fmla="*/ 1418905 h 3211589"/>
              <a:gd name="connsiteX1376" fmla="*/ 7367040 w 12182565"/>
              <a:gd name="connsiteY1376" fmla="*/ 1416505 h 3211589"/>
              <a:gd name="connsiteX1377" fmla="*/ 7263840 w 12182565"/>
              <a:gd name="connsiteY1377" fmla="*/ 1525465 h 3211589"/>
              <a:gd name="connsiteX1378" fmla="*/ 7252480 w 12182565"/>
              <a:gd name="connsiteY1378" fmla="*/ 1537945 h 3211589"/>
              <a:gd name="connsiteX1379" fmla="*/ 7228800 w 12182565"/>
              <a:gd name="connsiteY1379" fmla="*/ 1572825 h 3211589"/>
              <a:gd name="connsiteX1380" fmla="*/ 7103040 w 12182565"/>
              <a:gd name="connsiteY1380" fmla="*/ 1729945 h 3211589"/>
              <a:gd name="connsiteX1381" fmla="*/ 6800640 w 12182565"/>
              <a:gd name="connsiteY1381" fmla="*/ 1915225 h 3211589"/>
              <a:gd name="connsiteX1382" fmla="*/ 6797280 w 12182565"/>
              <a:gd name="connsiteY1382" fmla="*/ 1919065 h 3211589"/>
              <a:gd name="connsiteX1383" fmla="*/ 6657083 w 12182565"/>
              <a:gd name="connsiteY1383" fmla="*/ 1933330 h 3211589"/>
              <a:gd name="connsiteX1384" fmla="*/ 6416960 w 12182565"/>
              <a:gd name="connsiteY1384" fmla="*/ 1962745 h 3211589"/>
              <a:gd name="connsiteX1385" fmla="*/ 6056160 w 12182565"/>
              <a:gd name="connsiteY1385" fmla="*/ 1919065 h 3211589"/>
              <a:gd name="connsiteX1386" fmla="*/ 5753600 w 12182565"/>
              <a:gd name="connsiteY1386" fmla="*/ 1767705 h 3211589"/>
              <a:gd name="connsiteX1387" fmla="*/ 5521600 w 12182565"/>
              <a:gd name="connsiteY1387" fmla="*/ 1696345 h 3211589"/>
              <a:gd name="connsiteX1388" fmla="*/ 5492800 w 12182565"/>
              <a:gd name="connsiteY1388" fmla="*/ 1694265 h 3211589"/>
              <a:gd name="connsiteX1389" fmla="*/ 5318080 w 12182565"/>
              <a:gd name="connsiteY1389" fmla="*/ 1663225 h 3211589"/>
              <a:gd name="connsiteX1390" fmla="*/ 5119840 w 12182565"/>
              <a:gd name="connsiteY1390" fmla="*/ 1538265 h 3211589"/>
              <a:gd name="connsiteX1391" fmla="*/ 5086080 w 12182565"/>
              <a:gd name="connsiteY1391" fmla="*/ 1511865 h 3211589"/>
              <a:gd name="connsiteX1392" fmla="*/ 4884960 w 12182565"/>
              <a:gd name="connsiteY1392" fmla="*/ 1407385 h 3211589"/>
              <a:gd name="connsiteX1393" fmla="*/ 4815200 w 12182565"/>
              <a:gd name="connsiteY1393" fmla="*/ 1376025 h 3211589"/>
              <a:gd name="connsiteX1394" fmla="*/ 4819041 w 12182565"/>
              <a:gd name="connsiteY1394" fmla="*/ 1377305 h 3211589"/>
              <a:gd name="connsiteX1395" fmla="*/ 5072320 w 12182565"/>
              <a:gd name="connsiteY1395" fmla="*/ 1471705 h 3211589"/>
              <a:gd name="connsiteX1396" fmla="*/ 5167040 w 12182565"/>
              <a:gd name="connsiteY1396" fmla="*/ 1531065 h 3211589"/>
              <a:gd name="connsiteX1397" fmla="*/ 5320960 w 12182565"/>
              <a:gd name="connsiteY1397" fmla="*/ 1624345 h 3211589"/>
              <a:gd name="connsiteX1398" fmla="*/ 5524960 w 12182565"/>
              <a:gd name="connsiteY1398" fmla="*/ 1659865 h 3211589"/>
              <a:gd name="connsiteX1399" fmla="*/ 5881760 w 12182565"/>
              <a:gd name="connsiteY1399" fmla="*/ 1741465 h 3211589"/>
              <a:gd name="connsiteX1400" fmla="*/ 6004000 w 12182565"/>
              <a:gd name="connsiteY1400" fmla="*/ 1804025 h 3211589"/>
              <a:gd name="connsiteX1401" fmla="*/ 6196000 w 12182565"/>
              <a:gd name="connsiteY1401" fmla="*/ 1894105 h 3211589"/>
              <a:gd name="connsiteX1402" fmla="*/ 6563360 w 12182565"/>
              <a:gd name="connsiteY1402" fmla="*/ 1950585 h 3211589"/>
              <a:gd name="connsiteX1403" fmla="*/ 6416960 w 12182565"/>
              <a:gd name="connsiteY1403" fmla="*/ 1962745 h 3211589"/>
              <a:gd name="connsiteX1404" fmla="*/ 6259200 w 12182565"/>
              <a:gd name="connsiteY1404" fmla="*/ 2001305 h 3211589"/>
              <a:gd name="connsiteX1405" fmla="*/ 5944160 w 12182565"/>
              <a:gd name="connsiteY1405" fmla="*/ 1957785 h 3211589"/>
              <a:gd name="connsiteX1406" fmla="*/ 5767840 w 12182565"/>
              <a:gd name="connsiteY1406" fmla="*/ 1870425 h 3211589"/>
              <a:gd name="connsiteX1407" fmla="*/ 5659040 w 12182565"/>
              <a:gd name="connsiteY1407" fmla="*/ 1813305 h 3211589"/>
              <a:gd name="connsiteX1408" fmla="*/ 5485760 w 12182565"/>
              <a:gd name="connsiteY1408" fmla="*/ 1772505 h 3211589"/>
              <a:gd name="connsiteX1409" fmla="*/ 5394401 w 12182565"/>
              <a:gd name="connsiteY1409" fmla="*/ 1755865 h 3211589"/>
              <a:gd name="connsiteX1410" fmla="*/ 5166720 w 12182565"/>
              <a:gd name="connsiteY1410" fmla="*/ 1643705 h 3211589"/>
              <a:gd name="connsiteX1411" fmla="*/ 5000641 w 12182565"/>
              <a:gd name="connsiteY1411" fmla="*/ 1510265 h 3211589"/>
              <a:gd name="connsiteX1412" fmla="*/ 4830560 w 12182565"/>
              <a:gd name="connsiteY1412" fmla="*/ 1409785 h 3211589"/>
              <a:gd name="connsiteX1413" fmla="*/ 4646400 w 12182565"/>
              <a:gd name="connsiteY1413" fmla="*/ 1299705 h 3211589"/>
              <a:gd name="connsiteX1414" fmla="*/ 4372161 w 12182565"/>
              <a:gd name="connsiteY1414" fmla="*/ 1248985 h 3211589"/>
              <a:gd name="connsiteX1415" fmla="*/ 4058240 w 12182565"/>
              <a:gd name="connsiteY1415" fmla="*/ 1202585 h 3211589"/>
              <a:gd name="connsiteX1416" fmla="*/ 4046240 w 12182565"/>
              <a:gd name="connsiteY1416" fmla="*/ 1200025 h 3211589"/>
              <a:gd name="connsiteX1417" fmla="*/ 3771040 w 12182565"/>
              <a:gd name="connsiteY1417" fmla="*/ 1117465 h 3211589"/>
              <a:gd name="connsiteX1418" fmla="*/ 3502880 w 12182565"/>
              <a:gd name="connsiteY1418" fmla="*/ 1074265 h 3211589"/>
              <a:gd name="connsiteX1419" fmla="*/ 3390720 w 12182565"/>
              <a:gd name="connsiteY1419" fmla="*/ 1060345 h 3211589"/>
              <a:gd name="connsiteX1420" fmla="*/ 3220000 w 12182565"/>
              <a:gd name="connsiteY1420" fmla="*/ 1001625 h 3211589"/>
              <a:gd name="connsiteX1421" fmla="*/ 3171840 w 12182565"/>
              <a:gd name="connsiteY1421" fmla="*/ 973305 h 3211589"/>
              <a:gd name="connsiteX1422" fmla="*/ 3029280 w 12182565"/>
              <a:gd name="connsiteY1422" fmla="*/ 913145 h 3211589"/>
              <a:gd name="connsiteX1423" fmla="*/ 3026880 w 12182565"/>
              <a:gd name="connsiteY1423" fmla="*/ 912825 h 3211589"/>
              <a:gd name="connsiteX1424" fmla="*/ 3026080 w 12182565"/>
              <a:gd name="connsiteY1424" fmla="*/ 913145 h 3211589"/>
              <a:gd name="connsiteX1425" fmla="*/ 3015680 w 12182565"/>
              <a:gd name="connsiteY1425" fmla="*/ 907385 h 3211589"/>
              <a:gd name="connsiteX1426" fmla="*/ 3188160 w 12182565"/>
              <a:gd name="connsiteY1426" fmla="*/ 946745 h 3211589"/>
              <a:gd name="connsiteX1427" fmla="*/ 3228640 w 12182565"/>
              <a:gd name="connsiteY1427" fmla="*/ 959225 h 3211589"/>
              <a:gd name="connsiteX1428" fmla="*/ 3437120 w 12182565"/>
              <a:gd name="connsiteY1428" fmla="*/ 998905 h 3211589"/>
              <a:gd name="connsiteX1429" fmla="*/ 3829440 w 12182565"/>
              <a:gd name="connsiteY1429" fmla="*/ 1065465 h 3211589"/>
              <a:gd name="connsiteX1430" fmla="*/ 4190720 w 12182565"/>
              <a:gd name="connsiteY1430" fmla="*/ 1177145 h 3211589"/>
              <a:gd name="connsiteX1431" fmla="*/ 4387040 w 12182565"/>
              <a:gd name="connsiteY1431" fmla="*/ 1202265 h 3211589"/>
              <a:gd name="connsiteX1432" fmla="*/ 4444800 w 12182565"/>
              <a:gd name="connsiteY1432" fmla="*/ 1208345 h 3211589"/>
              <a:gd name="connsiteX1433" fmla="*/ 4662560 w 12182565"/>
              <a:gd name="connsiteY1433" fmla="*/ 1299865 h 3211589"/>
              <a:gd name="connsiteX1434" fmla="*/ 4879520 w 12182565"/>
              <a:gd name="connsiteY1434" fmla="*/ 1422425 h 3211589"/>
              <a:gd name="connsiteX1435" fmla="*/ 5076480 w 12182565"/>
              <a:gd name="connsiteY1435" fmla="*/ 1524665 h 3211589"/>
              <a:gd name="connsiteX1436" fmla="*/ 5110081 w 12182565"/>
              <a:gd name="connsiteY1436" fmla="*/ 1550905 h 3211589"/>
              <a:gd name="connsiteX1437" fmla="*/ 5313120 w 12182565"/>
              <a:gd name="connsiteY1437" fmla="*/ 1678425 h 3211589"/>
              <a:gd name="connsiteX1438" fmla="*/ 5491840 w 12182565"/>
              <a:gd name="connsiteY1438" fmla="*/ 1710265 h 3211589"/>
              <a:gd name="connsiteX1439" fmla="*/ 5520480 w 12182565"/>
              <a:gd name="connsiteY1439" fmla="*/ 1712345 h 3211589"/>
              <a:gd name="connsiteX1440" fmla="*/ 5744321 w 12182565"/>
              <a:gd name="connsiteY1440" fmla="*/ 1780665 h 3211589"/>
              <a:gd name="connsiteX1441" fmla="*/ 6051680 w 12182565"/>
              <a:gd name="connsiteY1441" fmla="*/ 1934265 h 3211589"/>
              <a:gd name="connsiteX1442" fmla="*/ 6416320 w 12182565"/>
              <a:gd name="connsiteY1442" fmla="*/ 1978585 h 3211589"/>
              <a:gd name="connsiteX1443" fmla="*/ 6614720 w 12182565"/>
              <a:gd name="connsiteY1443" fmla="*/ 1955065 h 3211589"/>
              <a:gd name="connsiteX1444" fmla="*/ 6620320 w 12182565"/>
              <a:gd name="connsiteY1444" fmla="*/ 1947865 h 3211589"/>
              <a:gd name="connsiteX1445" fmla="*/ 6661760 w 12182565"/>
              <a:gd name="connsiteY1445" fmla="*/ 1949785 h 3211589"/>
              <a:gd name="connsiteX1446" fmla="*/ 6298400 w 12182565"/>
              <a:gd name="connsiteY1446" fmla="*/ 2000665 h 3211589"/>
              <a:gd name="connsiteX1447" fmla="*/ 6259200 w 12182565"/>
              <a:gd name="connsiteY1447" fmla="*/ 2001305 h 3211589"/>
              <a:gd name="connsiteX1448" fmla="*/ 6180400 w 12182565"/>
              <a:gd name="connsiteY1448" fmla="*/ 2055645 h 3211589"/>
              <a:gd name="connsiteX1449" fmla="*/ 6082400 w 12182565"/>
              <a:gd name="connsiteY1449" fmla="*/ 2054905 h 3211589"/>
              <a:gd name="connsiteX1450" fmla="*/ 5816000 w 12182565"/>
              <a:gd name="connsiteY1450" fmla="*/ 1979225 h 3211589"/>
              <a:gd name="connsiteX1451" fmla="*/ 5753760 w 12182565"/>
              <a:gd name="connsiteY1451" fmla="*/ 1943065 h 3211589"/>
              <a:gd name="connsiteX1452" fmla="*/ 5629920 w 12182565"/>
              <a:gd name="connsiteY1452" fmla="*/ 1887705 h 3211589"/>
              <a:gd name="connsiteX1453" fmla="*/ 5392161 w 12182565"/>
              <a:gd name="connsiteY1453" fmla="*/ 1804665 h 3211589"/>
              <a:gd name="connsiteX1454" fmla="*/ 5296160 w 12182565"/>
              <a:gd name="connsiteY1454" fmla="*/ 1780825 h 3211589"/>
              <a:gd name="connsiteX1455" fmla="*/ 5197760 w 12182565"/>
              <a:gd name="connsiteY1455" fmla="*/ 1733305 h 3211589"/>
              <a:gd name="connsiteX1456" fmla="*/ 5091680 w 12182565"/>
              <a:gd name="connsiteY1456" fmla="*/ 1664505 h 3211589"/>
              <a:gd name="connsiteX1457" fmla="*/ 5075041 w 12182565"/>
              <a:gd name="connsiteY1457" fmla="*/ 1649625 h 3211589"/>
              <a:gd name="connsiteX1458" fmla="*/ 4914080 w 12182565"/>
              <a:gd name="connsiteY1458" fmla="*/ 1522745 h 3211589"/>
              <a:gd name="connsiteX1459" fmla="*/ 4870881 w 12182565"/>
              <a:gd name="connsiteY1459" fmla="*/ 1482745 h 3211589"/>
              <a:gd name="connsiteX1460" fmla="*/ 4783040 w 12182565"/>
              <a:gd name="connsiteY1460" fmla="*/ 1409305 h 3211589"/>
              <a:gd name="connsiteX1461" fmla="*/ 4630240 w 12182565"/>
              <a:gd name="connsiteY1461" fmla="*/ 1321785 h 3211589"/>
              <a:gd name="connsiteX1462" fmla="*/ 4423520 w 12182565"/>
              <a:gd name="connsiteY1462" fmla="*/ 1290265 h 3211589"/>
              <a:gd name="connsiteX1463" fmla="*/ 4103680 w 12182565"/>
              <a:gd name="connsiteY1463" fmla="*/ 1281945 h 3211589"/>
              <a:gd name="connsiteX1464" fmla="*/ 3712960 w 12182565"/>
              <a:gd name="connsiteY1464" fmla="*/ 1188825 h 3211589"/>
              <a:gd name="connsiteX1465" fmla="*/ 3532480 w 12182565"/>
              <a:gd name="connsiteY1465" fmla="*/ 1152505 h 3211589"/>
              <a:gd name="connsiteX1466" fmla="*/ 3457600 w 12182565"/>
              <a:gd name="connsiteY1466" fmla="*/ 1136985 h 3211589"/>
              <a:gd name="connsiteX1467" fmla="*/ 3356640 w 12182565"/>
              <a:gd name="connsiteY1467" fmla="*/ 1111385 h 3211589"/>
              <a:gd name="connsiteX1468" fmla="*/ 3149760 w 12182565"/>
              <a:gd name="connsiteY1468" fmla="*/ 1013625 h 3211589"/>
              <a:gd name="connsiteX1469" fmla="*/ 3145280 w 12182565"/>
              <a:gd name="connsiteY1469" fmla="*/ 1012185 h 3211589"/>
              <a:gd name="connsiteX1470" fmla="*/ 3143680 w 12182565"/>
              <a:gd name="connsiteY1470" fmla="*/ 1012505 h 3211589"/>
              <a:gd name="connsiteX1471" fmla="*/ 3131040 w 12182565"/>
              <a:gd name="connsiteY1471" fmla="*/ 998105 h 3211589"/>
              <a:gd name="connsiteX1472" fmla="*/ 3077600 w 12182565"/>
              <a:gd name="connsiteY1472" fmla="*/ 948185 h 3211589"/>
              <a:gd name="connsiteX1473" fmla="*/ 3164640 w 12182565"/>
              <a:gd name="connsiteY1473" fmla="*/ 988025 h 3211589"/>
              <a:gd name="connsiteX1474" fmla="*/ 3211680 w 12182565"/>
              <a:gd name="connsiteY1474" fmla="*/ 1015705 h 3211589"/>
              <a:gd name="connsiteX1475" fmla="*/ 3388800 w 12182565"/>
              <a:gd name="connsiteY1475" fmla="*/ 1076665 h 3211589"/>
              <a:gd name="connsiteX1476" fmla="*/ 3501120 w 12182565"/>
              <a:gd name="connsiteY1476" fmla="*/ 1090585 h 3211589"/>
              <a:gd name="connsiteX1477" fmla="*/ 3766080 w 12182565"/>
              <a:gd name="connsiteY1477" fmla="*/ 1133145 h 3211589"/>
              <a:gd name="connsiteX1478" fmla="*/ 4043040 w 12182565"/>
              <a:gd name="connsiteY1478" fmla="*/ 1216025 h 3211589"/>
              <a:gd name="connsiteX1479" fmla="*/ 4055040 w 12182565"/>
              <a:gd name="connsiteY1479" fmla="*/ 1218585 h 3211589"/>
              <a:gd name="connsiteX1480" fmla="*/ 4371840 w 12182565"/>
              <a:gd name="connsiteY1480" fmla="*/ 1265305 h 3211589"/>
              <a:gd name="connsiteX1481" fmla="*/ 4636800 w 12182565"/>
              <a:gd name="connsiteY1481" fmla="*/ 1312825 h 3211589"/>
              <a:gd name="connsiteX1482" fmla="*/ 4824960 w 12182565"/>
              <a:gd name="connsiteY1482" fmla="*/ 1425145 h 3211589"/>
              <a:gd name="connsiteX1483" fmla="*/ 4988640 w 12182565"/>
              <a:gd name="connsiteY1483" fmla="*/ 1521145 h 3211589"/>
              <a:gd name="connsiteX1484" fmla="*/ 5157441 w 12182565"/>
              <a:gd name="connsiteY1484" fmla="*/ 1657145 h 3211589"/>
              <a:gd name="connsiteX1485" fmla="*/ 5390881 w 12182565"/>
              <a:gd name="connsiteY1485" fmla="*/ 1771865 h 3211589"/>
              <a:gd name="connsiteX1486" fmla="*/ 5483360 w 12182565"/>
              <a:gd name="connsiteY1486" fmla="*/ 1788665 h 3211589"/>
              <a:gd name="connsiteX1487" fmla="*/ 5652800 w 12182565"/>
              <a:gd name="connsiteY1487" fmla="*/ 1828185 h 3211589"/>
              <a:gd name="connsiteX1488" fmla="*/ 5760320 w 12182565"/>
              <a:gd name="connsiteY1488" fmla="*/ 1884665 h 3211589"/>
              <a:gd name="connsiteX1489" fmla="*/ 5939200 w 12182565"/>
              <a:gd name="connsiteY1489" fmla="*/ 1973145 h 3211589"/>
              <a:gd name="connsiteX1490" fmla="*/ 6259680 w 12182565"/>
              <a:gd name="connsiteY1490" fmla="*/ 2017465 h 3211589"/>
              <a:gd name="connsiteX1491" fmla="*/ 6298720 w 12182565"/>
              <a:gd name="connsiteY1491" fmla="*/ 2016825 h 3211589"/>
              <a:gd name="connsiteX1492" fmla="*/ 6696320 w 12182565"/>
              <a:gd name="connsiteY1492" fmla="*/ 1952025 h 3211589"/>
              <a:gd name="connsiteX1493" fmla="*/ 6699520 w 12182565"/>
              <a:gd name="connsiteY1493" fmla="*/ 1948825 h 3211589"/>
              <a:gd name="connsiteX1494" fmla="*/ 6720480 w 12182565"/>
              <a:gd name="connsiteY1494" fmla="*/ 1947225 h 3211589"/>
              <a:gd name="connsiteX1495" fmla="*/ 6611840 w 12182565"/>
              <a:gd name="connsiteY1495" fmla="*/ 1997625 h 3211589"/>
              <a:gd name="connsiteX1496" fmla="*/ 6375200 w 12182565"/>
              <a:gd name="connsiteY1496" fmla="*/ 2038425 h 3211589"/>
              <a:gd name="connsiteX1497" fmla="*/ 6285120 w 12182565"/>
              <a:gd name="connsiteY1497" fmla="*/ 2045945 h 3211589"/>
              <a:gd name="connsiteX1498" fmla="*/ 6180400 w 12182565"/>
              <a:gd name="connsiteY1498" fmla="*/ 2055645 h 3211589"/>
              <a:gd name="connsiteX1499" fmla="*/ 6146501 w 12182565"/>
              <a:gd name="connsiteY1499" fmla="*/ 2103063 h 3211589"/>
              <a:gd name="connsiteX1500" fmla="*/ 5679520 w 12182565"/>
              <a:gd name="connsiteY1500" fmla="*/ 2004665 h 3211589"/>
              <a:gd name="connsiteX1501" fmla="*/ 5403200 w 12182565"/>
              <a:gd name="connsiteY1501" fmla="*/ 1877625 h 3211589"/>
              <a:gd name="connsiteX1502" fmla="*/ 5265440 w 12182565"/>
              <a:gd name="connsiteY1502" fmla="*/ 1830425 h 3211589"/>
              <a:gd name="connsiteX1503" fmla="*/ 5011360 w 12182565"/>
              <a:gd name="connsiteY1503" fmla="*/ 1675065 h 3211589"/>
              <a:gd name="connsiteX1504" fmla="*/ 4905921 w 12182565"/>
              <a:gd name="connsiteY1504" fmla="*/ 1559705 h 3211589"/>
              <a:gd name="connsiteX1505" fmla="*/ 4864960 w 12182565"/>
              <a:gd name="connsiteY1505" fmla="*/ 1512345 h 3211589"/>
              <a:gd name="connsiteX1506" fmla="*/ 4662400 w 12182565"/>
              <a:gd name="connsiteY1506" fmla="*/ 1380185 h 3211589"/>
              <a:gd name="connsiteX1507" fmla="*/ 4304321 w 12182565"/>
              <a:gd name="connsiteY1507" fmla="*/ 1362905 h 3211589"/>
              <a:gd name="connsiteX1508" fmla="*/ 3901920 w 12182565"/>
              <a:gd name="connsiteY1508" fmla="*/ 1327705 h 3211589"/>
              <a:gd name="connsiteX1509" fmla="*/ 3632960 w 12182565"/>
              <a:gd name="connsiteY1509" fmla="*/ 1249145 h 3211589"/>
              <a:gd name="connsiteX1510" fmla="*/ 3383200 w 12182565"/>
              <a:gd name="connsiteY1510" fmla="*/ 1192345 h 3211589"/>
              <a:gd name="connsiteX1511" fmla="*/ 3181440 w 12182565"/>
              <a:gd name="connsiteY1511" fmla="*/ 1052505 h 3211589"/>
              <a:gd name="connsiteX1512" fmla="*/ 3353440 w 12182565"/>
              <a:gd name="connsiteY1512" fmla="*/ 1126905 h 3211589"/>
              <a:gd name="connsiteX1513" fmla="*/ 3453600 w 12182565"/>
              <a:gd name="connsiteY1513" fmla="*/ 1152185 h 3211589"/>
              <a:gd name="connsiteX1514" fmla="*/ 3532800 w 12182565"/>
              <a:gd name="connsiteY1514" fmla="*/ 1168345 h 3211589"/>
              <a:gd name="connsiteX1515" fmla="*/ 3707680 w 12182565"/>
              <a:gd name="connsiteY1515" fmla="*/ 1203545 h 3211589"/>
              <a:gd name="connsiteX1516" fmla="*/ 4102720 w 12182565"/>
              <a:gd name="connsiteY1516" fmla="*/ 1297625 h 3211589"/>
              <a:gd name="connsiteX1517" fmla="*/ 4425121 w 12182565"/>
              <a:gd name="connsiteY1517" fmla="*/ 1305785 h 3211589"/>
              <a:gd name="connsiteX1518" fmla="*/ 4621441 w 12182565"/>
              <a:gd name="connsiteY1518" fmla="*/ 1334745 h 3211589"/>
              <a:gd name="connsiteX1519" fmla="*/ 4776161 w 12182565"/>
              <a:gd name="connsiteY1519" fmla="*/ 1423385 h 3211589"/>
              <a:gd name="connsiteX1520" fmla="*/ 4859681 w 12182565"/>
              <a:gd name="connsiteY1520" fmla="*/ 1493785 h 3211589"/>
              <a:gd name="connsiteX1521" fmla="*/ 4904801 w 12182565"/>
              <a:gd name="connsiteY1521" fmla="*/ 1535545 h 3211589"/>
              <a:gd name="connsiteX1522" fmla="*/ 5064961 w 12182565"/>
              <a:gd name="connsiteY1522" fmla="*/ 1661785 h 3211589"/>
              <a:gd name="connsiteX1523" fmla="*/ 5080801 w 12182565"/>
              <a:gd name="connsiteY1523" fmla="*/ 1675865 h 3211589"/>
              <a:gd name="connsiteX1524" fmla="*/ 5195200 w 12182565"/>
              <a:gd name="connsiteY1524" fmla="*/ 1748665 h 3211589"/>
              <a:gd name="connsiteX1525" fmla="*/ 5286882 w 12182565"/>
              <a:gd name="connsiteY1525" fmla="*/ 1793625 h 3211589"/>
              <a:gd name="connsiteX1526" fmla="*/ 5289441 w 12182565"/>
              <a:gd name="connsiteY1526" fmla="*/ 1795065 h 3211589"/>
              <a:gd name="connsiteX1527" fmla="*/ 5390240 w 12182565"/>
              <a:gd name="connsiteY1527" fmla="*/ 1820185 h 3211589"/>
              <a:gd name="connsiteX1528" fmla="*/ 5624000 w 12182565"/>
              <a:gd name="connsiteY1528" fmla="*/ 1902265 h 3211589"/>
              <a:gd name="connsiteX1529" fmla="*/ 5746561 w 12182565"/>
              <a:gd name="connsiteY1529" fmla="*/ 1957145 h 3211589"/>
              <a:gd name="connsiteX1530" fmla="*/ 5807040 w 12182565"/>
              <a:gd name="connsiteY1530" fmla="*/ 1992345 h 3211589"/>
              <a:gd name="connsiteX1531" fmla="*/ 6080320 w 12182565"/>
              <a:gd name="connsiteY1531" fmla="*/ 2070585 h 3211589"/>
              <a:gd name="connsiteX1532" fmla="*/ 6286720 w 12182565"/>
              <a:gd name="connsiteY1532" fmla="*/ 2061625 h 3211589"/>
              <a:gd name="connsiteX1533" fmla="*/ 6375040 w 12182565"/>
              <a:gd name="connsiteY1533" fmla="*/ 2054265 h 3211589"/>
              <a:gd name="connsiteX1534" fmla="*/ 6616800 w 12182565"/>
              <a:gd name="connsiteY1534" fmla="*/ 2012505 h 3211589"/>
              <a:gd name="connsiteX1535" fmla="*/ 6761440 w 12182565"/>
              <a:gd name="connsiteY1535" fmla="*/ 1943225 h 3211589"/>
              <a:gd name="connsiteX1536" fmla="*/ 6763360 w 12182565"/>
              <a:gd name="connsiteY1536" fmla="*/ 1941625 h 3211589"/>
              <a:gd name="connsiteX1537" fmla="*/ 6791520 w 12182565"/>
              <a:gd name="connsiteY1537" fmla="*/ 1936665 h 3211589"/>
              <a:gd name="connsiteX1538" fmla="*/ 6649600 w 12182565"/>
              <a:gd name="connsiteY1538" fmla="*/ 2010585 h 3211589"/>
              <a:gd name="connsiteX1539" fmla="*/ 6638560 w 12182565"/>
              <a:gd name="connsiteY1539" fmla="*/ 2014745 h 3211589"/>
              <a:gd name="connsiteX1540" fmla="*/ 6475200 w 12182565"/>
              <a:gd name="connsiteY1540" fmla="*/ 2064665 h 3211589"/>
              <a:gd name="connsiteX1541" fmla="*/ 6406080 w 12182565"/>
              <a:gd name="connsiteY1541" fmla="*/ 2075385 h 3211589"/>
              <a:gd name="connsiteX1542" fmla="*/ 6201280 w 12182565"/>
              <a:gd name="connsiteY1542" fmla="*/ 2102585 h 3211589"/>
              <a:gd name="connsiteX1543" fmla="*/ 6146501 w 12182565"/>
              <a:gd name="connsiteY1543" fmla="*/ 2103063 h 3211589"/>
              <a:gd name="connsiteX1544" fmla="*/ 11451680 w 12182565"/>
              <a:gd name="connsiteY1544" fmla="*/ 2432185 h 3211589"/>
              <a:gd name="connsiteX1545" fmla="*/ 11450080 w 12182565"/>
              <a:gd name="connsiteY1545" fmla="*/ 2430105 h 3211589"/>
              <a:gd name="connsiteX1546" fmla="*/ 11413600 w 12182565"/>
              <a:gd name="connsiteY1546" fmla="*/ 2342265 h 3211589"/>
              <a:gd name="connsiteX1547" fmla="*/ 11399840 w 12182565"/>
              <a:gd name="connsiteY1547" fmla="*/ 2306105 h 3211589"/>
              <a:gd name="connsiteX1548" fmla="*/ 11378400 w 12182565"/>
              <a:gd name="connsiteY1548" fmla="*/ 2227705 h 3211589"/>
              <a:gd name="connsiteX1549" fmla="*/ 11237920 w 12182565"/>
              <a:gd name="connsiteY1549" fmla="*/ 2097625 h 3211589"/>
              <a:gd name="connsiteX1550" fmla="*/ 11235360 w 12182565"/>
              <a:gd name="connsiteY1550" fmla="*/ 2096825 h 3211589"/>
              <a:gd name="connsiteX1551" fmla="*/ 11076640 w 12182565"/>
              <a:gd name="connsiteY1551" fmla="*/ 2060345 h 3211589"/>
              <a:gd name="connsiteX1552" fmla="*/ 10896000 w 12182565"/>
              <a:gd name="connsiteY1552" fmla="*/ 2043545 h 3211589"/>
              <a:gd name="connsiteX1553" fmla="*/ 10797280 w 12182565"/>
              <a:gd name="connsiteY1553" fmla="*/ 2046265 h 3211589"/>
              <a:gd name="connsiteX1554" fmla="*/ 10657920 w 12182565"/>
              <a:gd name="connsiteY1554" fmla="*/ 2062265 h 3211589"/>
              <a:gd name="connsiteX1555" fmla="*/ 10524480 w 12182565"/>
              <a:gd name="connsiteY1555" fmla="*/ 2078585 h 3211589"/>
              <a:gd name="connsiteX1556" fmla="*/ 10341600 w 12182565"/>
              <a:gd name="connsiteY1556" fmla="*/ 2136025 h 3211589"/>
              <a:gd name="connsiteX1557" fmla="*/ 10338240 w 12182565"/>
              <a:gd name="connsiteY1557" fmla="*/ 2138265 h 3211589"/>
              <a:gd name="connsiteX1558" fmla="*/ 10308000 w 12182565"/>
              <a:gd name="connsiteY1558" fmla="*/ 2134745 h 3211589"/>
              <a:gd name="connsiteX1559" fmla="*/ 10427360 w 12182565"/>
              <a:gd name="connsiteY1559" fmla="*/ 2091225 h 3211589"/>
              <a:gd name="connsiteX1560" fmla="*/ 10461760 w 12182565"/>
              <a:gd name="connsiteY1560" fmla="*/ 2072985 h 3211589"/>
              <a:gd name="connsiteX1561" fmla="*/ 10607040 w 12182565"/>
              <a:gd name="connsiteY1561" fmla="*/ 2025305 h 3211589"/>
              <a:gd name="connsiteX1562" fmla="*/ 10836160 w 12182565"/>
              <a:gd name="connsiteY1562" fmla="*/ 1997625 h 3211589"/>
              <a:gd name="connsiteX1563" fmla="*/ 11084160 w 12182565"/>
              <a:gd name="connsiteY1563" fmla="*/ 1999865 h 3211589"/>
              <a:gd name="connsiteX1564" fmla="*/ 11203200 w 12182565"/>
              <a:gd name="connsiteY1564" fmla="*/ 2022905 h 3211589"/>
              <a:gd name="connsiteX1565" fmla="*/ 11252480 w 12182565"/>
              <a:gd name="connsiteY1565" fmla="*/ 2032025 h 3211589"/>
              <a:gd name="connsiteX1566" fmla="*/ 11389760 w 12182565"/>
              <a:gd name="connsiteY1566" fmla="*/ 2129145 h 3211589"/>
              <a:gd name="connsiteX1567" fmla="*/ 11411520 w 12182565"/>
              <a:gd name="connsiteY1567" fmla="*/ 2211865 h 3211589"/>
              <a:gd name="connsiteX1568" fmla="*/ 11409280 w 12182565"/>
              <a:gd name="connsiteY1568" fmla="*/ 2284505 h 3211589"/>
              <a:gd name="connsiteX1569" fmla="*/ 11429920 w 12182565"/>
              <a:gd name="connsiteY1569" fmla="*/ 2313305 h 3211589"/>
              <a:gd name="connsiteX1570" fmla="*/ 11442880 w 12182565"/>
              <a:gd name="connsiteY1570" fmla="*/ 2331865 h 3211589"/>
              <a:gd name="connsiteX1571" fmla="*/ 11448480 w 12182565"/>
              <a:gd name="connsiteY1571" fmla="*/ 2393785 h 3211589"/>
              <a:gd name="connsiteX1572" fmla="*/ 11451680 w 12182565"/>
              <a:gd name="connsiteY1572" fmla="*/ 2432185 h 3211589"/>
              <a:gd name="connsiteX1573" fmla="*/ 518240 w 12182565"/>
              <a:gd name="connsiteY1573" fmla="*/ 2477305 h 3211589"/>
              <a:gd name="connsiteX1574" fmla="*/ 707680 w 12182565"/>
              <a:gd name="connsiteY1574" fmla="*/ 2271865 h 3211589"/>
              <a:gd name="connsiteX1575" fmla="*/ 712320 w 12182565"/>
              <a:gd name="connsiteY1575" fmla="*/ 2244825 h 3211589"/>
              <a:gd name="connsiteX1576" fmla="*/ 831200 w 12182565"/>
              <a:gd name="connsiteY1576" fmla="*/ 1879705 h 3211589"/>
              <a:gd name="connsiteX1577" fmla="*/ 936000 w 12182565"/>
              <a:gd name="connsiteY1577" fmla="*/ 1808345 h 3211589"/>
              <a:gd name="connsiteX1578" fmla="*/ 867040 w 12182565"/>
              <a:gd name="connsiteY1578" fmla="*/ 1939545 h 3211589"/>
              <a:gd name="connsiteX1579" fmla="*/ 839040 w 12182565"/>
              <a:gd name="connsiteY1579" fmla="*/ 2099545 h 3211589"/>
              <a:gd name="connsiteX1580" fmla="*/ 815520 w 12182565"/>
              <a:gd name="connsiteY1580" fmla="*/ 2242905 h 3211589"/>
              <a:gd name="connsiteX1581" fmla="*/ 518240 w 12182565"/>
              <a:gd name="connsiteY1581" fmla="*/ 2477305 h 3211589"/>
              <a:gd name="connsiteX1582" fmla="*/ 372800 w 12182565"/>
              <a:gd name="connsiteY1582" fmla="*/ 2513145 h 3211589"/>
              <a:gd name="connsiteX1583" fmla="*/ 480160 w 12182565"/>
              <a:gd name="connsiteY1583" fmla="*/ 2420985 h 3211589"/>
              <a:gd name="connsiteX1584" fmla="*/ 632160 w 12182565"/>
              <a:gd name="connsiteY1584" fmla="*/ 2108985 h 3211589"/>
              <a:gd name="connsiteX1585" fmla="*/ 640320 w 12182565"/>
              <a:gd name="connsiteY1585" fmla="*/ 2089785 h 3211589"/>
              <a:gd name="connsiteX1586" fmla="*/ 646240 w 12182565"/>
              <a:gd name="connsiteY1586" fmla="*/ 2075545 h 3211589"/>
              <a:gd name="connsiteX1587" fmla="*/ 899520 w 12182565"/>
              <a:gd name="connsiteY1587" fmla="*/ 1811865 h 3211589"/>
              <a:gd name="connsiteX1588" fmla="*/ 820960 w 12182565"/>
              <a:gd name="connsiteY1588" fmla="*/ 1867705 h 3211589"/>
              <a:gd name="connsiteX1589" fmla="*/ 696480 w 12182565"/>
              <a:gd name="connsiteY1589" fmla="*/ 2242585 h 3211589"/>
              <a:gd name="connsiteX1590" fmla="*/ 691840 w 12182565"/>
              <a:gd name="connsiteY1590" fmla="*/ 2269625 h 3211589"/>
              <a:gd name="connsiteX1591" fmla="*/ 435840 w 12182565"/>
              <a:gd name="connsiteY1591" fmla="*/ 2493305 h 3211589"/>
              <a:gd name="connsiteX1592" fmla="*/ 372800 w 12182565"/>
              <a:gd name="connsiteY1592" fmla="*/ 2513145 h 3211589"/>
              <a:gd name="connsiteX1593" fmla="*/ 11553600 w 12182565"/>
              <a:gd name="connsiteY1593" fmla="*/ 2562105 h 3211589"/>
              <a:gd name="connsiteX1594" fmla="*/ 11522560 w 12182565"/>
              <a:gd name="connsiteY1594" fmla="*/ 2538585 h 3211589"/>
              <a:gd name="connsiteX1595" fmla="*/ 11385920 w 12182565"/>
              <a:gd name="connsiteY1595" fmla="*/ 2383705 h 3211589"/>
              <a:gd name="connsiteX1596" fmla="*/ 11206080 w 12182565"/>
              <a:gd name="connsiteY1596" fmla="*/ 2187865 h 3211589"/>
              <a:gd name="connsiteX1597" fmla="*/ 10974240 w 12182565"/>
              <a:gd name="connsiteY1597" fmla="*/ 2131545 h 3211589"/>
              <a:gd name="connsiteX1598" fmla="*/ 10805440 w 12182565"/>
              <a:gd name="connsiteY1598" fmla="*/ 2124025 h 3211589"/>
              <a:gd name="connsiteX1599" fmla="*/ 10653121 w 12182565"/>
              <a:gd name="connsiteY1599" fmla="*/ 2126585 h 3211589"/>
              <a:gd name="connsiteX1600" fmla="*/ 10462240 w 12182565"/>
              <a:gd name="connsiteY1600" fmla="*/ 2136825 h 3211589"/>
              <a:gd name="connsiteX1601" fmla="*/ 10378560 w 12182565"/>
              <a:gd name="connsiteY1601" fmla="*/ 2140505 h 3211589"/>
              <a:gd name="connsiteX1602" fmla="*/ 10528800 w 12182565"/>
              <a:gd name="connsiteY1602" fmla="*/ 2093465 h 3211589"/>
              <a:gd name="connsiteX1603" fmla="*/ 10657760 w 12182565"/>
              <a:gd name="connsiteY1603" fmla="*/ 2077785 h 3211589"/>
              <a:gd name="connsiteX1604" fmla="*/ 10798720 w 12182565"/>
              <a:gd name="connsiteY1604" fmla="*/ 2061625 h 3211589"/>
              <a:gd name="connsiteX1605" fmla="*/ 11072000 w 12182565"/>
              <a:gd name="connsiteY1605" fmla="*/ 2075225 h 3211589"/>
              <a:gd name="connsiteX1606" fmla="*/ 11231360 w 12182565"/>
              <a:gd name="connsiteY1606" fmla="*/ 2112025 h 3211589"/>
              <a:gd name="connsiteX1607" fmla="*/ 11363680 w 12182565"/>
              <a:gd name="connsiteY1607" fmla="*/ 2233945 h 3211589"/>
              <a:gd name="connsiteX1608" fmla="*/ 11383680 w 12182565"/>
              <a:gd name="connsiteY1608" fmla="*/ 2307545 h 3211589"/>
              <a:gd name="connsiteX1609" fmla="*/ 11402720 w 12182565"/>
              <a:gd name="connsiteY1609" fmla="*/ 2353785 h 3211589"/>
              <a:gd name="connsiteX1610" fmla="*/ 11434400 w 12182565"/>
              <a:gd name="connsiteY1610" fmla="*/ 2433785 h 3211589"/>
              <a:gd name="connsiteX1611" fmla="*/ 11435840 w 12182565"/>
              <a:gd name="connsiteY1611" fmla="*/ 2437465 h 3211589"/>
              <a:gd name="connsiteX1612" fmla="*/ 11553600 w 12182565"/>
              <a:gd name="connsiteY1612" fmla="*/ 2562105 h 3211589"/>
              <a:gd name="connsiteX1613" fmla="*/ 356480 w 12182565"/>
              <a:gd name="connsiteY1613" fmla="*/ 3210265 h 3211589"/>
              <a:gd name="connsiteX1614" fmla="*/ 565760 w 12182565"/>
              <a:gd name="connsiteY1614" fmla="*/ 3089145 h 3211589"/>
              <a:gd name="connsiteX1615" fmla="*/ 726880 w 12182565"/>
              <a:gd name="connsiteY1615" fmla="*/ 2953785 h 3211589"/>
              <a:gd name="connsiteX1616" fmla="*/ 795200 w 12182565"/>
              <a:gd name="connsiteY1616" fmla="*/ 2887865 h 3211589"/>
              <a:gd name="connsiteX1617" fmla="*/ 838560 w 12182565"/>
              <a:gd name="connsiteY1617" fmla="*/ 2855705 h 3211589"/>
              <a:gd name="connsiteX1618" fmla="*/ 1078080 w 12182565"/>
              <a:gd name="connsiteY1618" fmla="*/ 2714425 h 3211589"/>
              <a:gd name="connsiteX1619" fmla="*/ 1274880 w 12182565"/>
              <a:gd name="connsiteY1619" fmla="*/ 2548665 h 3211589"/>
              <a:gd name="connsiteX1620" fmla="*/ 1275520 w 12182565"/>
              <a:gd name="connsiteY1620" fmla="*/ 2407705 h 3211589"/>
              <a:gd name="connsiteX1621" fmla="*/ 1221920 w 12182565"/>
              <a:gd name="connsiteY1621" fmla="*/ 2080505 h 3211589"/>
              <a:gd name="connsiteX1622" fmla="*/ 1269440 w 12182565"/>
              <a:gd name="connsiteY1622" fmla="*/ 1937625 h 3211589"/>
              <a:gd name="connsiteX1623" fmla="*/ 1275680 w 12182565"/>
              <a:gd name="connsiteY1623" fmla="*/ 1909945 h 3211589"/>
              <a:gd name="connsiteX1624" fmla="*/ 1495680 w 12182565"/>
              <a:gd name="connsiteY1624" fmla="*/ 1714265 h 3211589"/>
              <a:gd name="connsiteX1625" fmla="*/ 1924320 w 12182565"/>
              <a:gd name="connsiteY1625" fmla="*/ 1464185 h 3211589"/>
              <a:gd name="connsiteX1626" fmla="*/ 1660320 w 12182565"/>
              <a:gd name="connsiteY1626" fmla="*/ 1652025 h 3211589"/>
              <a:gd name="connsiteX1627" fmla="*/ 1408480 w 12182565"/>
              <a:gd name="connsiteY1627" fmla="*/ 1814265 h 3211589"/>
              <a:gd name="connsiteX1628" fmla="*/ 1305440 w 12182565"/>
              <a:gd name="connsiteY1628" fmla="*/ 2142905 h 3211589"/>
              <a:gd name="connsiteX1629" fmla="*/ 1371520 w 12182565"/>
              <a:gd name="connsiteY1629" fmla="*/ 2350745 h 3211589"/>
              <a:gd name="connsiteX1630" fmla="*/ 1431040 w 12182565"/>
              <a:gd name="connsiteY1630" fmla="*/ 2492185 h 3211589"/>
              <a:gd name="connsiteX1631" fmla="*/ 1284640 w 12182565"/>
              <a:gd name="connsiteY1631" fmla="*/ 2760505 h 3211589"/>
              <a:gd name="connsiteX1632" fmla="*/ 1198240 w 12182565"/>
              <a:gd name="connsiteY1632" fmla="*/ 2797145 h 3211589"/>
              <a:gd name="connsiteX1633" fmla="*/ 898880 w 12182565"/>
              <a:gd name="connsiteY1633" fmla="*/ 2942105 h 3211589"/>
              <a:gd name="connsiteX1634" fmla="*/ 429440 w 12182565"/>
              <a:gd name="connsiteY1634" fmla="*/ 3191385 h 3211589"/>
              <a:gd name="connsiteX1635" fmla="*/ 425600 w 12182565"/>
              <a:gd name="connsiteY1635" fmla="*/ 3202105 h 3211589"/>
              <a:gd name="connsiteX1636" fmla="*/ 436160 w 12182565"/>
              <a:gd name="connsiteY1636" fmla="*/ 3206105 h 3211589"/>
              <a:gd name="connsiteX1637" fmla="*/ 907360 w 12182565"/>
              <a:gd name="connsiteY1637" fmla="*/ 2955865 h 3211589"/>
              <a:gd name="connsiteX1638" fmla="*/ 1203840 w 12182565"/>
              <a:gd name="connsiteY1638" fmla="*/ 2812345 h 3211589"/>
              <a:gd name="connsiteX1639" fmla="*/ 1292320 w 12182565"/>
              <a:gd name="connsiteY1639" fmla="*/ 2774745 h 3211589"/>
              <a:gd name="connsiteX1640" fmla="*/ 1446080 w 12182565"/>
              <a:gd name="connsiteY1640" fmla="*/ 2486905 h 3211589"/>
              <a:gd name="connsiteX1641" fmla="*/ 1386080 w 12182565"/>
              <a:gd name="connsiteY1641" fmla="*/ 2344185 h 3211589"/>
              <a:gd name="connsiteX1642" fmla="*/ 1321440 w 12182565"/>
              <a:gd name="connsiteY1642" fmla="*/ 2143225 h 3211589"/>
              <a:gd name="connsiteX1643" fmla="*/ 1418560 w 12182565"/>
              <a:gd name="connsiteY1643" fmla="*/ 1827225 h 3211589"/>
              <a:gd name="connsiteX1644" fmla="*/ 1667040 w 12182565"/>
              <a:gd name="connsiteY1644" fmla="*/ 1667065 h 3211589"/>
              <a:gd name="connsiteX1645" fmla="*/ 1950720 w 12182565"/>
              <a:gd name="connsiteY1645" fmla="*/ 1454425 h 3211589"/>
              <a:gd name="connsiteX1646" fmla="*/ 2247840 w 12182565"/>
              <a:gd name="connsiteY1646" fmla="*/ 1130905 h 3211589"/>
              <a:gd name="connsiteX1647" fmla="*/ 2435520 w 12182565"/>
              <a:gd name="connsiteY1647" fmla="*/ 1059225 h 3211589"/>
              <a:gd name="connsiteX1648" fmla="*/ 2704640 w 12182565"/>
              <a:gd name="connsiteY1648" fmla="*/ 940665 h 3211589"/>
              <a:gd name="connsiteX1649" fmla="*/ 2916320 w 12182565"/>
              <a:gd name="connsiteY1649" fmla="*/ 891225 h 3211589"/>
              <a:gd name="connsiteX1650" fmla="*/ 3119680 w 12182565"/>
              <a:gd name="connsiteY1650" fmla="*/ 1009305 h 3211589"/>
              <a:gd name="connsiteX1651" fmla="*/ 3379840 w 12182565"/>
              <a:gd name="connsiteY1651" fmla="*/ 1208665 h 3211589"/>
              <a:gd name="connsiteX1652" fmla="*/ 3629920 w 12182565"/>
              <a:gd name="connsiteY1652" fmla="*/ 1265465 h 3211589"/>
              <a:gd name="connsiteX1653" fmla="*/ 3897600 w 12182565"/>
              <a:gd name="connsiteY1653" fmla="*/ 1343545 h 3211589"/>
              <a:gd name="connsiteX1654" fmla="*/ 4307841 w 12182565"/>
              <a:gd name="connsiteY1654" fmla="*/ 1379385 h 3211589"/>
              <a:gd name="connsiteX1655" fmla="*/ 4656481 w 12182565"/>
              <a:gd name="connsiteY1655" fmla="*/ 1395225 h 3211589"/>
              <a:gd name="connsiteX1656" fmla="*/ 4854240 w 12182565"/>
              <a:gd name="connsiteY1656" fmla="*/ 1523865 h 3211589"/>
              <a:gd name="connsiteX1657" fmla="*/ 4894720 w 12182565"/>
              <a:gd name="connsiteY1657" fmla="*/ 1570905 h 3211589"/>
              <a:gd name="connsiteX1658" fmla="*/ 5002400 w 12182565"/>
              <a:gd name="connsiteY1658" fmla="*/ 1688345 h 3211589"/>
              <a:gd name="connsiteX1659" fmla="*/ 5260640 w 12182565"/>
              <a:gd name="connsiteY1659" fmla="*/ 1845945 h 3211589"/>
              <a:gd name="connsiteX1660" fmla="*/ 5399680 w 12182565"/>
              <a:gd name="connsiteY1660" fmla="*/ 1893625 h 3211589"/>
              <a:gd name="connsiteX1661" fmla="*/ 5671041 w 12182565"/>
              <a:gd name="connsiteY1661" fmla="*/ 2017945 h 3211589"/>
              <a:gd name="connsiteX1662" fmla="*/ 6203520 w 12182565"/>
              <a:gd name="connsiteY1662" fmla="*/ 2119225 h 3211589"/>
              <a:gd name="connsiteX1663" fmla="*/ 6410240 w 12182565"/>
              <a:gd name="connsiteY1663" fmla="*/ 2091705 h 3211589"/>
              <a:gd name="connsiteX1664" fmla="*/ 6477440 w 12182565"/>
              <a:gd name="connsiteY1664" fmla="*/ 2081305 h 3211589"/>
              <a:gd name="connsiteX1665" fmla="*/ 6645440 w 12182565"/>
              <a:gd name="connsiteY1665" fmla="*/ 2030425 h 3211589"/>
              <a:gd name="connsiteX1666" fmla="*/ 6656480 w 12182565"/>
              <a:gd name="connsiteY1666" fmla="*/ 2026265 h 3211589"/>
              <a:gd name="connsiteX1667" fmla="*/ 6849120 w 12182565"/>
              <a:gd name="connsiteY1667" fmla="*/ 1923705 h 3211589"/>
              <a:gd name="connsiteX1668" fmla="*/ 6955360 w 12182565"/>
              <a:gd name="connsiteY1668" fmla="*/ 1886745 h 3211589"/>
              <a:gd name="connsiteX1669" fmla="*/ 7050720 w 12182565"/>
              <a:gd name="connsiteY1669" fmla="*/ 1856025 h 3211589"/>
              <a:gd name="connsiteX1670" fmla="*/ 7120800 w 12182565"/>
              <a:gd name="connsiteY1670" fmla="*/ 1832025 h 3211589"/>
              <a:gd name="connsiteX1671" fmla="*/ 7327840 w 12182565"/>
              <a:gd name="connsiteY1671" fmla="*/ 1741785 h 3211589"/>
              <a:gd name="connsiteX1672" fmla="*/ 7550400 w 12182565"/>
              <a:gd name="connsiteY1672" fmla="*/ 1624665 h 3211589"/>
              <a:gd name="connsiteX1673" fmla="*/ 7778240 w 12182565"/>
              <a:gd name="connsiteY1673" fmla="*/ 1473785 h 3211589"/>
              <a:gd name="connsiteX1674" fmla="*/ 7812320 w 12182565"/>
              <a:gd name="connsiteY1674" fmla="*/ 1451705 h 3211589"/>
              <a:gd name="connsiteX1675" fmla="*/ 7904320 w 12182565"/>
              <a:gd name="connsiteY1675" fmla="*/ 1375385 h 3211589"/>
              <a:gd name="connsiteX1676" fmla="*/ 7997920 w 12182565"/>
              <a:gd name="connsiteY1676" fmla="*/ 1297625 h 3211589"/>
              <a:gd name="connsiteX1677" fmla="*/ 8297121 w 12182565"/>
              <a:gd name="connsiteY1677" fmla="*/ 1168505 h 3211589"/>
              <a:gd name="connsiteX1678" fmla="*/ 8468960 w 12182565"/>
              <a:gd name="connsiteY1678" fmla="*/ 1167865 h 3211589"/>
              <a:gd name="connsiteX1679" fmla="*/ 8842080 w 12182565"/>
              <a:gd name="connsiteY1679" fmla="*/ 1161305 h 3211589"/>
              <a:gd name="connsiteX1680" fmla="*/ 9223360 w 12182565"/>
              <a:gd name="connsiteY1680" fmla="*/ 1092345 h 3211589"/>
              <a:gd name="connsiteX1681" fmla="*/ 9666240 w 12182565"/>
              <a:gd name="connsiteY1681" fmla="*/ 1068505 h 3211589"/>
              <a:gd name="connsiteX1682" fmla="*/ 9665920 w 12182565"/>
              <a:gd name="connsiteY1682" fmla="*/ 1111545 h 3211589"/>
              <a:gd name="connsiteX1683" fmla="*/ 9666080 w 12182565"/>
              <a:gd name="connsiteY1683" fmla="*/ 1116025 h 3211589"/>
              <a:gd name="connsiteX1684" fmla="*/ 9744480 w 12182565"/>
              <a:gd name="connsiteY1684" fmla="*/ 1451225 h 3211589"/>
              <a:gd name="connsiteX1685" fmla="*/ 9784160 w 12182565"/>
              <a:gd name="connsiteY1685" fmla="*/ 1654585 h 3211589"/>
              <a:gd name="connsiteX1686" fmla="*/ 9780800 w 12182565"/>
              <a:gd name="connsiteY1686" fmla="*/ 1753305 h 3211589"/>
              <a:gd name="connsiteX1687" fmla="*/ 10024160 w 12182565"/>
              <a:gd name="connsiteY1687" fmla="*/ 2068985 h 3211589"/>
              <a:gd name="connsiteX1688" fmla="*/ 10024320 w 12182565"/>
              <a:gd name="connsiteY1688" fmla="*/ 2068985 h 3211589"/>
              <a:gd name="connsiteX1689" fmla="*/ 10466400 w 12182565"/>
              <a:gd name="connsiteY1689" fmla="*/ 2153305 h 3211589"/>
              <a:gd name="connsiteX1690" fmla="*/ 10652960 w 12182565"/>
              <a:gd name="connsiteY1690" fmla="*/ 2143225 h 3211589"/>
              <a:gd name="connsiteX1691" fmla="*/ 10808800 w 12182565"/>
              <a:gd name="connsiteY1691" fmla="*/ 2140665 h 3211589"/>
              <a:gd name="connsiteX1692" fmla="*/ 10973440 w 12182565"/>
              <a:gd name="connsiteY1692" fmla="*/ 2148345 h 3211589"/>
              <a:gd name="connsiteX1693" fmla="*/ 11200800 w 12182565"/>
              <a:gd name="connsiteY1693" fmla="*/ 2203385 h 3211589"/>
              <a:gd name="connsiteX1694" fmla="*/ 11373121 w 12182565"/>
              <a:gd name="connsiteY1694" fmla="*/ 2392505 h 3211589"/>
              <a:gd name="connsiteX1695" fmla="*/ 11513121 w 12182565"/>
              <a:gd name="connsiteY1695" fmla="*/ 2551545 h 3211589"/>
              <a:gd name="connsiteX1696" fmla="*/ 11839200 w 12182565"/>
              <a:gd name="connsiteY1696" fmla="*/ 2735225 h 3211589"/>
              <a:gd name="connsiteX1697" fmla="*/ 12165760 w 12182565"/>
              <a:gd name="connsiteY1697" fmla="*/ 2804185 h 3211589"/>
              <a:gd name="connsiteX1698" fmla="*/ 12174240 w 12182565"/>
              <a:gd name="connsiteY1698" fmla="*/ 2796505 h 3211589"/>
              <a:gd name="connsiteX1699" fmla="*/ 12166720 w 12182565"/>
              <a:gd name="connsiteY1699" fmla="*/ 2788025 h 3211589"/>
              <a:gd name="connsiteX1700" fmla="*/ 11845440 w 12182565"/>
              <a:gd name="connsiteY1700" fmla="*/ 2720185 h 3211589"/>
              <a:gd name="connsiteX1701" fmla="*/ 11597760 w 12182565"/>
              <a:gd name="connsiteY1701" fmla="*/ 2591225 h 3211589"/>
              <a:gd name="connsiteX1702" fmla="*/ 11599520 w 12182565"/>
              <a:gd name="connsiteY1702" fmla="*/ 2592185 h 3211589"/>
              <a:gd name="connsiteX1703" fmla="*/ 11849121 w 12182565"/>
              <a:gd name="connsiteY1703" fmla="*/ 2700665 h 3211589"/>
              <a:gd name="connsiteX1704" fmla="*/ 12168160 w 12182565"/>
              <a:gd name="connsiteY1704" fmla="*/ 2742425 h 3211589"/>
              <a:gd name="connsiteX1705" fmla="*/ 12176000 w 12182565"/>
              <a:gd name="connsiteY1705" fmla="*/ 2734265 h 3211589"/>
              <a:gd name="connsiteX1706" fmla="*/ 12168000 w 12182565"/>
              <a:gd name="connsiteY1706" fmla="*/ 2726425 h 3211589"/>
              <a:gd name="connsiteX1707" fmla="*/ 12167840 w 12182565"/>
              <a:gd name="connsiteY1707" fmla="*/ 2726425 h 3211589"/>
              <a:gd name="connsiteX1708" fmla="*/ 11853600 w 12182565"/>
              <a:gd name="connsiteY1708" fmla="*/ 2685465 h 3211589"/>
              <a:gd name="connsiteX1709" fmla="*/ 11606720 w 12182565"/>
              <a:gd name="connsiteY1709" fmla="*/ 2578105 h 3211589"/>
              <a:gd name="connsiteX1710" fmla="*/ 11496160 w 12182565"/>
              <a:gd name="connsiteY1710" fmla="*/ 2484825 h 3211589"/>
              <a:gd name="connsiteX1711" fmla="*/ 11657920 w 12182565"/>
              <a:gd name="connsiteY1711" fmla="*/ 2580505 h 3211589"/>
              <a:gd name="connsiteX1712" fmla="*/ 11690400 w 12182565"/>
              <a:gd name="connsiteY1712" fmla="*/ 2599225 h 3211589"/>
              <a:gd name="connsiteX1713" fmla="*/ 11804000 w 12182565"/>
              <a:gd name="connsiteY1713" fmla="*/ 2631385 h 3211589"/>
              <a:gd name="connsiteX1714" fmla="*/ 11845440 w 12182565"/>
              <a:gd name="connsiteY1714" fmla="*/ 2641145 h 3211589"/>
              <a:gd name="connsiteX1715" fmla="*/ 12016960 w 12182565"/>
              <a:gd name="connsiteY1715" fmla="*/ 2678425 h 3211589"/>
              <a:gd name="connsiteX1716" fmla="*/ 12165920 w 12182565"/>
              <a:gd name="connsiteY1716" fmla="*/ 2666905 h 3211589"/>
              <a:gd name="connsiteX1717" fmla="*/ 12172960 w 12182565"/>
              <a:gd name="connsiteY1717" fmla="*/ 2657945 h 3211589"/>
              <a:gd name="connsiteX1718" fmla="*/ 12164160 w 12182565"/>
              <a:gd name="connsiteY1718" fmla="*/ 2650745 h 3211589"/>
              <a:gd name="connsiteX1719" fmla="*/ 12016320 w 12182565"/>
              <a:gd name="connsiteY1719" fmla="*/ 2662105 h 3211589"/>
              <a:gd name="connsiteX1720" fmla="*/ 11851200 w 12182565"/>
              <a:gd name="connsiteY1720" fmla="*/ 2625945 h 3211589"/>
              <a:gd name="connsiteX1721" fmla="*/ 11807040 w 12182565"/>
              <a:gd name="connsiteY1721" fmla="*/ 2615385 h 3211589"/>
              <a:gd name="connsiteX1722" fmla="*/ 11698080 w 12182565"/>
              <a:gd name="connsiteY1722" fmla="*/ 2585145 h 3211589"/>
              <a:gd name="connsiteX1723" fmla="*/ 11665440 w 12182565"/>
              <a:gd name="connsiteY1723" fmla="*/ 2566265 h 3211589"/>
              <a:gd name="connsiteX1724" fmla="*/ 11493121 w 12182565"/>
              <a:gd name="connsiteY1724" fmla="*/ 2463705 h 3211589"/>
              <a:gd name="connsiteX1725" fmla="*/ 11465121 w 12182565"/>
              <a:gd name="connsiteY1725" fmla="*/ 2396025 h 3211589"/>
              <a:gd name="connsiteX1726" fmla="*/ 11465121 w 12182565"/>
              <a:gd name="connsiteY1726" fmla="*/ 2393625 h 3211589"/>
              <a:gd name="connsiteX1727" fmla="*/ 11459520 w 12182565"/>
              <a:gd name="connsiteY1727" fmla="*/ 2332505 h 3211589"/>
              <a:gd name="connsiteX1728" fmla="*/ 11442400 w 12182565"/>
              <a:gd name="connsiteY1728" fmla="*/ 2303065 h 3211589"/>
              <a:gd name="connsiteX1729" fmla="*/ 11424800 w 12182565"/>
              <a:gd name="connsiteY1729" fmla="*/ 2278905 h 3211589"/>
              <a:gd name="connsiteX1730" fmla="*/ 11428000 w 12182565"/>
              <a:gd name="connsiteY1730" fmla="*/ 2214905 h 3211589"/>
              <a:gd name="connsiteX1731" fmla="*/ 11428160 w 12182565"/>
              <a:gd name="connsiteY1731" fmla="*/ 2212505 h 3211589"/>
              <a:gd name="connsiteX1732" fmla="*/ 11404320 w 12182565"/>
              <a:gd name="connsiteY1732" fmla="*/ 2121785 h 3211589"/>
              <a:gd name="connsiteX1733" fmla="*/ 11256320 w 12182565"/>
              <a:gd name="connsiteY1733" fmla="*/ 2016665 h 3211589"/>
              <a:gd name="connsiteX1734" fmla="*/ 11206400 w 12182565"/>
              <a:gd name="connsiteY1734" fmla="*/ 2007385 h 3211589"/>
              <a:gd name="connsiteX1735" fmla="*/ 11088000 w 12182565"/>
              <a:gd name="connsiteY1735" fmla="*/ 1984505 h 3211589"/>
              <a:gd name="connsiteX1736" fmla="*/ 10977280 w 12182565"/>
              <a:gd name="connsiteY1736" fmla="*/ 1976505 h 3211589"/>
              <a:gd name="connsiteX1737" fmla="*/ 10834560 w 12182565"/>
              <a:gd name="connsiteY1737" fmla="*/ 1982105 h 3211589"/>
              <a:gd name="connsiteX1738" fmla="*/ 10606560 w 12182565"/>
              <a:gd name="connsiteY1738" fmla="*/ 2009625 h 3211589"/>
              <a:gd name="connsiteX1739" fmla="*/ 10454400 w 12182565"/>
              <a:gd name="connsiteY1739" fmla="*/ 2059225 h 3211589"/>
              <a:gd name="connsiteX1740" fmla="*/ 10420960 w 12182565"/>
              <a:gd name="connsiteY1740" fmla="*/ 2076985 h 3211589"/>
              <a:gd name="connsiteX1741" fmla="*/ 10279520 w 12182565"/>
              <a:gd name="connsiteY1741" fmla="*/ 2127065 h 3211589"/>
              <a:gd name="connsiteX1742" fmla="*/ 10275360 w 12182565"/>
              <a:gd name="connsiteY1742" fmla="*/ 2130105 h 3211589"/>
              <a:gd name="connsiteX1743" fmla="*/ 10239680 w 12182565"/>
              <a:gd name="connsiteY1743" fmla="*/ 2123545 h 3211589"/>
              <a:gd name="connsiteX1744" fmla="*/ 10353920 w 12182565"/>
              <a:gd name="connsiteY1744" fmla="*/ 2065945 h 3211589"/>
              <a:gd name="connsiteX1745" fmla="*/ 10379200 w 12182565"/>
              <a:gd name="connsiteY1745" fmla="*/ 2051865 h 3211589"/>
              <a:gd name="connsiteX1746" fmla="*/ 10549760 w 12182565"/>
              <a:gd name="connsiteY1746" fmla="*/ 1991065 h 3211589"/>
              <a:gd name="connsiteX1747" fmla="*/ 10787520 w 12182565"/>
              <a:gd name="connsiteY1747" fmla="*/ 1964825 h 3211589"/>
              <a:gd name="connsiteX1748" fmla="*/ 10796320 w 12182565"/>
              <a:gd name="connsiteY1748" fmla="*/ 1963385 h 3211589"/>
              <a:gd name="connsiteX1749" fmla="*/ 10840960 w 12182565"/>
              <a:gd name="connsiteY1749" fmla="*/ 1955545 h 3211589"/>
              <a:gd name="connsiteX1750" fmla="*/ 11085121 w 12182565"/>
              <a:gd name="connsiteY1750" fmla="*/ 1942745 h 3211589"/>
              <a:gd name="connsiteX1751" fmla="*/ 11270720 w 12182565"/>
              <a:gd name="connsiteY1751" fmla="*/ 1965785 h 3211589"/>
              <a:gd name="connsiteX1752" fmla="*/ 11423360 w 12182565"/>
              <a:gd name="connsiteY1752" fmla="*/ 2064185 h 3211589"/>
              <a:gd name="connsiteX1753" fmla="*/ 11446080 w 12182565"/>
              <a:gd name="connsiteY1753" fmla="*/ 2162905 h 3211589"/>
              <a:gd name="connsiteX1754" fmla="*/ 11460320 w 12182565"/>
              <a:gd name="connsiteY1754" fmla="*/ 2220185 h 3211589"/>
              <a:gd name="connsiteX1755" fmla="*/ 11475040 w 12182565"/>
              <a:gd name="connsiteY1755" fmla="*/ 2297945 h 3211589"/>
              <a:gd name="connsiteX1756" fmla="*/ 11483200 w 12182565"/>
              <a:gd name="connsiteY1756" fmla="*/ 2361945 h 3211589"/>
              <a:gd name="connsiteX1757" fmla="*/ 11524960 w 12182565"/>
              <a:gd name="connsiteY1757" fmla="*/ 2475065 h 3211589"/>
              <a:gd name="connsiteX1758" fmla="*/ 11706560 w 12182565"/>
              <a:gd name="connsiteY1758" fmla="*/ 2574265 h 3211589"/>
              <a:gd name="connsiteX1759" fmla="*/ 11865920 w 12182565"/>
              <a:gd name="connsiteY1759" fmla="*/ 2606425 h 3211589"/>
              <a:gd name="connsiteX1760" fmla="*/ 12092640 w 12182565"/>
              <a:gd name="connsiteY1760" fmla="*/ 2613145 h 3211589"/>
              <a:gd name="connsiteX1761" fmla="*/ 12161121 w 12182565"/>
              <a:gd name="connsiteY1761" fmla="*/ 2592505 h 3211589"/>
              <a:gd name="connsiteX1762" fmla="*/ 12166560 w 12182565"/>
              <a:gd name="connsiteY1762" fmla="*/ 2582425 h 3211589"/>
              <a:gd name="connsiteX1763" fmla="*/ 12156640 w 12182565"/>
              <a:gd name="connsiteY1763" fmla="*/ 2576985 h 3211589"/>
              <a:gd name="connsiteX1764" fmla="*/ 12088160 w 12182565"/>
              <a:gd name="connsiteY1764" fmla="*/ 2597625 h 3211589"/>
              <a:gd name="connsiteX1765" fmla="*/ 11869760 w 12182565"/>
              <a:gd name="connsiteY1765" fmla="*/ 2590585 h 3211589"/>
              <a:gd name="connsiteX1766" fmla="*/ 11709600 w 12182565"/>
              <a:gd name="connsiteY1766" fmla="*/ 2558265 h 3211589"/>
              <a:gd name="connsiteX1767" fmla="*/ 11537440 w 12182565"/>
              <a:gd name="connsiteY1767" fmla="*/ 2464505 h 3211589"/>
              <a:gd name="connsiteX1768" fmla="*/ 11499360 w 12182565"/>
              <a:gd name="connsiteY1768" fmla="*/ 2361625 h 3211589"/>
              <a:gd name="connsiteX1769" fmla="*/ 11490560 w 12182565"/>
              <a:gd name="connsiteY1769" fmla="*/ 2293305 h 3211589"/>
              <a:gd name="connsiteX1770" fmla="*/ 11476480 w 12182565"/>
              <a:gd name="connsiteY1770" fmla="*/ 2218585 h 3211589"/>
              <a:gd name="connsiteX1771" fmla="*/ 11461440 w 12182565"/>
              <a:gd name="connsiteY1771" fmla="*/ 2157305 h 3211589"/>
              <a:gd name="connsiteX1772" fmla="*/ 11439360 w 12182565"/>
              <a:gd name="connsiteY1772" fmla="*/ 2062265 h 3211589"/>
              <a:gd name="connsiteX1773" fmla="*/ 11273440 w 12182565"/>
              <a:gd name="connsiteY1773" fmla="*/ 1949465 h 3211589"/>
              <a:gd name="connsiteX1774" fmla="*/ 11087200 w 12182565"/>
              <a:gd name="connsiteY1774" fmla="*/ 1926265 h 3211589"/>
              <a:gd name="connsiteX1775" fmla="*/ 11003360 w 12182565"/>
              <a:gd name="connsiteY1775" fmla="*/ 1920665 h 3211589"/>
              <a:gd name="connsiteX1776" fmla="*/ 10838240 w 12182565"/>
              <a:gd name="connsiteY1776" fmla="*/ 1939225 h 3211589"/>
              <a:gd name="connsiteX1777" fmla="*/ 10793920 w 12182565"/>
              <a:gd name="connsiteY1777" fmla="*/ 1946905 h 3211589"/>
              <a:gd name="connsiteX1778" fmla="*/ 10785121 w 12182565"/>
              <a:gd name="connsiteY1778" fmla="*/ 1948345 h 3211589"/>
              <a:gd name="connsiteX1779" fmla="*/ 10549920 w 12182565"/>
              <a:gd name="connsiteY1779" fmla="*/ 1974425 h 3211589"/>
              <a:gd name="connsiteX1780" fmla="*/ 10371520 w 12182565"/>
              <a:gd name="connsiteY1780" fmla="*/ 2037305 h 3211589"/>
              <a:gd name="connsiteX1781" fmla="*/ 10346400 w 12182565"/>
              <a:gd name="connsiteY1781" fmla="*/ 2051225 h 3211589"/>
              <a:gd name="connsiteX1782" fmla="*/ 10218400 w 12182565"/>
              <a:gd name="connsiteY1782" fmla="*/ 2115385 h 3211589"/>
              <a:gd name="connsiteX1783" fmla="*/ 10215520 w 12182565"/>
              <a:gd name="connsiteY1783" fmla="*/ 2117785 h 3211589"/>
              <a:gd name="connsiteX1784" fmla="*/ 10149600 w 12182565"/>
              <a:gd name="connsiteY1784" fmla="*/ 2100505 h 3211589"/>
              <a:gd name="connsiteX1785" fmla="*/ 10331680 w 12182565"/>
              <a:gd name="connsiteY1785" fmla="*/ 2044505 h 3211589"/>
              <a:gd name="connsiteX1786" fmla="*/ 10547520 w 12182565"/>
              <a:gd name="connsiteY1786" fmla="*/ 1967545 h 3211589"/>
              <a:gd name="connsiteX1787" fmla="*/ 10805600 w 12182565"/>
              <a:gd name="connsiteY1787" fmla="*/ 1925945 h 3211589"/>
              <a:gd name="connsiteX1788" fmla="*/ 10838880 w 12182565"/>
              <a:gd name="connsiteY1788" fmla="*/ 1917145 h 3211589"/>
              <a:gd name="connsiteX1789" fmla="*/ 11047840 w 12182565"/>
              <a:gd name="connsiteY1789" fmla="*/ 1891545 h 3211589"/>
              <a:gd name="connsiteX1790" fmla="*/ 11095840 w 12182565"/>
              <a:gd name="connsiteY1790" fmla="*/ 1898905 h 3211589"/>
              <a:gd name="connsiteX1791" fmla="*/ 11225760 w 12182565"/>
              <a:gd name="connsiteY1791" fmla="*/ 1912185 h 3211589"/>
              <a:gd name="connsiteX1792" fmla="*/ 11470400 w 12182565"/>
              <a:gd name="connsiteY1792" fmla="*/ 1982105 h 3211589"/>
              <a:gd name="connsiteX1793" fmla="*/ 11506240 w 12182565"/>
              <a:gd name="connsiteY1793" fmla="*/ 2101785 h 3211589"/>
              <a:gd name="connsiteX1794" fmla="*/ 11506080 w 12182565"/>
              <a:gd name="connsiteY1794" fmla="*/ 2113785 h 3211589"/>
              <a:gd name="connsiteX1795" fmla="*/ 11521600 w 12182565"/>
              <a:gd name="connsiteY1795" fmla="*/ 2202585 h 3211589"/>
              <a:gd name="connsiteX1796" fmla="*/ 11538080 w 12182565"/>
              <a:gd name="connsiteY1796" fmla="*/ 2285145 h 3211589"/>
              <a:gd name="connsiteX1797" fmla="*/ 11536960 w 12182565"/>
              <a:gd name="connsiteY1797" fmla="*/ 2287065 h 3211589"/>
              <a:gd name="connsiteX1798" fmla="*/ 11578080 w 12182565"/>
              <a:gd name="connsiteY1798" fmla="*/ 2489785 h 3211589"/>
              <a:gd name="connsiteX1799" fmla="*/ 11876320 w 12182565"/>
              <a:gd name="connsiteY1799" fmla="*/ 2576185 h 3211589"/>
              <a:gd name="connsiteX1800" fmla="*/ 12038240 w 12182565"/>
              <a:gd name="connsiteY1800" fmla="*/ 2568985 h 3211589"/>
              <a:gd name="connsiteX1801" fmla="*/ 12173280 w 12182565"/>
              <a:gd name="connsiteY1801" fmla="*/ 2555385 h 3211589"/>
              <a:gd name="connsiteX1802" fmla="*/ 12181280 w 12182565"/>
              <a:gd name="connsiteY1802" fmla="*/ 2547385 h 3211589"/>
              <a:gd name="connsiteX1803" fmla="*/ 12173280 w 12182565"/>
              <a:gd name="connsiteY1803" fmla="*/ 2539385 h 3211589"/>
              <a:gd name="connsiteX1804" fmla="*/ 12034400 w 12182565"/>
              <a:gd name="connsiteY1804" fmla="*/ 2553465 h 3211589"/>
              <a:gd name="connsiteX1805" fmla="*/ 11876960 w 12182565"/>
              <a:gd name="connsiteY1805" fmla="*/ 2560185 h 3211589"/>
              <a:gd name="connsiteX1806" fmla="*/ 11587200 w 12182565"/>
              <a:gd name="connsiteY1806" fmla="*/ 2476665 h 3211589"/>
              <a:gd name="connsiteX1807" fmla="*/ 11550720 w 12182565"/>
              <a:gd name="connsiteY1807" fmla="*/ 2295225 h 3211589"/>
              <a:gd name="connsiteX1808" fmla="*/ 11552960 w 12182565"/>
              <a:gd name="connsiteY1808" fmla="*/ 2291065 h 3211589"/>
              <a:gd name="connsiteX1809" fmla="*/ 11535200 w 12182565"/>
              <a:gd name="connsiteY1809" fmla="*/ 2194105 h 3211589"/>
              <a:gd name="connsiteX1810" fmla="*/ 11522080 w 12182565"/>
              <a:gd name="connsiteY1810" fmla="*/ 2114105 h 3211589"/>
              <a:gd name="connsiteX1811" fmla="*/ 11522240 w 12182565"/>
              <a:gd name="connsiteY1811" fmla="*/ 2101945 h 3211589"/>
              <a:gd name="connsiteX1812" fmla="*/ 11483840 w 12182565"/>
              <a:gd name="connsiteY1812" fmla="*/ 1973465 h 3211589"/>
              <a:gd name="connsiteX1813" fmla="*/ 11226400 w 12182565"/>
              <a:gd name="connsiteY1813" fmla="*/ 1896345 h 3211589"/>
              <a:gd name="connsiteX1814" fmla="*/ 11098400 w 12182565"/>
              <a:gd name="connsiteY1814" fmla="*/ 1883225 h 3211589"/>
              <a:gd name="connsiteX1815" fmla="*/ 11050400 w 12182565"/>
              <a:gd name="connsiteY1815" fmla="*/ 1875865 h 3211589"/>
              <a:gd name="connsiteX1816" fmla="*/ 11004640 w 12182565"/>
              <a:gd name="connsiteY1816" fmla="*/ 1872505 h 3211589"/>
              <a:gd name="connsiteX1817" fmla="*/ 10834880 w 12182565"/>
              <a:gd name="connsiteY1817" fmla="*/ 1901785 h 3211589"/>
              <a:gd name="connsiteX1818" fmla="*/ 10801920 w 12182565"/>
              <a:gd name="connsiteY1818" fmla="*/ 1910425 h 3211589"/>
              <a:gd name="connsiteX1819" fmla="*/ 10546560 w 12182565"/>
              <a:gd name="connsiteY1819" fmla="*/ 1951545 h 3211589"/>
              <a:gd name="connsiteX1820" fmla="*/ 10323680 w 12182565"/>
              <a:gd name="connsiteY1820" fmla="*/ 2030425 h 3211589"/>
              <a:gd name="connsiteX1821" fmla="*/ 10115840 w 12182565"/>
              <a:gd name="connsiteY1821" fmla="*/ 2087065 h 3211589"/>
              <a:gd name="connsiteX1822" fmla="*/ 10112000 w 12182565"/>
              <a:gd name="connsiteY1822" fmla="*/ 2088345 h 3211589"/>
              <a:gd name="connsiteX1823" fmla="*/ 10064960 w 12182565"/>
              <a:gd name="connsiteY1823" fmla="*/ 2069785 h 3211589"/>
              <a:gd name="connsiteX1824" fmla="*/ 10243040 w 12182565"/>
              <a:gd name="connsiteY1824" fmla="*/ 2032985 h 3211589"/>
              <a:gd name="connsiteX1825" fmla="*/ 10502080 w 12182565"/>
              <a:gd name="connsiteY1825" fmla="*/ 1940025 h 3211589"/>
              <a:gd name="connsiteX1826" fmla="*/ 10757600 w 12182565"/>
              <a:gd name="connsiteY1826" fmla="*/ 1889145 h 3211589"/>
              <a:gd name="connsiteX1827" fmla="*/ 10994560 w 12182565"/>
              <a:gd name="connsiteY1827" fmla="*/ 1855065 h 3211589"/>
              <a:gd name="connsiteX1828" fmla="*/ 11187680 w 12182565"/>
              <a:gd name="connsiteY1828" fmla="*/ 1863065 h 3211589"/>
              <a:gd name="connsiteX1829" fmla="*/ 11254080 w 12182565"/>
              <a:gd name="connsiteY1829" fmla="*/ 1866585 h 3211589"/>
              <a:gd name="connsiteX1830" fmla="*/ 11281121 w 12182565"/>
              <a:gd name="connsiteY1830" fmla="*/ 1867225 h 3211589"/>
              <a:gd name="connsiteX1831" fmla="*/ 11520320 w 12182565"/>
              <a:gd name="connsiteY1831" fmla="*/ 1915225 h 3211589"/>
              <a:gd name="connsiteX1832" fmla="*/ 11597280 w 12182565"/>
              <a:gd name="connsiteY1832" fmla="*/ 2055705 h 3211589"/>
              <a:gd name="connsiteX1833" fmla="*/ 11588320 w 12182565"/>
              <a:gd name="connsiteY1833" fmla="*/ 2110425 h 3211589"/>
              <a:gd name="connsiteX1834" fmla="*/ 11586400 w 12182565"/>
              <a:gd name="connsiteY1834" fmla="*/ 2169465 h 3211589"/>
              <a:gd name="connsiteX1835" fmla="*/ 11602880 w 12182565"/>
              <a:gd name="connsiteY1835" fmla="*/ 2253625 h 3211589"/>
              <a:gd name="connsiteX1836" fmla="*/ 11575360 w 12182565"/>
              <a:gd name="connsiteY1836" fmla="*/ 2332505 h 3211589"/>
              <a:gd name="connsiteX1837" fmla="*/ 11584000 w 12182565"/>
              <a:gd name="connsiteY1837" fmla="*/ 2455705 h 3211589"/>
              <a:gd name="connsiteX1838" fmla="*/ 11587680 w 12182565"/>
              <a:gd name="connsiteY1838" fmla="*/ 2457945 h 3211589"/>
              <a:gd name="connsiteX1839" fmla="*/ 11759040 w 12182565"/>
              <a:gd name="connsiteY1839" fmla="*/ 2523545 h 3211589"/>
              <a:gd name="connsiteX1840" fmla="*/ 11838880 w 12182565"/>
              <a:gd name="connsiteY1840" fmla="*/ 2529305 h 3211589"/>
              <a:gd name="connsiteX1841" fmla="*/ 11925760 w 12182565"/>
              <a:gd name="connsiteY1841" fmla="*/ 2532665 h 3211589"/>
              <a:gd name="connsiteX1842" fmla="*/ 11982240 w 12182565"/>
              <a:gd name="connsiteY1842" fmla="*/ 2524505 h 3211589"/>
              <a:gd name="connsiteX1843" fmla="*/ 12164960 w 12182565"/>
              <a:gd name="connsiteY1843" fmla="*/ 2500665 h 3211589"/>
              <a:gd name="connsiteX1844" fmla="*/ 12172320 w 12182565"/>
              <a:gd name="connsiteY1844" fmla="*/ 2492025 h 3211589"/>
              <a:gd name="connsiteX1845" fmla="*/ 12163840 w 12182565"/>
              <a:gd name="connsiteY1845" fmla="*/ 2484505 h 3211589"/>
              <a:gd name="connsiteX1846" fmla="*/ 11979840 w 12182565"/>
              <a:gd name="connsiteY1846" fmla="*/ 2508505 h 3211589"/>
              <a:gd name="connsiteX1847" fmla="*/ 11923840 w 12182565"/>
              <a:gd name="connsiteY1847" fmla="*/ 2516665 h 3211589"/>
              <a:gd name="connsiteX1848" fmla="*/ 11840320 w 12182565"/>
              <a:gd name="connsiteY1848" fmla="*/ 2513305 h 3211589"/>
              <a:gd name="connsiteX1849" fmla="*/ 11759520 w 12182565"/>
              <a:gd name="connsiteY1849" fmla="*/ 2507385 h 3211589"/>
              <a:gd name="connsiteX1850" fmla="*/ 11596000 w 12182565"/>
              <a:gd name="connsiteY1850" fmla="*/ 2444185 h 3211589"/>
              <a:gd name="connsiteX1851" fmla="*/ 11592320 w 12182565"/>
              <a:gd name="connsiteY1851" fmla="*/ 2441945 h 3211589"/>
              <a:gd name="connsiteX1852" fmla="*/ 11589440 w 12182565"/>
              <a:gd name="connsiteY1852" fmla="*/ 2340025 h 3211589"/>
              <a:gd name="connsiteX1853" fmla="*/ 11618880 w 12182565"/>
              <a:gd name="connsiteY1853" fmla="*/ 2253465 h 3211589"/>
              <a:gd name="connsiteX1854" fmla="*/ 11601121 w 12182565"/>
              <a:gd name="connsiteY1854" fmla="*/ 2163065 h 3211589"/>
              <a:gd name="connsiteX1855" fmla="*/ 11603840 w 12182565"/>
              <a:gd name="connsiteY1855" fmla="*/ 2113785 h 3211589"/>
              <a:gd name="connsiteX1856" fmla="*/ 11613121 w 12182565"/>
              <a:gd name="connsiteY1856" fmla="*/ 2056345 h 3211589"/>
              <a:gd name="connsiteX1857" fmla="*/ 11530400 w 12182565"/>
              <a:gd name="connsiteY1857" fmla="*/ 1902745 h 3211589"/>
              <a:gd name="connsiteX1858" fmla="*/ 11281280 w 12182565"/>
              <a:gd name="connsiteY1858" fmla="*/ 1851065 h 3211589"/>
              <a:gd name="connsiteX1859" fmla="*/ 11254560 w 12182565"/>
              <a:gd name="connsiteY1859" fmla="*/ 1850425 h 3211589"/>
              <a:gd name="connsiteX1860" fmla="*/ 11188480 w 12182565"/>
              <a:gd name="connsiteY1860" fmla="*/ 1846905 h 3211589"/>
              <a:gd name="connsiteX1861" fmla="*/ 10994880 w 12182565"/>
              <a:gd name="connsiteY1861" fmla="*/ 1838905 h 3211589"/>
              <a:gd name="connsiteX1862" fmla="*/ 10974560 w 12182565"/>
              <a:gd name="connsiteY1862" fmla="*/ 1838745 h 3211589"/>
              <a:gd name="connsiteX1863" fmla="*/ 10752480 w 12182565"/>
              <a:gd name="connsiteY1863" fmla="*/ 1873785 h 3211589"/>
              <a:gd name="connsiteX1864" fmla="*/ 10500160 w 12182565"/>
              <a:gd name="connsiteY1864" fmla="*/ 1924025 h 3211589"/>
              <a:gd name="connsiteX1865" fmla="*/ 10234240 w 12182565"/>
              <a:gd name="connsiteY1865" fmla="*/ 2019385 h 3211589"/>
              <a:gd name="connsiteX1866" fmla="*/ 10029121 w 12182565"/>
              <a:gd name="connsiteY1866" fmla="*/ 2053145 h 3211589"/>
              <a:gd name="connsiteX1867" fmla="*/ 9991840 w 12182565"/>
              <a:gd name="connsiteY1867" fmla="*/ 2031545 h 3211589"/>
              <a:gd name="connsiteX1868" fmla="*/ 10230240 w 12182565"/>
              <a:gd name="connsiteY1868" fmla="*/ 1983065 h 3211589"/>
              <a:gd name="connsiteX1869" fmla="*/ 10522240 w 12182565"/>
              <a:gd name="connsiteY1869" fmla="*/ 1910105 h 3211589"/>
              <a:gd name="connsiteX1870" fmla="*/ 10757280 w 12182565"/>
              <a:gd name="connsiteY1870" fmla="*/ 1850105 h 3211589"/>
              <a:gd name="connsiteX1871" fmla="*/ 10771520 w 12182565"/>
              <a:gd name="connsiteY1871" fmla="*/ 1845785 h 3211589"/>
              <a:gd name="connsiteX1872" fmla="*/ 11014560 w 12182565"/>
              <a:gd name="connsiteY1872" fmla="*/ 1804505 h 3211589"/>
              <a:gd name="connsiteX1873" fmla="*/ 11165600 w 12182565"/>
              <a:gd name="connsiteY1873" fmla="*/ 1801465 h 3211589"/>
              <a:gd name="connsiteX1874" fmla="*/ 11348000 w 12182565"/>
              <a:gd name="connsiteY1874" fmla="*/ 1800025 h 3211589"/>
              <a:gd name="connsiteX1875" fmla="*/ 11605920 w 12182565"/>
              <a:gd name="connsiteY1875" fmla="*/ 1883225 h 3211589"/>
              <a:gd name="connsiteX1876" fmla="*/ 11694560 w 12182565"/>
              <a:gd name="connsiteY1876" fmla="*/ 2047065 h 3211589"/>
              <a:gd name="connsiteX1877" fmla="*/ 11674720 w 12182565"/>
              <a:gd name="connsiteY1877" fmla="*/ 2098425 h 3211589"/>
              <a:gd name="connsiteX1878" fmla="*/ 11666240 w 12182565"/>
              <a:gd name="connsiteY1878" fmla="*/ 2166745 h 3211589"/>
              <a:gd name="connsiteX1879" fmla="*/ 11653440 w 12182565"/>
              <a:gd name="connsiteY1879" fmla="*/ 2271385 h 3211589"/>
              <a:gd name="connsiteX1880" fmla="*/ 11597280 w 12182565"/>
              <a:gd name="connsiteY1880" fmla="*/ 2372505 h 3211589"/>
              <a:gd name="connsiteX1881" fmla="*/ 11677121 w 12182565"/>
              <a:gd name="connsiteY1881" fmla="*/ 2447545 h 3211589"/>
              <a:gd name="connsiteX1882" fmla="*/ 11906560 w 12182565"/>
              <a:gd name="connsiteY1882" fmla="*/ 2475225 h 3211589"/>
              <a:gd name="connsiteX1883" fmla="*/ 11930880 w 12182565"/>
              <a:gd name="connsiteY1883" fmla="*/ 2469465 h 3211589"/>
              <a:gd name="connsiteX1884" fmla="*/ 12067520 w 12182565"/>
              <a:gd name="connsiteY1884" fmla="*/ 2445465 h 3211589"/>
              <a:gd name="connsiteX1885" fmla="*/ 12170880 w 12182565"/>
              <a:gd name="connsiteY1885" fmla="*/ 2440825 h 3211589"/>
              <a:gd name="connsiteX1886" fmla="*/ 12178240 w 12182565"/>
              <a:gd name="connsiteY1886" fmla="*/ 2432185 h 3211589"/>
              <a:gd name="connsiteX1887" fmla="*/ 12169600 w 12182565"/>
              <a:gd name="connsiteY1887" fmla="*/ 2424825 h 3211589"/>
              <a:gd name="connsiteX1888" fmla="*/ 12067520 w 12182565"/>
              <a:gd name="connsiteY1888" fmla="*/ 2429465 h 3211589"/>
              <a:gd name="connsiteX1889" fmla="*/ 11927200 w 12182565"/>
              <a:gd name="connsiteY1889" fmla="*/ 2453785 h 3211589"/>
              <a:gd name="connsiteX1890" fmla="*/ 11903200 w 12182565"/>
              <a:gd name="connsiteY1890" fmla="*/ 2459385 h 3211589"/>
              <a:gd name="connsiteX1891" fmla="*/ 11681760 w 12182565"/>
              <a:gd name="connsiteY1891" fmla="*/ 2432025 h 3211589"/>
              <a:gd name="connsiteX1892" fmla="*/ 11613280 w 12182565"/>
              <a:gd name="connsiteY1892" fmla="*/ 2373785 h 3211589"/>
              <a:gd name="connsiteX1893" fmla="*/ 11665600 w 12182565"/>
              <a:gd name="connsiteY1893" fmla="*/ 2281945 h 3211589"/>
              <a:gd name="connsiteX1894" fmla="*/ 11681440 w 12182565"/>
              <a:gd name="connsiteY1894" fmla="*/ 2161465 h 3211589"/>
              <a:gd name="connsiteX1895" fmla="*/ 11689280 w 12182565"/>
              <a:gd name="connsiteY1895" fmla="*/ 2105465 h 3211589"/>
              <a:gd name="connsiteX1896" fmla="*/ 11710080 w 12182565"/>
              <a:gd name="connsiteY1896" fmla="*/ 2051545 h 3211589"/>
              <a:gd name="connsiteX1897" fmla="*/ 11616000 w 12182565"/>
              <a:gd name="connsiteY1897" fmla="*/ 1870745 h 3211589"/>
              <a:gd name="connsiteX1898" fmla="*/ 11348960 w 12182565"/>
              <a:gd name="connsiteY1898" fmla="*/ 1784025 h 3211589"/>
              <a:gd name="connsiteX1899" fmla="*/ 11296160 w 12182565"/>
              <a:gd name="connsiteY1899" fmla="*/ 1782745 h 3211589"/>
              <a:gd name="connsiteX1900" fmla="*/ 11165121 w 12182565"/>
              <a:gd name="connsiteY1900" fmla="*/ 1785465 h 3211589"/>
              <a:gd name="connsiteX1901" fmla="*/ 11014560 w 12182565"/>
              <a:gd name="connsiteY1901" fmla="*/ 1788505 h 3211589"/>
              <a:gd name="connsiteX1902" fmla="*/ 10766880 w 12182565"/>
              <a:gd name="connsiteY1902" fmla="*/ 1830425 h 3211589"/>
              <a:gd name="connsiteX1903" fmla="*/ 10752640 w 12182565"/>
              <a:gd name="connsiteY1903" fmla="*/ 1834745 h 3211589"/>
              <a:gd name="connsiteX1904" fmla="*/ 10519200 w 12182565"/>
              <a:gd name="connsiteY1904" fmla="*/ 1894265 h 3211589"/>
              <a:gd name="connsiteX1905" fmla="*/ 10223840 w 12182565"/>
              <a:gd name="connsiteY1905" fmla="*/ 1968345 h 3211589"/>
              <a:gd name="connsiteX1906" fmla="*/ 9972320 w 12182565"/>
              <a:gd name="connsiteY1906" fmla="*/ 2016665 h 3211589"/>
              <a:gd name="connsiteX1907" fmla="*/ 9970240 w 12182565"/>
              <a:gd name="connsiteY1907" fmla="*/ 2017145 h 3211589"/>
              <a:gd name="connsiteX1908" fmla="*/ 9924640 w 12182565"/>
              <a:gd name="connsiteY1908" fmla="*/ 1980825 h 3211589"/>
              <a:gd name="connsiteX1909" fmla="*/ 10131520 w 12182565"/>
              <a:gd name="connsiteY1909" fmla="*/ 1958265 h 3211589"/>
              <a:gd name="connsiteX1910" fmla="*/ 10374080 w 12182565"/>
              <a:gd name="connsiteY1910" fmla="*/ 1907705 h 3211589"/>
              <a:gd name="connsiteX1911" fmla="*/ 10602880 w 12182565"/>
              <a:gd name="connsiteY1911" fmla="*/ 1850105 h 3211589"/>
              <a:gd name="connsiteX1912" fmla="*/ 10671680 w 12182565"/>
              <a:gd name="connsiteY1912" fmla="*/ 1820025 h 3211589"/>
              <a:gd name="connsiteX1913" fmla="*/ 10799200 w 12182565"/>
              <a:gd name="connsiteY1913" fmla="*/ 1767545 h 3211589"/>
              <a:gd name="connsiteX1914" fmla="*/ 11048640 w 12182565"/>
              <a:gd name="connsiteY1914" fmla="*/ 1742425 h 3211589"/>
              <a:gd name="connsiteX1915" fmla="*/ 11333760 w 12182565"/>
              <a:gd name="connsiteY1915" fmla="*/ 1737785 h 3211589"/>
              <a:gd name="connsiteX1916" fmla="*/ 11543200 w 12182565"/>
              <a:gd name="connsiteY1916" fmla="*/ 1756025 h 3211589"/>
              <a:gd name="connsiteX1917" fmla="*/ 11629600 w 12182565"/>
              <a:gd name="connsiteY1917" fmla="*/ 1804345 h 3211589"/>
              <a:gd name="connsiteX1918" fmla="*/ 11656000 w 12182565"/>
              <a:gd name="connsiteY1918" fmla="*/ 1822265 h 3211589"/>
              <a:gd name="connsiteX1919" fmla="*/ 11755520 w 12182565"/>
              <a:gd name="connsiteY1919" fmla="*/ 1902585 h 3211589"/>
              <a:gd name="connsiteX1920" fmla="*/ 11779840 w 12182565"/>
              <a:gd name="connsiteY1920" fmla="*/ 1988825 h 3211589"/>
              <a:gd name="connsiteX1921" fmla="*/ 11753440 w 12182565"/>
              <a:gd name="connsiteY1921" fmla="*/ 2041465 h 3211589"/>
              <a:gd name="connsiteX1922" fmla="*/ 11725121 w 12182565"/>
              <a:gd name="connsiteY1922" fmla="*/ 2108825 h 3211589"/>
              <a:gd name="connsiteX1923" fmla="*/ 11728480 w 12182565"/>
              <a:gd name="connsiteY1923" fmla="*/ 2142585 h 3211589"/>
              <a:gd name="connsiteX1924" fmla="*/ 11731040 w 12182565"/>
              <a:gd name="connsiteY1924" fmla="*/ 2203865 h 3211589"/>
              <a:gd name="connsiteX1925" fmla="*/ 11728320 w 12182565"/>
              <a:gd name="connsiteY1925" fmla="*/ 2223865 h 3211589"/>
              <a:gd name="connsiteX1926" fmla="*/ 11710560 w 12182565"/>
              <a:gd name="connsiteY1926" fmla="*/ 2261625 h 3211589"/>
              <a:gd name="connsiteX1927" fmla="*/ 11706880 w 12182565"/>
              <a:gd name="connsiteY1927" fmla="*/ 2265465 h 3211589"/>
              <a:gd name="connsiteX1928" fmla="*/ 11657121 w 12182565"/>
              <a:gd name="connsiteY1928" fmla="*/ 2346585 h 3211589"/>
              <a:gd name="connsiteX1929" fmla="*/ 11674880 w 12182565"/>
              <a:gd name="connsiteY1929" fmla="*/ 2372985 h 3211589"/>
              <a:gd name="connsiteX1930" fmla="*/ 11836960 w 12182565"/>
              <a:gd name="connsiteY1930" fmla="*/ 2397145 h 3211589"/>
              <a:gd name="connsiteX1931" fmla="*/ 11883040 w 12182565"/>
              <a:gd name="connsiteY1931" fmla="*/ 2386585 h 3211589"/>
              <a:gd name="connsiteX1932" fmla="*/ 11984320 w 12182565"/>
              <a:gd name="connsiteY1932" fmla="*/ 2369625 h 3211589"/>
              <a:gd name="connsiteX1933" fmla="*/ 12172480 w 12182565"/>
              <a:gd name="connsiteY1933" fmla="*/ 2371865 h 3211589"/>
              <a:gd name="connsiteX1934" fmla="*/ 12172640 w 12182565"/>
              <a:gd name="connsiteY1934" fmla="*/ 2371865 h 3211589"/>
              <a:gd name="connsiteX1935" fmla="*/ 12180640 w 12182565"/>
              <a:gd name="connsiteY1935" fmla="*/ 2363865 h 3211589"/>
              <a:gd name="connsiteX1936" fmla="*/ 12172800 w 12182565"/>
              <a:gd name="connsiteY1936" fmla="*/ 2355705 h 3211589"/>
              <a:gd name="connsiteX1937" fmla="*/ 11984320 w 12182565"/>
              <a:gd name="connsiteY1937" fmla="*/ 2353465 h 3211589"/>
              <a:gd name="connsiteX1938" fmla="*/ 11878880 w 12182565"/>
              <a:gd name="connsiteY1938" fmla="*/ 2371065 h 3211589"/>
              <a:gd name="connsiteX1939" fmla="*/ 11835040 w 12182565"/>
              <a:gd name="connsiteY1939" fmla="*/ 2381145 h 3211589"/>
              <a:gd name="connsiteX1940" fmla="*/ 11683360 w 12182565"/>
              <a:gd name="connsiteY1940" fmla="*/ 2359385 h 3211589"/>
              <a:gd name="connsiteX1941" fmla="*/ 11673440 w 12182565"/>
              <a:gd name="connsiteY1941" fmla="*/ 2346425 h 3211589"/>
              <a:gd name="connsiteX1942" fmla="*/ 11718560 w 12182565"/>
              <a:gd name="connsiteY1942" fmla="*/ 2278425 h 3211589"/>
              <a:gd name="connsiteX1943" fmla="*/ 11722400 w 12182565"/>
              <a:gd name="connsiteY1943" fmla="*/ 2274585 h 3211589"/>
              <a:gd name="connsiteX1944" fmla="*/ 11744800 w 12182565"/>
              <a:gd name="connsiteY1944" fmla="*/ 2227385 h 3211589"/>
              <a:gd name="connsiteX1945" fmla="*/ 11747520 w 12182565"/>
              <a:gd name="connsiteY1945" fmla="*/ 2208345 h 3211589"/>
              <a:gd name="connsiteX1946" fmla="*/ 11745121 w 12182565"/>
              <a:gd name="connsiteY1946" fmla="*/ 2141945 h 3211589"/>
              <a:gd name="connsiteX1947" fmla="*/ 11741920 w 12182565"/>
              <a:gd name="connsiteY1947" fmla="*/ 2110425 h 3211589"/>
              <a:gd name="connsiteX1948" fmla="*/ 11768160 w 12182565"/>
              <a:gd name="connsiteY1948" fmla="*/ 2051065 h 3211589"/>
              <a:gd name="connsiteX1949" fmla="*/ 11795680 w 12182565"/>
              <a:gd name="connsiteY1949" fmla="*/ 1996025 h 3211589"/>
              <a:gd name="connsiteX1950" fmla="*/ 11768640 w 12182565"/>
              <a:gd name="connsiteY1950" fmla="*/ 1893945 h 3211589"/>
              <a:gd name="connsiteX1951" fmla="*/ 11662720 w 12182565"/>
              <a:gd name="connsiteY1951" fmla="*/ 1808825 h 3211589"/>
              <a:gd name="connsiteX1952" fmla="*/ 11640000 w 12182565"/>
              <a:gd name="connsiteY1952" fmla="*/ 1793145 h 3211589"/>
              <a:gd name="connsiteX1953" fmla="*/ 11547360 w 12182565"/>
              <a:gd name="connsiteY1953" fmla="*/ 1741945 h 3211589"/>
              <a:gd name="connsiteX1954" fmla="*/ 11334560 w 12182565"/>
              <a:gd name="connsiteY1954" fmla="*/ 1723385 h 3211589"/>
              <a:gd name="connsiteX1955" fmla="*/ 11049121 w 12182565"/>
              <a:gd name="connsiteY1955" fmla="*/ 1728025 h 3211589"/>
              <a:gd name="connsiteX1956" fmla="*/ 10796480 w 12182565"/>
              <a:gd name="connsiteY1956" fmla="*/ 1753465 h 3211589"/>
              <a:gd name="connsiteX1957" fmla="*/ 10665760 w 12182565"/>
              <a:gd name="connsiteY1957" fmla="*/ 1807065 h 3211589"/>
              <a:gd name="connsiteX1958" fmla="*/ 10599200 w 12182565"/>
              <a:gd name="connsiteY1958" fmla="*/ 1836185 h 3211589"/>
              <a:gd name="connsiteX1959" fmla="*/ 10371360 w 12182565"/>
              <a:gd name="connsiteY1959" fmla="*/ 1893465 h 3211589"/>
              <a:gd name="connsiteX1960" fmla="*/ 10129121 w 12182565"/>
              <a:gd name="connsiteY1960" fmla="*/ 1944025 h 3211589"/>
              <a:gd name="connsiteX1961" fmla="*/ 9908640 w 12182565"/>
              <a:gd name="connsiteY1961" fmla="*/ 1966585 h 3211589"/>
              <a:gd name="connsiteX1962" fmla="*/ 9864480 w 12182565"/>
              <a:gd name="connsiteY1962" fmla="*/ 1916825 h 3211589"/>
              <a:gd name="connsiteX1963" fmla="*/ 10065760 w 12182565"/>
              <a:gd name="connsiteY1963" fmla="*/ 1930105 h 3211589"/>
              <a:gd name="connsiteX1964" fmla="*/ 10286400 w 12182565"/>
              <a:gd name="connsiteY1964" fmla="*/ 1900185 h 3211589"/>
              <a:gd name="connsiteX1965" fmla="*/ 10377920 w 12182565"/>
              <a:gd name="connsiteY1965" fmla="*/ 1881785 h 3211589"/>
              <a:gd name="connsiteX1966" fmla="*/ 10542720 w 12182565"/>
              <a:gd name="connsiteY1966" fmla="*/ 1823545 h 3211589"/>
              <a:gd name="connsiteX1967" fmla="*/ 10741121 w 12182565"/>
              <a:gd name="connsiteY1967" fmla="*/ 1732185 h 3211589"/>
              <a:gd name="connsiteX1968" fmla="*/ 11061280 w 12182565"/>
              <a:gd name="connsiteY1968" fmla="*/ 1675065 h 3211589"/>
              <a:gd name="connsiteX1969" fmla="*/ 11369440 w 12182565"/>
              <a:gd name="connsiteY1969" fmla="*/ 1668185 h 3211589"/>
              <a:gd name="connsiteX1970" fmla="*/ 11612960 w 12182565"/>
              <a:gd name="connsiteY1970" fmla="*/ 1719545 h 3211589"/>
              <a:gd name="connsiteX1971" fmla="*/ 11758720 w 12182565"/>
              <a:gd name="connsiteY1971" fmla="*/ 1816185 h 3211589"/>
              <a:gd name="connsiteX1972" fmla="*/ 11840640 w 12182565"/>
              <a:gd name="connsiteY1972" fmla="*/ 1952825 h 3211589"/>
              <a:gd name="connsiteX1973" fmla="*/ 11784960 w 12182565"/>
              <a:gd name="connsiteY1973" fmla="*/ 2078105 h 3211589"/>
              <a:gd name="connsiteX1974" fmla="*/ 11766880 w 12182565"/>
              <a:gd name="connsiteY1974" fmla="*/ 2204825 h 3211589"/>
              <a:gd name="connsiteX1975" fmla="*/ 11756640 w 12182565"/>
              <a:gd name="connsiteY1975" fmla="*/ 2245625 h 3211589"/>
              <a:gd name="connsiteX1976" fmla="*/ 11737121 w 12182565"/>
              <a:gd name="connsiteY1976" fmla="*/ 2302265 h 3211589"/>
              <a:gd name="connsiteX1977" fmla="*/ 11784480 w 12182565"/>
              <a:gd name="connsiteY1977" fmla="*/ 2322585 h 3211589"/>
              <a:gd name="connsiteX1978" fmla="*/ 11850560 w 12182565"/>
              <a:gd name="connsiteY1978" fmla="*/ 2317305 h 3211589"/>
              <a:gd name="connsiteX1979" fmla="*/ 11948000 w 12182565"/>
              <a:gd name="connsiteY1979" fmla="*/ 2310425 h 3211589"/>
              <a:gd name="connsiteX1980" fmla="*/ 12165600 w 12182565"/>
              <a:gd name="connsiteY1980" fmla="*/ 2308985 h 3211589"/>
              <a:gd name="connsiteX1981" fmla="*/ 12173440 w 12182565"/>
              <a:gd name="connsiteY1981" fmla="*/ 2300825 h 3211589"/>
              <a:gd name="connsiteX1982" fmla="*/ 12165280 w 12182565"/>
              <a:gd name="connsiteY1982" fmla="*/ 2292985 h 3211589"/>
              <a:gd name="connsiteX1983" fmla="*/ 11948320 w 12182565"/>
              <a:gd name="connsiteY1983" fmla="*/ 2294425 h 3211589"/>
              <a:gd name="connsiteX1984" fmla="*/ 11848160 w 12182565"/>
              <a:gd name="connsiteY1984" fmla="*/ 2301465 h 3211589"/>
              <a:gd name="connsiteX1985" fmla="*/ 11784960 w 12182565"/>
              <a:gd name="connsiteY1985" fmla="*/ 2306585 h 3211589"/>
              <a:gd name="connsiteX1986" fmla="*/ 11751840 w 12182565"/>
              <a:gd name="connsiteY1986" fmla="*/ 2295705 h 3211589"/>
              <a:gd name="connsiteX1987" fmla="*/ 11769121 w 12182565"/>
              <a:gd name="connsiteY1987" fmla="*/ 2256025 h 3211589"/>
              <a:gd name="connsiteX1988" fmla="*/ 11783680 w 12182565"/>
              <a:gd name="connsiteY1988" fmla="*/ 2224505 h 3211589"/>
              <a:gd name="connsiteX1989" fmla="*/ 11886240 w 12182565"/>
              <a:gd name="connsiteY1989" fmla="*/ 2237305 h 3211589"/>
              <a:gd name="connsiteX1990" fmla="*/ 11909121 w 12182565"/>
              <a:gd name="connsiteY1990" fmla="*/ 2235545 h 3211589"/>
              <a:gd name="connsiteX1991" fmla="*/ 12082880 w 12182565"/>
              <a:gd name="connsiteY1991" fmla="*/ 2230905 h 3211589"/>
              <a:gd name="connsiteX1992" fmla="*/ 12171360 w 12182565"/>
              <a:gd name="connsiteY1992" fmla="*/ 2228665 h 3211589"/>
              <a:gd name="connsiteX1993" fmla="*/ 12179200 w 12182565"/>
              <a:gd name="connsiteY1993" fmla="*/ 2220345 h 3211589"/>
              <a:gd name="connsiteX1994" fmla="*/ 12171040 w 12182565"/>
              <a:gd name="connsiteY1994" fmla="*/ 2212505 h 3211589"/>
              <a:gd name="connsiteX1995" fmla="*/ 12082560 w 12182565"/>
              <a:gd name="connsiteY1995" fmla="*/ 2214745 h 3211589"/>
              <a:gd name="connsiteX1996" fmla="*/ 11908320 w 12182565"/>
              <a:gd name="connsiteY1996" fmla="*/ 2219385 h 3211589"/>
              <a:gd name="connsiteX1997" fmla="*/ 11884960 w 12182565"/>
              <a:gd name="connsiteY1997" fmla="*/ 2221145 h 3211589"/>
              <a:gd name="connsiteX1998" fmla="*/ 11781600 w 12182565"/>
              <a:gd name="connsiteY1998" fmla="*/ 2198265 h 3211589"/>
              <a:gd name="connsiteX1999" fmla="*/ 11798880 w 12182565"/>
              <a:gd name="connsiteY1999" fmla="*/ 2086425 h 3211589"/>
              <a:gd name="connsiteX2000" fmla="*/ 11856800 w 12182565"/>
              <a:gd name="connsiteY2000" fmla="*/ 1955225 h 3211589"/>
              <a:gd name="connsiteX2001" fmla="*/ 11768640 w 12182565"/>
              <a:gd name="connsiteY2001" fmla="*/ 1803385 h 3211589"/>
              <a:gd name="connsiteX2002" fmla="*/ 11622240 w 12182565"/>
              <a:gd name="connsiteY2002" fmla="*/ 1706265 h 3211589"/>
              <a:gd name="connsiteX2003" fmla="*/ 11369920 w 12182565"/>
              <a:gd name="connsiteY2003" fmla="*/ 1652025 h 3211589"/>
              <a:gd name="connsiteX2004" fmla="*/ 11061280 w 12182565"/>
              <a:gd name="connsiteY2004" fmla="*/ 1658905 h 3211589"/>
              <a:gd name="connsiteX2005" fmla="*/ 10736640 w 12182565"/>
              <a:gd name="connsiteY2005" fmla="*/ 1716665 h 3211589"/>
              <a:gd name="connsiteX2006" fmla="*/ 10535680 w 12182565"/>
              <a:gd name="connsiteY2006" fmla="*/ 1808985 h 3211589"/>
              <a:gd name="connsiteX2007" fmla="*/ 10374560 w 12182565"/>
              <a:gd name="connsiteY2007" fmla="*/ 1865785 h 3211589"/>
              <a:gd name="connsiteX2008" fmla="*/ 10283840 w 12182565"/>
              <a:gd name="connsiteY2008" fmla="*/ 1884025 h 3211589"/>
              <a:gd name="connsiteX2009" fmla="*/ 10065280 w 12182565"/>
              <a:gd name="connsiteY2009" fmla="*/ 1913785 h 3211589"/>
              <a:gd name="connsiteX2010" fmla="*/ 9851840 w 12182565"/>
              <a:gd name="connsiteY2010" fmla="*/ 1898425 h 3211589"/>
              <a:gd name="connsiteX2011" fmla="*/ 9826080 w 12182565"/>
              <a:gd name="connsiteY2011" fmla="*/ 1854425 h 3211589"/>
              <a:gd name="connsiteX2012" fmla="*/ 10105920 w 12182565"/>
              <a:gd name="connsiteY2012" fmla="*/ 1883865 h 3211589"/>
              <a:gd name="connsiteX2013" fmla="*/ 10436800 w 12182565"/>
              <a:gd name="connsiteY2013" fmla="*/ 1825785 h 3211589"/>
              <a:gd name="connsiteX2014" fmla="*/ 10571840 w 12182565"/>
              <a:gd name="connsiteY2014" fmla="*/ 1747545 h 3211589"/>
              <a:gd name="connsiteX2015" fmla="*/ 10693600 w 12182565"/>
              <a:gd name="connsiteY2015" fmla="*/ 1676345 h 3211589"/>
              <a:gd name="connsiteX2016" fmla="*/ 10998880 w 12182565"/>
              <a:gd name="connsiteY2016" fmla="*/ 1605625 h 3211589"/>
              <a:gd name="connsiteX2017" fmla="*/ 11466240 w 12182565"/>
              <a:gd name="connsiteY2017" fmla="*/ 1603385 h 3211589"/>
              <a:gd name="connsiteX2018" fmla="*/ 11655680 w 12182565"/>
              <a:gd name="connsiteY2018" fmla="*/ 1668185 h 3211589"/>
              <a:gd name="connsiteX2019" fmla="*/ 11739360 w 12182565"/>
              <a:gd name="connsiteY2019" fmla="*/ 1726265 h 3211589"/>
              <a:gd name="connsiteX2020" fmla="*/ 11842720 w 12182565"/>
              <a:gd name="connsiteY2020" fmla="*/ 1802425 h 3211589"/>
              <a:gd name="connsiteX2021" fmla="*/ 11894720 w 12182565"/>
              <a:gd name="connsiteY2021" fmla="*/ 1998105 h 3211589"/>
              <a:gd name="connsiteX2022" fmla="*/ 11848640 w 12182565"/>
              <a:gd name="connsiteY2022" fmla="*/ 2052985 h 3211589"/>
              <a:gd name="connsiteX2023" fmla="*/ 11844960 w 12182565"/>
              <a:gd name="connsiteY2023" fmla="*/ 2066585 h 3211589"/>
              <a:gd name="connsiteX2024" fmla="*/ 11841600 w 12182565"/>
              <a:gd name="connsiteY2024" fmla="*/ 2068505 h 3211589"/>
              <a:gd name="connsiteX2025" fmla="*/ 11802880 w 12182565"/>
              <a:gd name="connsiteY2025" fmla="*/ 2109145 h 3211589"/>
              <a:gd name="connsiteX2026" fmla="*/ 11800800 w 12182565"/>
              <a:gd name="connsiteY2026" fmla="*/ 2112825 h 3211589"/>
              <a:gd name="connsiteX2027" fmla="*/ 11805600 w 12182565"/>
              <a:gd name="connsiteY2027" fmla="*/ 2153465 h 3211589"/>
              <a:gd name="connsiteX2028" fmla="*/ 11807520 w 12182565"/>
              <a:gd name="connsiteY2028" fmla="*/ 2154265 h 3211589"/>
              <a:gd name="connsiteX2029" fmla="*/ 11861280 w 12182565"/>
              <a:gd name="connsiteY2029" fmla="*/ 2164825 h 3211589"/>
              <a:gd name="connsiteX2030" fmla="*/ 11889920 w 12182565"/>
              <a:gd name="connsiteY2030" fmla="*/ 2161305 h 3211589"/>
              <a:gd name="connsiteX2031" fmla="*/ 11971840 w 12182565"/>
              <a:gd name="connsiteY2031" fmla="*/ 2155225 h 3211589"/>
              <a:gd name="connsiteX2032" fmla="*/ 12169121 w 12182565"/>
              <a:gd name="connsiteY2032" fmla="*/ 2157945 h 3211589"/>
              <a:gd name="connsiteX2033" fmla="*/ 12177121 w 12182565"/>
              <a:gd name="connsiteY2033" fmla="*/ 2149945 h 3211589"/>
              <a:gd name="connsiteX2034" fmla="*/ 12169121 w 12182565"/>
              <a:gd name="connsiteY2034" fmla="*/ 2141785 h 3211589"/>
              <a:gd name="connsiteX2035" fmla="*/ 11972160 w 12182565"/>
              <a:gd name="connsiteY2035" fmla="*/ 2139065 h 3211589"/>
              <a:gd name="connsiteX2036" fmla="*/ 11887360 w 12182565"/>
              <a:gd name="connsiteY2036" fmla="*/ 2145305 h 3211589"/>
              <a:gd name="connsiteX2037" fmla="*/ 11860320 w 12182565"/>
              <a:gd name="connsiteY2037" fmla="*/ 2148665 h 3211589"/>
              <a:gd name="connsiteX2038" fmla="*/ 11813600 w 12182565"/>
              <a:gd name="connsiteY2038" fmla="*/ 2139225 h 3211589"/>
              <a:gd name="connsiteX2039" fmla="*/ 11815840 w 12182565"/>
              <a:gd name="connsiteY2039" fmla="*/ 2118585 h 3211589"/>
              <a:gd name="connsiteX2040" fmla="*/ 11847200 w 12182565"/>
              <a:gd name="connsiteY2040" fmla="*/ 2085625 h 3211589"/>
              <a:gd name="connsiteX2041" fmla="*/ 11849760 w 12182565"/>
              <a:gd name="connsiteY2041" fmla="*/ 2091225 h 3211589"/>
              <a:gd name="connsiteX2042" fmla="*/ 11876480 w 12182565"/>
              <a:gd name="connsiteY2042" fmla="*/ 2103705 h 3211589"/>
              <a:gd name="connsiteX2043" fmla="*/ 11936480 w 12182565"/>
              <a:gd name="connsiteY2043" fmla="*/ 2098105 h 3211589"/>
              <a:gd name="connsiteX2044" fmla="*/ 11989600 w 12182565"/>
              <a:gd name="connsiteY2044" fmla="*/ 2092825 h 3211589"/>
              <a:gd name="connsiteX2045" fmla="*/ 12091680 w 12182565"/>
              <a:gd name="connsiteY2045" fmla="*/ 2090105 h 3211589"/>
              <a:gd name="connsiteX2046" fmla="*/ 12172480 w 12182565"/>
              <a:gd name="connsiteY2046" fmla="*/ 2090105 h 3211589"/>
              <a:gd name="connsiteX2047" fmla="*/ 12180480 w 12182565"/>
              <a:gd name="connsiteY2047" fmla="*/ 2082105 h 3211589"/>
              <a:gd name="connsiteX2048" fmla="*/ 12172480 w 12182565"/>
              <a:gd name="connsiteY2048" fmla="*/ 2074105 h 3211589"/>
              <a:gd name="connsiteX2049" fmla="*/ 12091680 w 12182565"/>
              <a:gd name="connsiteY2049" fmla="*/ 2074105 h 3211589"/>
              <a:gd name="connsiteX2050" fmla="*/ 11988160 w 12182565"/>
              <a:gd name="connsiteY2050" fmla="*/ 2076825 h 3211589"/>
              <a:gd name="connsiteX2051" fmla="*/ 11934720 w 12182565"/>
              <a:gd name="connsiteY2051" fmla="*/ 2082105 h 3211589"/>
              <a:gd name="connsiteX2052" fmla="*/ 11875360 w 12182565"/>
              <a:gd name="connsiteY2052" fmla="*/ 2087705 h 3211589"/>
              <a:gd name="connsiteX2053" fmla="*/ 11863040 w 12182565"/>
              <a:gd name="connsiteY2053" fmla="*/ 2082265 h 3211589"/>
              <a:gd name="connsiteX2054" fmla="*/ 11862880 w 12182565"/>
              <a:gd name="connsiteY2054" fmla="*/ 2059865 h 3211589"/>
              <a:gd name="connsiteX2055" fmla="*/ 11897121 w 12182565"/>
              <a:gd name="connsiteY2055" fmla="*/ 2018265 h 3211589"/>
              <a:gd name="connsiteX2056" fmla="*/ 11898880 w 12182565"/>
              <a:gd name="connsiteY2056" fmla="*/ 2018905 h 3211589"/>
              <a:gd name="connsiteX2057" fmla="*/ 12021121 w 12182565"/>
              <a:gd name="connsiteY2057" fmla="*/ 2023545 h 3211589"/>
              <a:gd name="connsiteX2058" fmla="*/ 12163040 w 12182565"/>
              <a:gd name="connsiteY2058" fmla="*/ 2014425 h 3211589"/>
              <a:gd name="connsiteX2059" fmla="*/ 12170880 w 12182565"/>
              <a:gd name="connsiteY2059" fmla="*/ 2006105 h 3211589"/>
              <a:gd name="connsiteX2060" fmla="*/ 12162720 w 12182565"/>
              <a:gd name="connsiteY2060" fmla="*/ 1998265 h 3211589"/>
              <a:gd name="connsiteX2061" fmla="*/ 12019360 w 12182565"/>
              <a:gd name="connsiteY2061" fmla="*/ 2007545 h 3211589"/>
              <a:gd name="connsiteX2062" fmla="*/ 11910720 w 12182565"/>
              <a:gd name="connsiteY2062" fmla="*/ 2004345 h 3211589"/>
              <a:gd name="connsiteX2063" fmla="*/ 11911520 w 12182565"/>
              <a:gd name="connsiteY2063" fmla="*/ 1995225 h 3211589"/>
              <a:gd name="connsiteX2064" fmla="*/ 11855360 w 12182565"/>
              <a:gd name="connsiteY2064" fmla="*/ 1792345 h 3211589"/>
              <a:gd name="connsiteX2065" fmla="*/ 11747520 w 12182565"/>
              <a:gd name="connsiteY2065" fmla="*/ 1712185 h 3211589"/>
              <a:gd name="connsiteX2066" fmla="*/ 11665760 w 12182565"/>
              <a:gd name="connsiteY2066" fmla="*/ 1655385 h 3211589"/>
              <a:gd name="connsiteX2067" fmla="*/ 11467200 w 12182565"/>
              <a:gd name="connsiteY2067" fmla="*/ 1587065 h 3211589"/>
              <a:gd name="connsiteX2068" fmla="*/ 11371680 w 12182565"/>
              <a:gd name="connsiteY2068" fmla="*/ 1586105 h 3211589"/>
              <a:gd name="connsiteX2069" fmla="*/ 10998880 w 12182565"/>
              <a:gd name="connsiteY2069" fmla="*/ 1589305 h 3211589"/>
              <a:gd name="connsiteX2070" fmla="*/ 10688000 w 12182565"/>
              <a:gd name="connsiteY2070" fmla="*/ 1661145 h 3211589"/>
              <a:gd name="connsiteX2071" fmla="*/ 10563520 w 12182565"/>
              <a:gd name="connsiteY2071" fmla="*/ 1733625 h 3211589"/>
              <a:gd name="connsiteX2072" fmla="*/ 10431200 w 12182565"/>
              <a:gd name="connsiteY2072" fmla="*/ 1810425 h 3211589"/>
              <a:gd name="connsiteX2073" fmla="*/ 10105920 w 12182565"/>
              <a:gd name="connsiteY2073" fmla="*/ 1867225 h 3211589"/>
              <a:gd name="connsiteX2074" fmla="*/ 9818080 w 12182565"/>
              <a:gd name="connsiteY2074" fmla="*/ 1836185 h 3211589"/>
              <a:gd name="connsiteX2075" fmla="*/ 9802080 w 12182565"/>
              <a:gd name="connsiteY2075" fmla="*/ 1785305 h 3211589"/>
              <a:gd name="connsiteX2076" fmla="*/ 9977121 w 12182565"/>
              <a:gd name="connsiteY2076" fmla="*/ 1828185 h 3211589"/>
              <a:gd name="connsiteX2077" fmla="*/ 10217121 w 12182565"/>
              <a:gd name="connsiteY2077" fmla="*/ 1837465 h 3211589"/>
              <a:gd name="connsiteX2078" fmla="*/ 10427200 w 12182565"/>
              <a:gd name="connsiteY2078" fmla="*/ 1771705 h 3211589"/>
              <a:gd name="connsiteX2079" fmla="*/ 10467520 w 12182565"/>
              <a:gd name="connsiteY2079" fmla="*/ 1744025 h 3211589"/>
              <a:gd name="connsiteX2080" fmla="*/ 10656800 w 12182565"/>
              <a:gd name="connsiteY2080" fmla="*/ 1623065 h 3211589"/>
              <a:gd name="connsiteX2081" fmla="*/ 10682080 w 12182565"/>
              <a:gd name="connsiteY2081" fmla="*/ 1611225 h 3211589"/>
              <a:gd name="connsiteX2082" fmla="*/ 10996320 w 12182565"/>
              <a:gd name="connsiteY2082" fmla="*/ 1534105 h 3211589"/>
              <a:gd name="connsiteX2083" fmla="*/ 11401280 w 12182565"/>
              <a:gd name="connsiteY2083" fmla="*/ 1527225 h 3211589"/>
              <a:gd name="connsiteX2084" fmla="*/ 11668320 w 12182565"/>
              <a:gd name="connsiteY2084" fmla="*/ 1583545 h 3211589"/>
              <a:gd name="connsiteX2085" fmla="*/ 11788640 w 12182565"/>
              <a:gd name="connsiteY2085" fmla="*/ 1686745 h 3211589"/>
              <a:gd name="connsiteX2086" fmla="*/ 11824160 w 12182565"/>
              <a:gd name="connsiteY2086" fmla="*/ 1720825 h 3211589"/>
              <a:gd name="connsiteX2087" fmla="*/ 11908160 w 12182565"/>
              <a:gd name="connsiteY2087" fmla="*/ 1781305 h 3211589"/>
              <a:gd name="connsiteX2088" fmla="*/ 11955360 w 12182565"/>
              <a:gd name="connsiteY2088" fmla="*/ 1873785 h 3211589"/>
              <a:gd name="connsiteX2089" fmla="*/ 11949760 w 12182565"/>
              <a:gd name="connsiteY2089" fmla="*/ 1954425 h 3211589"/>
              <a:gd name="connsiteX2090" fmla="*/ 11951680 w 12182565"/>
              <a:gd name="connsiteY2090" fmla="*/ 1961145 h 3211589"/>
              <a:gd name="connsiteX2091" fmla="*/ 11958080 w 12182565"/>
              <a:gd name="connsiteY2091" fmla="*/ 1963865 h 3211589"/>
              <a:gd name="connsiteX2092" fmla="*/ 12174880 w 12182565"/>
              <a:gd name="connsiteY2092" fmla="*/ 1954745 h 3211589"/>
              <a:gd name="connsiteX2093" fmla="*/ 12182560 w 12182565"/>
              <a:gd name="connsiteY2093" fmla="*/ 1946425 h 3211589"/>
              <a:gd name="connsiteX2094" fmla="*/ 12174240 w 12182565"/>
              <a:gd name="connsiteY2094" fmla="*/ 1938745 h 3211589"/>
              <a:gd name="connsiteX2095" fmla="*/ 11967040 w 12182565"/>
              <a:gd name="connsiteY2095" fmla="*/ 1947545 h 3211589"/>
              <a:gd name="connsiteX2096" fmla="*/ 11971360 w 12182565"/>
              <a:gd name="connsiteY2096" fmla="*/ 1872505 h 3211589"/>
              <a:gd name="connsiteX2097" fmla="*/ 11915840 w 12182565"/>
              <a:gd name="connsiteY2097" fmla="*/ 1767385 h 3211589"/>
              <a:gd name="connsiteX2098" fmla="*/ 11834400 w 12182565"/>
              <a:gd name="connsiteY2098" fmla="*/ 1708505 h 3211589"/>
              <a:gd name="connsiteX2099" fmla="*/ 11800160 w 12182565"/>
              <a:gd name="connsiteY2099" fmla="*/ 1675705 h 3211589"/>
              <a:gd name="connsiteX2100" fmla="*/ 11676480 w 12182565"/>
              <a:gd name="connsiteY2100" fmla="*/ 1569945 h 3211589"/>
              <a:gd name="connsiteX2101" fmla="*/ 11401440 w 12182565"/>
              <a:gd name="connsiteY2101" fmla="*/ 1511385 h 3211589"/>
              <a:gd name="connsiteX2102" fmla="*/ 10996160 w 12182565"/>
              <a:gd name="connsiteY2102" fmla="*/ 1518265 h 3211589"/>
              <a:gd name="connsiteX2103" fmla="*/ 10675200 w 12182565"/>
              <a:gd name="connsiteY2103" fmla="*/ 1596985 h 3211589"/>
              <a:gd name="connsiteX2104" fmla="*/ 10650880 w 12182565"/>
              <a:gd name="connsiteY2104" fmla="*/ 1608345 h 3211589"/>
              <a:gd name="connsiteX2105" fmla="*/ 10458560 w 12182565"/>
              <a:gd name="connsiteY2105" fmla="*/ 1730905 h 3211589"/>
              <a:gd name="connsiteX2106" fmla="*/ 10418240 w 12182565"/>
              <a:gd name="connsiteY2106" fmla="*/ 1758585 h 3211589"/>
              <a:gd name="connsiteX2107" fmla="*/ 10216480 w 12182565"/>
              <a:gd name="connsiteY2107" fmla="*/ 1821625 h 3211589"/>
              <a:gd name="connsiteX2108" fmla="*/ 9978240 w 12182565"/>
              <a:gd name="connsiteY2108" fmla="*/ 1812345 h 3211589"/>
              <a:gd name="connsiteX2109" fmla="*/ 9799040 w 12182565"/>
              <a:gd name="connsiteY2109" fmla="*/ 1767385 h 3211589"/>
              <a:gd name="connsiteX2110" fmla="*/ 9797440 w 12182565"/>
              <a:gd name="connsiteY2110" fmla="*/ 1752665 h 3211589"/>
              <a:gd name="connsiteX2111" fmla="*/ 9796960 w 12182565"/>
              <a:gd name="connsiteY2111" fmla="*/ 1730745 h 3211589"/>
              <a:gd name="connsiteX2112" fmla="*/ 9936960 w 12182565"/>
              <a:gd name="connsiteY2112" fmla="*/ 1764025 h 3211589"/>
              <a:gd name="connsiteX2113" fmla="*/ 10148160 w 12182565"/>
              <a:gd name="connsiteY2113" fmla="*/ 1782425 h 3211589"/>
              <a:gd name="connsiteX2114" fmla="*/ 10401600 w 12182565"/>
              <a:gd name="connsiteY2114" fmla="*/ 1732665 h 3211589"/>
              <a:gd name="connsiteX2115" fmla="*/ 10519840 w 12182565"/>
              <a:gd name="connsiteY2115" fmla="*/ 1641465 h 3211589"/>
              <a:gd name="connsiteX2116" fmla="*/ 10614560 w 12182565"/>
              <a:gd name="connsiteY2116" fmla="*/ 1572505 h 3211589"/>
              <a:gd name="connsiteX2117" fmla="*/ 10638400 w 12182565"/>
              <a:gd name="connsiteY2117" fmla="*/ 1559385 h 3211589"/>
              <a:gd name="connsiteX2118" fmla="*/ 10950880 w 12182565"/>
              <a:gd name="connsiteY2118" fmla="*/ 1465305 h 3211589"/>
              <a:gd name="connsiteX2119" fmla="*/ 11258560 w 12182565"/>
              <a:gd name="connsiteY2119" fmla="*/ 1458425 h 3211589"/>
              <a:gd name="connsiteX2120" fmla="*/ 11469280 w 12182565"/>
              <a:gd name="connsiteY2120" fmla="*/ 1458425 h 3211589"/>
              <a:gd name="connsiteX2121" fmla="*/ 11477121 w 12182565"/>
              <a:gd name="connsiteY2121" fmla="*/ 1458905 h 3211589"/>
              <a:gd name="connsiteX2122" fmla="*/ 11686720 w 12182565"/>
              <a:gd name="connsiteY2122" fmla="*/ 1508825 h 3211589"/>
              <a:gd name="connsiteX2123" fmla="*/ 11742720 w 12182565"/>
              <a:gd name="connsiteY2123" fmla="*/ 1568985 h 3211589"/>
              <a:gd name="connsiteX2124" fmla="*/ 11807200 w 12182565"/>
              <a:gd name="connsiteY2124" fmla="*/ 1635865 h 3211589"/>
              <a:gd name="connsiteX2125" fmla="*/ 11860960 w 12182565"/>
              <a:gd name="connsiteY2125" fmla="*/ 1684825 h 3211589"/>
              <a:gd name="connsiteX2126" fmla="*/ 11915680 w 12182565"/>
              <a:gd name="connsiteY2126" fmla="*/ 1734585 h 3211589"/>
              <a:gd name="connsiteX2127" fmla="*/ 11991200 w 12182565"/>
              <a:gd name="connsiteY2127" fmla="*/ 1806425 h 3211589"/>
              <a:gd name="connsiteX2128" fmla="*/ 12016000 w 12182565"/>
              <a:gd name="connsiteY2128" fmla="*/ 1848665 h 3211589"/>
              <a:gd name="connsiteX2129" fmla="*/ 11996640 w 12182565"/>
              <a:gd name="connsiteY2129" fmla="*/ 1885945 h 3211589"/>
              <a:gd name="connsiteX2130" fmla="*/ 11998560 w 12182565"/>
              <a:gd name="connsiteY2130" fmla="*/ 1895865 h 3211589"/>
              <a:gd name="connsiteX2131" fmla="*/ 12040960 w 12182565"/>
              <a:gd name="connsiteY2131" fmla="*/ 1906745 h 3211589"/>
              <a:gd name="connsiteX2132" fmla="*/ 12098720 w 12182565"/>
              <a:gd name="connsiteY2132" fmla="*/ 1901145 h 3211589"/>
              <a:gd name="connsiteX2133" fmla="*/ 12174080 w 12182565"/>
              <a:gd name="connsiteY2133" fmla="*/ 1890425 h 3211589"/>
              <a:gd name="connsiteX2134" fmla="*/ 12180800 w 12182565"/>
              <a:gd name="connsiteY2134" fmla="*/ 1881305 h 3211589"/>
              <a:gd name="connsiteX2135" fmla="*/ 12171680 w 12182565"/>
              <a:gd name="connsiteY2135" fmla="*/ 1874425 h 3211589"/>
              <a:gd name="connsiteX2136" fmla="*/ 12095840 w 12182565"/>
              <a:gd name="connsiteY2136" fmla="*/ 1885305 h 3211589"/>
              <a:gd name="connsiteX2137" fmla="*/ 12041760 w 12182565"/>
              <a:gd name="connsiteY2137" fmla="*/ 1890585 h 3211589"/>
              <a:gd name="connsiteX2138" fmla="*/ 12013121 w 12182565"/>
              <a:gd name="connsiteY2138" fmla="*/ 1886905 h 3211589"/>
              <a:gd name="connsiteX2139" fmla="*/ 12024640 w 12182565"/>
              <a:gd name="connsiteY2139" fmla="*/ 1865305 h 3211589"/>
              <a:gd name="connsiteX2140" fmla="*/ 12032800 w 12182565"/>
              <a:gd name="connsiteY2140" fmla="*/ 1869465 h 3211589"/>
              <a:gd name="connsiteX2141" fmla="*/ 12172640 w 12182565"/>
              <a:gd name="connsiteY2141" fmla="*/ 1851065 h 3211589"/>
              <a:gd name="connsiteX2142" fmla="*/ 12179520 w 12182565"/>
              <a:gd name="connsiteY2142" fmla="*/ 1841945 h 3211589"/>
              <a:gd name="connsiteX2143" fmla="*/ 12170560 w 12182565"/>
              <a:gd name="connsiteY2143" fmla="*/ 1834905 h 3211589"/>
              <a:gd name="connsiteX2144" fmla="*/ 12036320 w 12182565"/>
              <a:gd name="connsiteY2144" fmla="*/ 1852505 h 3211589"/>
              <a:gd name="connsiteX2145" fmla="*/ 12004160 w 12182565"/>
              <a:gd name="connsiteY2145" fmla="*/ 1796825 h 3211589"/>
              <a:gd name="connsiteX2146" fmla="*/ 11925600 w 12182565"/>
              <a:gd name="connsiteY2146" fmla="*/ 1721785 h 3211589"/>
              <a:gd name="connsiteX2147" fmla="*/ 11871840 w 12182565"/>
              <a:gd name="connsiteY2147" fmla="*/ 1672825 h 3211589"/>
              <a:gd name="connsiteX2148" fmla="*/ 11817280 w 12182565"/>
              <a:gd name="connsiteY2148" fmla="*/ 1623065 h 3211589"/>
              <a:gd name="connsiteX2149" fmla="*/ 11754560 w 12182565"/>
              <a:gd name="connsiteY2149" fmla="*/ 1557945 h 3211589"/>
              <a:gd name="connsiteX2150" fmla="*/ 11698240 w 12182565"/>
              <a:gd name="connsiteY2150" fmla="*/ 1497465 h 3211589"/>
              <a:gd name="connsiteX2151" fmla="*/ 11478240 w 12182565"/>
              <a:gd name="connsiteY2151" fmla="*/ 1442745 h 3211589"/>
              <a:gd name="connsiteX2152" fmla="*/ 11470560 w 12182565"/>
              <a:gd name="connsiteY2152" fmla="*/ 1442265 h 3211589"/>
              <a:gd name="connsiteX2153" fmla="*/ 11400960 w 12182565"/>
              <a:gd name="connsiteY2153" fmla="*/ 1441305 h 3211589"/>
              <a:gd name="connsiteX2154" fmla="*/ 11258880 w 12182565"/>
              <a:gd name="connsiteY2154" fmla="*/ 1442265 h 3211589"/>
              <a:gd name="connsiteX2155" fmla="*/ 10950400 w 12182565"/>
              <a:gd name="connsiteY2155" fmla="*/ 1449145 h 3211589"/>
              <a:gd name="connsiteX2156" fmla="*/ 10630880 w 12182565"/>
              <a:gd name="connsiteY2156" fmla="*/ 1545305 h 3211589"/>
              <a:gd name="connsiteX2157" fmla="*/ 10607680 w 12182565"/>
              <a:gd name="connsiteY2157" fmla="*/ 1557945 h 3211589"/>
              <a:gd name="connsiteX2158" fmla="*/ 10510080 w 12182565"/>
              <a:gd name="connsiteY2158" fmla="*/ 1628825 h 3211589"/>
              <a:gd name="connsiteX2159" fmla="*/ 10392640 w 12182565"/>
              <a:gd name="connsiteY2159" fmla="*/ 1719385 h 3211589"/>
              <a:gd name="connsiteX2160" fmla="*/ 10150400 w 12182565"/>
              <a:gd name="connsiteY2160" fmla="*/ 1766265 h 3211589"/>
              <a:gd name="connsiteX2161" fmla="*/ 9938720 w 12182565"/>
              <a:gd name="connsiteY2161" fmla="*/ 1747865 h 3211589"/>
              <a:gd name="connsiteX2162" fmla="*/ 9797440 w 12182565"/>
              <a:gd name="connsiteY2162" fmla="*/ 1713465 h 3211589"/>
              <a:gd name="connsiteX2163" fmla="*/ 9800640 w 12182565"/>
              <a:gd name="connsiteY2163" fmla="*/ 1660825 h 3211589"/>
              <a:gd name="connsiteX2164" fmla="*/ 9928480 w 12182565"/>
              <a:gd name="connsiteY2164" fmla="*/ 1683385 h 3211589"/>
              <a:gd name="connsiteX2165" fmla="*/ 10159520 w 12182565"/>
              <a:gd name="connsiteY2165" fmla="*/ 1708665 h 3211589"/>
              <a:gd name="connsiteX2166" fmla="*/ 10428640 w 12182565"/>
              <a:gd name="connsiteY2166" fmla="*/ 1639705 h 3211589"/>
              <a:gd name="connsiteX2167" fmla="*/ 10713600 w 12182565"/>
              <a:gd name="connsiteY2167" fmla="*/ 1457945 h 3211589"/>
              <a:gd name="connsiteX2168" fmla="*/ 10771680 w 12182565"/>
              <a:gd name="connsiteY2168" fmla="*/ 1438425 h 3211589"/>
              <a:gd name="connsiteX2169" fmla="*/ 11016320 w 12182565"/>
              <a:gd name="connsiteY2169" fmla="*/ 1396345 h 3211589"/>
              <a:gd name="connsiteX2170" fmla="*/ 11313121 w 12182565"/>
              <a:gd name="connsiteY2170" fmla="*/ 1394105 h 3211589"/>
              <a:gd name="connsiteX2171" fmla="*/ 11503680 w 12182565"/>
              <a:gd name="connsiteY2171" fmla="*/ 1387225 h 3211589"/>
              <a:gd name="connsiteX2172" fmla="*/ 11717121 w 12182565"/>
              <a:gd name="connsiteY2172" fmla="*/ 1459385 h 3211589"/>
              <a:gd name="connsiteX2173" fmla="*/ 11852640 w 12182565"/>
              <a:gd name="connsiteY2173" fmla="*/ 1637945 h 3211589"/>
              <a:gd name="connsiteX2174" fmla="*/ 11873920 w 12182565"/>
              <a:gd name="connsiteY2174" fmla="*/ 1656985 h 3211589"/>
              <a:gd name="connsiteX2175" fmla="*/ 11956960 w 12182565"/>
              <a:gd name="connsiteY2175" fmla="*/ 1724025 h 3211589"/>
              <a:gd name="connsiteX2176" fmla="*/ 12020000 w 12182565"/>
              <a:gd name="connsiteY2176" fmla="*/ 1772505 h 3211589"/>
              <a:gd name="connsiteX2177" fmla="*/ 12047680 w 12182565"/>
              <a:gd name="connsiteY2177" fmla="*/ 1817145 h 3211589"/>
              <a:gd name="connsiteX2178" fmla="*/ 12056000 w 12182565"/>
              <a:gd name="connsiteY2178" fmla="*/ 1821305 h 3211589"/>
              <a:gd name="connsiteX2179" fmla="*/ 12164480 w 12182565"/>
              <a:gd name="connsiteY2179" fmla="*/ 1802905 h 3211589"/>
              <a:gd name="connsiteX2180" fmla="*/ 12171040 w 12182565"/>
              <a:gd name="connsiteY2180" fmla="*/ 1793625 h 3211589"/>
              <a:gd name="connsiteX2181" fmla="*/ 12161760 w 12182565"/>
              <a:gd name="connsiteY2181" fmla="*/ 1787065 h 3211589"/>
              <a:gd name="connsiteX2182" fmla="*/ 12058880 w 12182565"/>
              <a:gd name="connsiteY2182" fmla="*/ 1804505 h 3211589"/>
              <a:gd name="connsiteX2183" fmla="*/ 12032160 w 12182565"/>
              <a:gd name="connsiteY2183" fmla="*/ 1762265 h 3211589"/>
              <a:gd name="connsiteX2184" fmla="*/ 11964000 w 12182565"/>
              <a:gd name="connsiteY2184" fmla="*/ 1709625 h 3211589"/>
              <a:gd name="connsiteX2185" fmla="*/ 11884480 w 12182565"/>
              <a:gd name="connsiteY2185" fmla="*/ 1644985 h 3211589"/>
              <a:gd name="connsiteX2186" fmla="*/ 11863040 w 12182565"/>
              <a:gd name="connsiteY2186" fmla="*/ 1625785 h 3211589"/>
              <a:gd name="connsiteX2187" fmla="*/ 11730400 w 12182565"/>
              <a:gd name="connsiteY2187" fmla="*/ 1450585 h 3211589"/>
              <a:gd name="connsiteX2188" fmla="*/ 11504480 w 12182565"/>
              <a:gd name="connsiteY2188" fmla="*/ 1371065 h 3211589"/>
              <a:gd name="connsiteX2189" fmla="*/ 11488320 w 12182565"/>
              <a:gd name="connsiteY2189" fmla="*/ 1370745 h 3211589"/>
              <a:gd name="connsiteX2190" fmla="*/ 11312320 w 12182565"/>
              <a:gd name="connsiteY2190" fmla="*/ 1377945 h 3211589"/>
              <a:gd name="connsiteX2191" fmla="*/ 11016000 w 12182565"/>
              <a:gd name="connsiteY2191" fmla="*/ 1380185 h 3211589"/>
              <a:gd name="connsiteX2192" fmla="*/ 10766240 w 12182565"/>
              <a:gd name="connsiteY2192" fmla="*/ 1423065 h 3211589"/>
              <a:gd name="connsiteX2193" fmla="*/ 10708320 w 12182565"/>
              <a:gd name="connsiteY2193" fmla="*/ 1442585 h 3211589"/>
              <a:gd name="connsiteX2194" fmla="*/ 10416960 w 12182565"/>
              <a:gd name="connsiteY2194" fmla="*/ 1628345 h 3211589"/>
              <a:gd name="connsiteX2195" fmla="*/ 10161121 w 12182565"/>
              <a:gd name="connsiteY2195" fmla="*/ 1692665 h 3211589"/>
              <a:gd name="connsiteX2196" fmla="*/ 9929760 w 12182565"/>
              <a:gd name="connsiteY2196" fmla="*/ 1667385 h 3211589"/>
              <a:gd name="connsiteX2197" fmla="*/ 9801600 w 12182565"/>
              <a:gd name="connsiteY2197" fmla="*/ 1644185 h 3211589"/>
              <a:gd name="connsiteX2198" fmla="*/ 9804160 w 12182565"/>
              <a:gd name="connsiteY2198" fmla="*/ 1582425 h 3211589"/>
              <a:gd name="connsiteX2199" fmla="*/ 10031200 w 12182565"/>
              <a:gd name="connsiteY2199" fmla="*/ 1619225 h 3211589"/>
              <a:gd name="connsiteX2200" fmla="*/ 10096960 w 12182565"/>
              <a:gd name="connsiteY2200" fmla="*/ 1622265 h 3211589"/>
              <a:gd name="connsiteX2201" fmla="*/ 10345280 w 12182565"/>
              <a:gd name="connsiteY2201" fmla="*/ 1604825 h 3211589"/>
              <a:gd name="connsiteX2202" fmla="*/ 10487520 w 12182565"/>
              <a:gd name="connsiteY2202" fmla="*/ 1516505 h 3211589"/>
              <a:gd name="connsiteX2203" fmla="*/ 10534720 w 12182565"/>
              <a:gd name="connsiteY2203" fmla="*/ 1482585 h 3211589"/>
              <a:gd name="connsiteX2204" fmla="*/ 10568480 w 12182565"/>
              <a:gd name="connsiteY2204" fmla="*/ 1457945 h 3211589"/>
              <a:gd name="connsiteX2205" fmla="*/ 10814080 w 12182565"/>
              <a:gd name="connsiteY2205" fmla="*/ 1345625 h 3211589"/>
              <a:gd name="connsiteX2206" fmla="*/ 11115680 w 12182565"/>
              <a:gd name="connsiteY2206" fmla="*/ 1322745 h 3211589"/>
              <a:gd name="connsiteX2207" fmla="*/ 11312480 w 12182565"/>
              <a:gd name="connsiteY2207" fmla="*/ 1322745 h 3211589"/>
              <a:gd name="connsiteX2208" fmla="*/ 11512480 w 12182565"/>
              <a:gd name="connsiteY2208" fmla="*/ 1313465 h 3211589"/>
              <a:gd name="connsiteX2209" fmla="*/ 11688320 w 12182565"/>
              <a:gd name="connsiteY2209" fmla="*/ 1358585 h 3211589"/>
              <a:gd name="connsiteX2210" fmla="*/ 11719200 w 12182565"/>
              <a:gd name="connsiteY2210" fmla="*/ 1398105 h 3211589"/>
              <a:gd name="connsiteX2211" fmla="*/ 11790240 w 12182565"/>
              <a:gd name="connsiteY2211" fmla="*/ 1501785 h 3211589"/>
              <a:gd name="connsiteX2212" fmla="*/ 11884320 w 12182565"/>
              <a:gd name="connsiteY2212" fmla="*/ 1629305 h 3211589"/>
              <a:gd name="connsiteX2213" fmla="*/ 11975840 w 12182565"/>
              <a:gd name="connsiteY2213" fmla="*/ 1691385 h 3211589"/>
              <a:gd name="connsiteX2214" fmla="*/ 12013121 w 12182565"/>
              <a:gd name="connsiteY2214" fmla="*/ 1714425 h 3211589"/>
              <a:gd name="connsiteX2215" fmla="*/ 12075040 w 12182565"/>
              <a:gd name="connsiteY2215" fmla="*/ 1777305 h 3211589"/>
              <a:gd name="connsiteX2216" fmla="*/ 12082560 w 12182565"/>
              <a:gd name="connsiteY2216" fmla="*/ 1784505 h 3211589"/>
              <a:gd name="connsiteX2217" fmla="*/ 12120960 w 12182565"/>
              <a:gd name="connsiteY2217" fmla="*/ 1786905 h 3211589"/>
              <a:gd name="connsiteX2218" fmla="*/ 12168640 w 12182565"/>
              <a:gd name="connsiteY2218" fmla="*/ 1782425 h 3211589"/>
              <a:gd name="connsiteX2219" fmla="*/ 12175840 w 12182565"/>
              <a:gd name="connsiteY2219" fmla="*/ 1773625 h 3211589"/>
              <a:gd name="connsiteX2220" fmla="*/ 12167040 w 12182565"/>
              <a:gd name="connsiteY2220" fmla="*/ 1766425 h 3211589"/>
              <a:gd name="connsiteX2221" fmla="*/ 12120640 w 12182565"/>
              <a:gd name="connsiteY2221" fmla="*/ 1770905 h 3211589"/>
              <a:gd name="connsiteX2222" fmla="*/ 12089440 w 12182565"/>
              <a:gd name="connsiteY2222" fmla="*/ 1768825 h 3211589"/>
              <a:gd name="connsiteX2223" fmla="*/ 12021760 w 12182565"/>
              <a:gd name="connsiteY2223" fmla="*/ 1700825 h 3211589"/>
              <a:gd name="connsiteX2224" fmla="*/ 11984480 w 12182565"/>
              <a:gd name="connsiteY2224" fmla="*/ 1677785 h 3211589"/>
              <a:gd name="connsiteX2225" fmla="*/ 11893600 w 12182565"/>
              <a:gd name="connsiteY2225" fmla="*/ 1616025 h 3211589"/>
              <a:gd name="connsiteX2226" fmla="*/ 11805121 w 12182565"/>
              <a:gd name="connsiteY2226" fmla="*/ 1495385 h 3211589"/>
              <a:gd name="connsiteX2227" fmla="*/ 11732000 w 12182565"/>
              <a:gd name="connsiteY2227" fmla="*/ 1388025 h 3211589"/>
              <a:gd name="connsiteX2228" fmla="*/ 11701440 w 12182565"/>
              <a:gd name="connsiteY2228" fmla="*/ 1348985 h 3211589"/>
              <a:gd name="connsiteX2229" fmla="*/ 11512640 w 12182565"/>
              <a:gd name="connsiteY2229" fmla="*/ 1297465 h 3211589"/>
              <a:gd name="connsiteX2230" fmla="*/ 11312480 w 12182565"/>
              <a:gd name="connsiteY2230" fmla="*/ 1306745 h 3211589"/>
              <a:gd name="connsiteX2231" fmla="*/ 11116000 w 12182565"/>
              <a:gd name="connsiteY2231" fmla="*/ 1306745 h 3211589"/>
              <a:gd name="connsiteX2232" fmla="*/ 10812640 w 12182565"/>
              <a:gd name="connsiteY2232" fmla="*/ 1329785 h 3211589"/>
              <a:gd name="connsiteX2233" fmla="*/ 10559200 w 12182565"/>
              <a:gd name="connsiteY2233" fmla="*/ 1445305 h 3211589"/>
              <a:gd name="connsiteX2234" fmla="*/ 10527200 w 12182565"/>
              <a:gd name="connsiteY2234" fmla="*/ 1468665 h 3211589"/>
              <a:gd name="connsiteX2235" fmla="*/ 10478240 w 12182565"/>
              <a:gd name="connsiteY2235" fmla="*/ 1503865 h 3211589"/>
              <a:gd name="connsiteX2236" fmla="*/ 10340000 w 12182565"/>
              <a:gd name="connsiteY2236" fmla="*/ 1589945 h 3211589"/>
              <a:gd name="connsiteX2237" fmla="*/ 10098240 w 12182565"/>
              <a:gd name="connsiteY2237" fmla="*/ 1606265 h 3211589"/>
              <a:gd name="connsiteX2238" fmla="*/ 10032160 w 12182565"/>
              <a:gd name="connsiteY2238" fmla="*/ 1603065 h 3211589"/>
              <a:gd name="connsiteX2239" fmla="*/ 9803680 w 12182565"/>
              <a:gd name="connsiteY2239" fmla="*/ 1565305 h 3211589"/>
              <a:gd name="connsiteX2240" fmla="*/ 9788320 w 12182565"/>
              <a:gd name="connsiteY2240" fmla="*/ 1495705 h 3211589"/>
              <a:gd name="connsiteX2241" fmla="*/ 10094080 w 12182565"/>
              <a:gd name="connsiteY2241" fmla="*/ 1527225 h 3211589"/>
              <a:gd name="connsiteX2242" fmla="*/ 10440800 w 12182565"/>
              <a:gd name="connsiteY2242" fmla="*/ 1487225 h 3211589"/>
              <a:gd name="connsiteX2243" fmla="*/ 10604640 w 12182565"/>
              <a:gd name="connsiteY2243" fmla="*/ 1378425 h 3211589"/>
              <a:gd name="connsiteX2244" fmla="*/ 10611840 w 12182565"/>
              <a:gd name="connsiteY2244" fmla="*/ 1372025 h 3211589"/>
              <a:gd name="connsiteX2245" fmla="*/ 10772160 w 12182565"/>
              <a:gd name="connsiteY2245" fmla="*/ 1292825 h 3211589"/>
              <a:gd name="connsiteX2246" fmla="*/ 10851360 w 12182565"/>
              <a:gd name="connsiteY2246" fmla="*/ 1276505 h 3211589"/>
              <a:gd name="connsiteX2247" fmla="*/ 11075840 w 12182565"/>
              <a:gd name="connsiteY2247" fmla="*/ 1251545 h 3211589"/>
              <a:gd name="connsiteX2248" fmla="*/ 11424320 w 12182565"/>
              <a:gd name="connsiteY2248" fmla="*/ 1246905 h 3211589"/>
              <a:gd name="connsiteX2249" fmla="*/ 11565920 w 12182565"/>
              <a:gd name="connsiteY2249" fmla="*/ 1246905 h 3211589"/>
              <a:gd name="connsiteX2250" fmla="*/ 11716640 w 12182565"/>
              <a:gd name="connsiteY2250" fmla="*/ 1337145 h 3211589"/>
              <a:gd name="connsiteX2251" fmla="*/ 11791360 w 12182565"/>
              <a:gd name="connsiteY2251" fmla="*/ 1455225 h 3211589"/>
              <a:gd name="connsiteX2252" fmla="*/ 11795040 w 12182565"/>
              <a:gd name="connsiteY2252" fmla="*/ 1460025 h 3211589"/>
              <a:gd name="connsiteX2253" fmla="*/ 11893760 w 12182565"/>
              <a:gd name="connsiteY2253" fmla="*/ 1558425 h 3211589"/>
              <a:gd name="connsiteX2254" fmla="*/ 11983200 w 12182565"/>
              <a:gd name="connsiteY2254" fmla="*/ 1626105 h 3211589"/>
              <a:gd name="connsiteX2255" fmla="*/ 12097600 w 12182565"/>
              <a:gd name="connsiteY2255" fmla="*/ 1728825 h 3211589"/>
              <a:gd name="connsiteX2256" fmla="*/ 12097600 w 12182565"/>
              <a:gd name="connsiteY2256" fmla="*/ 1755705 h 3211589"/>
              <a:gd name="connsiteX2257" fmla="*/ 12100160 w 12182565"/>
              <a:gd name="connsiteY2257" fmla="*/ 1761625 h 3211589"/>
              <a:gd name="connsiteX2258" fmla="*/ 12106240 w 12182565"/>
              <a:gd name="connsiteY2258" fmla="*/ 1763705 h 3211589"/>
              <a:gd name="connsiteX2259" fmla="*/ 12168960 w 12182565"/>
              <a:gd name="connsiteY2259" fmla="*/ 1759065 h 3211589"/>
              <a:gd name="connsiteX2260" fmla="*/ 12176320 w 12182565"/>
              <a:gd name="connsiteY2260" fmla="*/ 1750425 h 3211589"/>
              <a:gd name="connsiteX2261" fmla="*/ 12167840 w 12182565"/>
              <a:gd name="connsiteY2261" fmla="*/ 1742905 h 3211589"/>
              <a:gd name="connsiteX2262" fmla="*/ 12113600 w 12182565"/>
              <a:gd name="connsiteY2262" fmla="*/ 1746905 h 3211589"/>
              <a:gd name="connsiteX2263" fmla="*/ 12113600 w 12182565"/>
              <a:gd name="connsiteY2263" fmla="*/ 1728025 h 3211589"/>
              <a:gd name="connsiteX2264" fmla="*/ 11992800 w 12182565"/>
              <a:gd name="connsiteY2264" fmla="*/ 1613145 h 3211589"/>
              <a:gd name="connsiteX2265" fmla="*/ 11900960 w 12182565"/>
              <a:gd name="connsiteY2265" fmla="*/ 1543865 h 3211589"/>
              <a:gd name="connsiteX2266" fmla="*/ 11807520 w 12182565"/>
              <a:gd name="connsiteY2266" fmla="*/ 1449945 h 3211589"/>
              <a:gd name="connsiteX2267" fmla="*/ 11803680 w 12182565"/>
              <a:gd name="connsiteY2267" fmla="*/ 1444985 h 3211589"/>
              <a:gd name="connsiteX2268" fmla="*/ 11730080 w 12182565"/>
              <a:gd name="connsiteY2268" fmla="*/ 1328665 h 3211589"/>
              <a:gd name="connsiteX2269" fmla="*/ 11567040 w 12182565"/>
              <a:gd name="connsiteY2269" fmla="*/ 1230585 h 3211589"/>
              <a:gd name="connsiteX2270" fmla="*/ 11496640 w 12182565"/>
              <a:gd name="connsiteY2270" fmla="*/ 1227545 h 3211589"/>
              <a:gd name="connsiteX2271" fmla="*/ 11422880 w 12182565"/>
              <a:gd name="connsiteY2271" fmla="*/ 1230585 h 3211589"/>
              <a:gd name="connsiteX2272" fmla="*/ 11075680 w 12182565"/>
              <a:gd name="connsiteY2272" fmla="*/ 1235065 h 3211589"/>
              <a:gd name="connsiteX2273" fmla="*/ 10847360 w 12182565"/>
              <a:gd name="connsiteY2273" fmla="*/ 1260345 h 3211589"/>
              <a:gd name="connsiteX2274" fmla="*/ 10768800 w 12182565"/>
              <a:gd name="connsiteY2274" fmla="*/ 1276505 h 3211589"/>
              <a:gd name="connsiteX2275" fmla="*/ 10600480 w 12182565"/>
              <a:gd name="connsiteY2275" fmla="*/ 1359705 h 3211589"/>
              <a:gd name="connsiteX2276" fmla="*/ 10593920 w 12182565"/>
              <a:gd name="connsiteY2276" fmla="*/ 1365465 h 3211589"/>
              <a:gd name="connsiteX2277" fmla="*/ 10432480 w 12182565"/>
              <a:gd name="connsiteY2277" fmla="*/ 1472665 h 3211589"/>
              <a:gd name="connsiteX2278" fmla="*/ 10094400 w 12182565"/>
              <a:gd name="connsiteY2278" fmla="*/ 1510745 h 3211589"/>
              <a:gd name="connsiteX2279" fmla="*/ 9779840 w 12182565"/>
              <a:gd name="connsiteY2279" fmla="*/ 1478105 h 3211589"/>
              <a:gd name="connsiteX2280" fmla="*/ 9757440 w 12182565"/>
              <a:gd name="connsiteY2280" fmla="*/ 1441305 h 3211589"/>
              <a:gd name="connsiteX2281" fmla="*/ 9724000 w 12182565"/>
              <a:gd name="connsiteY2281" fmla="*/ 1373945 h 3211589"/>
              <a:gd name="connsiteX2282" fmla="*/ 9890880 w 12182565"/>
              <a:gd name="connsiteY2282" fmla="*/ 1416665 h 3211589"/>
              <a:gd name="connsiteX2283" fmla="*/ 10170880 w 12182565"/>
              <a:gd name="connsiteY2283" fmla="*/ 1423545 h 3211589"/>
              <a:gd name="connsiteX2284" fmla="*/ 10414560 w 12182565"/>
              <a:gd name="connsiteY2284" fmla="*/ 1416505 h 3211589"/>
              <a:gd name="connsiteX2285" fmla="*/ 10609600 w 12182565"/>
              <a:gd name="connsiteY2285" fmla="*/ 1322905 h 3211589"/>
              <a:gd name="connsiteX2286" fmla="*/ 10636800 w 12182565"/>
              <a:gd name="connsiteY2286" fmla="*/ 1298105 h 3211589"/>
              <a:gd name="connsiteX2287" fmla="*/ 10760480 w 12182565"/>
              <a:gd name="connsiteY2287" fmla="*/ 1214105 h 3211589"/>
              <a:gd name="connsiteX2288" fmla="*/ 10810880 w 12182565"/>
              <a:gd name="connsiteY2288" fmla="*/ 1197465 h 3211589"/>
              <a:gd name="connsiteX2289" fmla="*/ 10938560 w 12182565"/>
              <a:gd name="connsiteY2289" fmla="*/ 1175385 h 3211589"/>
              <a:gd name="connsiteX2290" fmla="*/ 11119360 w 12182565"/>
              <a:gd name="connsiteY2290" fmla="*/ 1171545 h 3211589"/>
              <a:gd name="connsiteX2291" fmla="*/ 11272160 w 12182565"/>
              <a:gd name="connsiteY2291" fmla="*/ 1168345 h 3211589"/>
              <a:gd name="connsiteX2292" fmla="*/ 11432000 w 12182565"/>
              <a:gd name="connsiteY2292" fmla="*/ 1166105 h 3211589"/>
              <a:gd name="connsiteX2293" fmla="*/ 11633121 w 12182565"/>
              <a:gd name="connsiteY2293" fmla="*/ 1201625 h 3211589"/>
              <a:gd name="connsiteX2294" fmla="*/ 11702560 w 12182565"/>
              <a:gd name="connsiteY2294" fmla="*/ 1251865 h 3211589"/>
              <a:gd name="connsiteX2295" fmla="*/ 11701280 w 12182565"/>
              <a:gd name="connsiteY2295" fmla="*/ 1259865 h 3211589"/>
              <a:gd name="connsiteX2296" fmla="*/ 11782880 w 12182565"/>
              <a:gd name="connsiteY2296" fmla="*/ 1395705 h 3211589"/>
              <a:gd name="connsiteX2297" fmla="*/ 11865440 w 12182565"/>
              <a:gd name="connsiteY2297" fmla="*/ 1464505 h 3211589"/>
              <a:gd name="connsiteX2298" fmla="*/ 11905600 w 12182565"/>
              <a:gd name="connsiteY2298" fmla="*/ 1496825 h 3211589"/>
              <a:gd name="connsiteX2299" fmla="*/ 11966240 w 12182565"/>
              <a:gd name="connsiteY2299" fmla="*/ 1550265 h 3211589"/>
              <a:gd name="connsiteX2300" fmla="*/ 12042880 w 12182565"/>
              <a:gd name="connsiteY2300" fmla="*/ 1616665 h 3211589"/>
              <a:gd name="connsiteX2301" fmla="*/ 12117920 w 12182565"/>
              <a:gd name="connsiteY2301" fmla="*/ 1696505 h 3211589"/>
              <a:gd name="connsiteX2302" fmla="*/ 12124480 w 12182565"/>
              <a:gd name="connsiteY2302" fmla="*/ 1701465 h 3211589"/>
              <a:gd name="connsiteX2303" fmla="*/ 12170080 w 12182565"/>
              <a:gd name="connsiteY2303" fmla="*/ 1706105 h 3211589"/>
              <a:gd name="connsiteX2304" fmla="*/ 12178880 w 12182565"/>
              <a:gd name="connsiteY2304" fmla="*/ 1698905 h 3211589"/>
              <a:gd name="connsiteX2305" fmla="*/ 12171680 w 12182565"/>
              <a:gd name="connsiteY2305" fmla="*/ 1690105 h 3211589"/>
              <a:gd name="connsiteX2306" fmla="*/ 12130240 w 12182565"/>
              <a:gd name="connsiteY2306" fmla="*/ 1685945 h 3211589"/>
              <a:gd name="connsiteX2307" fmla="*/ 12053600 w 12182565"/>
              <a:gd name="connsiteY2307" fmla="*/ 1604825 h 3211589"/>
              <a:gd name="connsiteX2308" fmla="*/ 11976480 w 12182565"/>
              <a:gd name="connsiteY2308" fmla="*/ 1538105 h 3211589"/>
              <a:gd name="connsiteX2309" fmla="*/ 11917121 w 12182565"/>
              <a:gd name="connsiteY2309" fmla="*/ 1485785 h 3211589"/>
              <a:gd name="connsiteX2310" fmla="*/ 11875040 w 12182565"/>
              <a:gd name="connsiteY2310" fmla="*/ 1451865 h 3211589"/>
              <a:gd name="connsiteX2311" fmla="*/ 11794400 w 12182565"/>
              <a:gd name="connsiteY2311" fmla="*/ 1384665 h 3211589"/>
              <a:gd name="connsiteX2312" fmla="*/ 11722720 w 12182565"/>
              <a:gd name="connsiteY2312" fmla="*/ 1268665 h 3211589"/>
              <a:gd name="connsiteX2313" fmla="*/ 11757600 w 12182565"/>
              <a:gd name="connsiteY2313" fmla="*/ 1299705 h 3211589"/>
              <a:gd name="connsiteX2314" fmla="*/ 11848960 w 12182565"/>
              <a:gd name="connsiteY2314" fmla="*/ 1380185 h 3211589"/>
              <a:gd name="connsiteX2315" fmla="*/ 11866080 w 12182565"/>
              <a:gd name="connsiteY2315" fmla="*/ 1396345 h 3211589"/>
              <a:gd name="connsiteX2316" fmla="*/ 11954720 w 12182565"/>
              <a:gd name="connsiteY2316" fmla="*/ 1479225 h 3211589"/>
              <a:gd name="connsiteX2317" fmla="*/ 12034400 w 12182565"/>
              <a:gd name="connsiteY2317" fmla="*/ 1554745 h 3211589"/>
              <a:gd name="connsiteX2318" fmla="*/ 12094560 w 12182565"/>
              <a:gd name="connsiteY2318" fmla="*/ 1607865 h 3211589"/>
              <a:gd name="connsiteX2319" fmla="*/ 12123360 w 12182565"/>
              <a:gd name="connsiteY2319" fmla="*/ 1631065 h 3211589"/>
              <a:gd name="connsiteX2320" fmla="*/ 12126720 w 12182565"/>
              <a:gd name="connsiteY2320" fmla="*/ 1632665 h 3211589"/>
              <a:gd name="connsiteX2321" fmla="*/ 12169440 w 12182565"/>
              <a:gd name="connsiteY2321" fmla="*/ 1641945 h 3211589"/>
              <a:gd name="connsiteX2322" fmla="*/ 12178880 w 12182565"/>
              <a:gd name="connsiteY2322" fmla="*/ 1635705 h 3211589"/>
              <a:gd name="connsiteX2323" fmla="*/ 12172800 w 12182565"/>
              <a:gd name="connsiteY2323" fmla="*/ 1626105 h 3211589"/>
              <a:gd name="connsiteX2324" fmla="*/ 12131840 w 12182565"/>
              <a:gd name="connsiteY2324" fmla="*/ 1617305 h 3211589"/>
              <a:gd name="connsiteX2325" fmla="*/ 12104800 w 12182565"/>
              <a:gd name="connsiteY2325" fmla="*/ 1595545 h 3211589"/>
              <a:gd name="connsiteX2326" fmla="*/ 12045121 w 12182565"/>
              <a:gd name="connsiteY2326" fmla="*/ 1542905 h 3211589"/>
              <a:gd name="connsiteX2327" fmla="*/ 11965280 w 12182565"/>
              <a:gd name="connsiteY2327" fmla="*/ 1467065 h 3211589"/>
              <a:gd name="connsiteX2328" fmla="*/ 11876960 w 12182565"/>
              <a:gd name="connsiteY2328" fmla="*/ 1384505 h 3211589"/>
              <a:gd name="connsiteX2329" fmla="*/ 11859840 w 12182565"/>
              <a:gd name="connsiteY2329" fmla="*/ 1368345 h 3211589"/>
              <a:gd name="connsiteX2330" fmla="*/ 11768320 w 12182565"/>
              <a:gd name="connsiteY2330" fmla="*/ 1287705 h 3211589"/>
              <a:gd name="connsiteX2331" fmla="*/ 11641760 w 12182565"/>
              <a:gd name="connsiteY2331" fmla="*/ 1188185 h 3211589"/>
              <a:gd name="connsiteX2332" fmla="*/ 11445760 w 12182565"/>
              <a:gd name="connsiteY2332" fmla="*/ 1150105 h 3211589"/>
              <a:gd name="connsiteX2333" fmla="*/ 11431840 w 12182565"/>
              <a:gd name="connsiteY2333" fmla="*/ 1150265 h 3211589"/>
              <a:gd name="connsiteX2334" fmla="*/ 11272320 w 12182565"/>
              <a:gd name="connsiteY2334" fmla="*/ 1152505 h 3211589"/>
              <a:gd name="connsiteX2335" fmla="*/ 11119200 w 12182565"/>
              <a:gd name="connsiteY2335" fmla="*/ 1155705 h 3211589"/>
              <a:gd name="connsiteX2336" fmla="*/ 10938400 w 12182565"/>
              <a:gd name="connsiteY2336" fmla="*/ 1159545 h 3211589"/>
              <a:gd name="connsiteX2337" fmla="*/ 10805280 w 12182565"/>
              <a:gd name="connsiteY2337" fmla="*/ 1182745 h 3211589"/>
              <a:gd name="connsiteX2338" fmla="*/ 10756960 w 12182565"/>
              <a:gd name="connsiteY2338" fmla="*/ 1198745 h 3211589"/>
              <a:gd name="connsiteX2339" fmla="*/ 10626080 w 12182565"/>
              <a:gd name="connsiteY2339" fmla="*/ 1286585 h 3211589"/>
              <a:gd name="connsiteX2340" fmla="*/ 10599840 w 12182565"/>
              <a:gd name="connsiteY2340" fmla="*/ 1310425 h 3211589"/>
              <a:gd name="connsiteX2341" fmla="*/ 10412480 w 12182565"/>
              <a:gd name="connsiteY2341" fmla="*/ 1400665 h 3211589"/>
              <a:gd name="connsiteX2342" fmla="*/ 10171200 w 12182565"/>
              <a:gd name="connsiteY2342" fmla="*/ 1407545 h 3211589"/>
              <a:gd name="connsiteX2343" fmla="*/ 9892000 w 12182565"/>
              <a:gd name="connsiteY2343" fmla="*/ 1400665 h 3211589"/>
              <a:gd name="connsiteX2344" fmla="*/ 9717440 w 12182565"/>
              <a:gd name="connsiteY2344" fmla="*/ 1353945 h 3211589"/>
              <a:gd name="connsiteX2345" fmla="*/ 9694720 w 12182565"/>
              <a:gd name="connsiteY2345" fmla="*/ 1254585 h 3211589"/>
              <a:gd name="connsiteX2346" fmla="*/ 9889760 w 12182565"/>
              <a:gd name="connsiteY2346" fmla="*/ 1302265 h 3211589"/>
              <a:gd name="connsiteX2347" fmla="*/ 10003520 w 12182565"/>
              <a:gd name="connsiteY2347" fmla="*/ 1310105 h 3211589"/>
              <a:gd name="connsiteX2348" fmla="*/ 10191840 w 12182565"/>
              <a:gd name="connsiteY2348" fmla="*/ 1319225 h 3211589"/>
              <a:gd name="connsiteX2349" fmla="*/ 10296160 w 12182565"/>
              <a:gd name="connsiteY2349" fmla="*/ 1321145 h 3211589"/>
              <a:gd name="connsiteX2350" fmla="*/ 10437280 w 12182565"/>
              <a:gd name="connsiteY2350" fmla="*/ 1322105 h 3211589"/>
              <a:gd name="connsiteX2351" fmla="*/ 10613280 w 12182565"/>
              <a:gd name="connsiteY2351" fmla="*/ 1252345 h 3211589"/>
              <a:gd name="connsiteX2352" fmla="*/ 10637280 w 12182565"/>
              <a:gd name="connsiteY2352" fmla="*/ 1228825 h 3211589"/>
              <a:gd name="connsiteX2353" fmla="*/ 10746560 w 12182565"/>
              <a:gd name="connsiteY2353" fmla="*/ 1152665 h 3211589"/>
              <a:gd name="connsiteX2354" fmla="*/ 10792000 w 12182565"/>
              <a:gd name="connsiteY2354" fmla="*/ 1135385 h 3211589"/>
              <a:gd name="connsiteX2355" fmla="*/ 10975840 w 12182565"/>
              <a:gd name="connsiteY2355" fmla="*/ 1096505 h 3211589"/>
              <a:gd name="connsiteX2356" fmla="*/ 11318080 w 12182565"/>
              <a:gd name="connsiteY2356" fmla="*/ 1096505 h 3211589"/>
              <a:gd name="connsiteX2357" fmla="*/ 11461920 w 12182565"/>
              <a:gd name="connsiteY2357" fmla="*/ 1102105 h 3211589"/>
              <a:gd name="connsiteX2358" fmla="*/ 11668160 w 12182565"/>
              <a:gd name="connsiteY2358" fmla="*/ 1183705 h 3211589"/>
              <a:gd name="connsiteX2359" fmla="*/ 11798880 w 12182565"/>
              <a:gd name="connsiteY2359" fmla="*/ 1293785 h 3211589"/>
              <a:gd name="connsiteX2360" fmla="*/ 11972960 w 12182565"/>
              <a:gd name="connsiteY2360" fmla="*/ 1413305 h 3211589"/>
              <a:gd name="connsiteX2361" fmla="*/ 12042400 w 12182565"/>
              <a:gd name="connsiteY2361" fmla="*/ 1487545 h 3211589"/>
              <a:gd name="connsiteX2362" fmla="*/ 12056480 w 12182565"/>
              <a:gd name="connsiteY2362" fmla="*/ 1505625 h 3211589"/>
              <a:gd name="connsiteX2363" fmla="*/ 12099040 w 12182565"/>
              <a:gd name="connsiteY2363" fmla="*/ 1560505 h 3211589"/>
              <a:gd name="connsiteX2364" fmla="*/ 12100480 w 12182565"/>
              <a:gd name="connsiteY2364" fmla="*/ 1561945 h 3211589"/>
              <a:gd name="connsiteX2365" fmla="*/ 12132800 w 12182565"/>
              <a:gd name="connsiteY2365" fmla="*/ 1587545 h 3211589"/>
              <a:gd name="connsiteX2366" fmla="*/ 12136800 w 12182565"/>
              <a:gd name="connsiteY2366" fmla="*/ 1589145 h 3211589"/>
              <a:gd name="connsiteX2367" fmla="*/ 12172000 w 12182565"/>
              <a:gd name="connsiteY2367" fmla="*/ 1593625 h 3211589"/>
              <a:gd name="connsiteX2368" fmla="*/ 12180960 w 12182565"/>
              <a:gd name="connsiteY2368" fmla="*/ 1586585 h 3211589"/>
              <a:gd name="connsiteX2369" fmla="*/ 12174080 w 12182565"/>
              <a:gd name="connsiteY2369" fmla="*/ 1577625 h 3211589"/>
              <a:gd name="connsiteX2370" fmla="*/ 12140960 w 12182565"/>
              <a:gd name="connsiteY2370" fmla="*/ 1573465 h 3211589"/>
              <a:gd name="connsiteX2371" fmla="*/ 12111200 w 12182565"/>
              <a:gd name="connsiteY2371" fmla="*/ 1549945 h 3211589"/>
              <a:gd name="connsiteX2372" fmla="*/ 12068800 w 12182565"/>
              <a:gd name="connsiteY2372" fmla="*/ 1495385 h 3211589"/>
              <a:gd name="connsiteX2373" fmla="*/ 12055040 w 12182565"/>
              <a:gd name="connsiteY2373" fmla="*/ 1477785 h 3211589"/>
              <a:gd name="connsiteX2374" fmla="*/ 11980960 w 12182565"/>
              <a:gd name="connsiteY2374" fmla="*/ 1399385 h 3211589"/>
              <a:gd name="connsiteX2375" fmla="*/ 11807520 w 12182565"/>
              <a:gd name="connsiteY2375" fmla="*/ 1280345 h 3211589"/>
              <a:gd name="connsiteX2376" fmla="*/ 11680960 w 12182565"/>
              <a:gd name="connsiteY2376" fmla="*/ 1174265 h 3211589"/>
              <a:gd name="connsiteX2377" fmla="*/ 11461920 w 12182565"/>
              <a:gd name="connsiteY2377" fmla="*/ 1086105 h 3211589"/>
              <a:gd name="connsiteX2378" fmla="*/ 11318880 w 12182565"/>
              <a:gd name="connsiteY2378" fmla="*/ 1080505 h 3211589"/>
              <a:gd name="connsiteX2379" fmla="*/ 11132160 w 12182565"/>
              <a:gd name="connsiteY2379" fmla="*/ 1076825 h 3211589"/>
              <a:gd name="connsiteX2380" fmla="*/ 10974880 w 12182565"/>
              <a:gd name="connsiteY2380" fmla="*/ 1080505 h 3211589"/>
              <a:gd name="connsiteX2381" fmla="*/ 10785600 w 12182565"/>
              <a:gd name="connsiteY2381" fmla="*/ 1120665 h 3211589"/>
              <a:gd name="connsiteX2382" fmla="*/ 10742080 w 12182565"/>
              <a:gd name="connsiteY2382" fmla="*/ 1137145 h 3211589"/>
              <a:gd name="connsiteX2383" fmla="*/ 10625920 w 12182565"/>
              <a:gd name="connsiteY2383" fmla="*/ 1217305 h 3211589"/>
              <a:gd name="connsiteX2384" fmla="*/ 10602240 w 12182565"/>
              <a:gd name="connsiteY2384" fmla="*/ 1240345 h 3211589"/>
              <a:gd name="connsiteX2385" fmla="*/ 10435200 w 12182565"/>
              <a:gd name="connsiteY2385" fmla="*/ 1305945 h 3211589"/>
              <a:gd name="connsiteX2386" fmla="*/ 10296480 w 12182565"/>
              <a:gd name="connsiteY2386" fmla="*/ 1304985 h 3211589"/>
              <a:gd name="connsiteX2387" fmla="*/ 10190560 w 12182565"/>
              <a:gd name="connsiteY2387" fmla="*/ 1303225 h 3211589"/>
              <a:gd name="connsiteX2388" fmla="*/ 10004320 w 12182565"/>
              <a:gd name="connsiteY2388" fmla="*/ 1294105 h 3211589"/>
              <a:gd name="connsiteX2389" fmla="*/ 9890560 w 12182565"/>
              <a:gd name="connsiteY2389" fmla="*/ 1286265 h 3211589"/>
              <a:gd name="connsiteX2390" fmla="*/ 9691520 w 12182565"/>
              <a:gd name="connsiteY2390" fmla="*/ 1234745 h 3211589"/>
              <a:gd name="connsiteX2391" fmla="*/ 9681760 w 12182565"/>
              <a:gd name="connsiteY2391" fmla="*/ 1126425 h 3211589"/>
              <a:gd name="connsiteX2392" fmla="*/ 9931840 w 12182565"/>
              <a:gd name="connsiteY2392" fmla="*/ 1184185 h 3211589"/>
              <a:gd name="connsiteX2393" fmla="*/ 10020800 w 12182565"/>
              <a:gd name="connsiteY2393" fmla="*/ 1192185 h 3211589"/>
              <a:gd name="connsiteX2394" fmla="*/ 10341280 w 12182565"/>
              <a:gd name="connsiteY2394" fmla="*/ 1220025 h 3211589"/>
              <a:gd name="connsiteX2395" fmla="*/ 10350240 w 12182565"/>
              <a:gd name="connsiteY2395" fmla="*/ 1220665 h 3211589"/>
              <a:gd name="connsiteX2396" fmla="*/ 10639680 w 12182565"/>
              <a:gd name="connsiteY2396" fmla="*/ 1168505 h 3211589"/>
              <a:gd name="connsiteX2397" fmla="*/ 10841280 w 12182565"/>
              <a:gd name="connsiteY2397" fmla="*/ 1045145 h 3211589"/>
              <a:gd name="connsiteX2398" fmla="*/ 11243840 w 12182565"/>
              <a:gd name="connsiteY2398" fmla="*/ 1038425 h 3211589"/>
              <a:gd name="connsiteX2399" fmla="*/ 11486880 w 12182565"/>
              <a:gd name="connsiteY2399" fmla="*/ 1060505 h 3211589"/>
              <a:gd name="connsiteX2400" fmla="*/ 11621760 w 12182565"/>
              <a:gd name="connsiteY2400" fmla="*/ 1106905 h 3211589"/>
              <a:gd name="connsiteX2401" fmla="*/ 11728320 w 12182565"/>
              <a:gd name="connsiteY2401" fmla="*/ 1197145 h 3211589"/>
              <a:gd name="connsiteX2402" fmla="*/ 11974240 w 12182565"/>
              <a:gd name="connsiteY2402" fmla="*/ 1344025 h 3211589"/>
              <a:gd name="connsiteX2403" fmla="*/ 12106400 w 12182565"/>
              <a:gd name="connsiteY2403" fmla="*/ 1477145 h 3211589"/>
              <a:gd name="connsiteX2404" fmla="*/ 12138560 w 12182565"/>
              <a:gd name="connsiteY2404" fmla="*/ 1526585 h 3211589"/>
              <a:gd name="connsiteX2405" fmla="*/ 12145280 w 12182565"/>
              <a:gd name="connsiteY2405" fmla="*/ 1531865 h 3211589"/>
              <a:gd name="connsiteX2406" fmla="*/ 12165760 w 12182565"/>
              <a:gd name="connsiteY2406" fmla="*/ 1533785 h 3211589"/>
              <a:gd name="connsiteX2407" fmla="*/ 12174400 w 12182565"/>
              <a:gd name="connsiteY2407" fmla="*/ 1526425 h 3211589"/>
              <a:gd name="connsiteX2408" fmla="*/ 12167200 w 12182565"/>
              <a:gd name="connsiteY2408" fmla="*/ 1517625 h 3211589"/>
              <a:gd name="connsiteX2409" fmla="*/ 12151360 w 12182565"/>
              <a:gd name="connsiteY2409" fmla="*/ 1516185 h 3211589"/>
              <a:gd name="connsiteX2410" fmla="*/ 12118880 w 12182565"/>
              <a:gd name="connsiteY2410" fmla="*/ 1467225 h 3211589"/>
              <a:gd name="connsiteX2411" fmla="*/ 11983680 w 12182565"/>
              <a:gd name="connsiteY2411" fmla="*/ 1331225 h 3211589"/>
              <a:gd name="connsiteX2412" fmla="*/ 11733920 w 12182565"/>
              <a:gd name="connsiteY2412" fmla="*/ 1182265 h 3211589"/>
              <a:gd name="connsiteX2413" fmla="*/ 11641600 w 12182565"/>
              <a:gd name="connsiteY2413" fmla="*/ 1106265 h 3211589"/>
              <a:gd name="connsiteX2414" fmla="*/ 11792480 w 12182565"/>
              <a:gd name="connsiteY2414" fmla="*/ 1170585 h 3211589"/>
              <a:gd name="connsiteX2415" fmla="*/ 11798400 w 12182565"/>
              <a:gd name="connsiteY2415" fmla="*/ 1172505 h 3211589"/>
              <a:gd name="connsiteX2416" fmla="*/ 11799840 w 12182565"/>
              <a:gd name="connsiteY2416" fmla="*/ 1173785 h 3211589"/>
              <a:gd name="connsiteX2417" fmla="*/ 11970880 w 12182565"/>
              <a:gd name="connsiteY2417" fmla="*/ 1271705 h 3211589"/>
              <a:gd name="connsiteX2418" fmla="*/ 12074400 w 12182565"/>
              <a:gd name="connsiteY2418" fmla="*/ 1371865 h 3211589"/>
              <a:gd name="connsiteX2419" fmla="*/ 12142400 w 12182565"/>
              <a:gd name="connsiteY2419" fmla="*/ 1457945 h 3211589"/>
              <a:gd name="connsiteX2420" fmla="*/ 12169600 w 12182565"/>
              <a:gd name="connsiteY2420" fmla="*/ 1474265 h 3211589"/>
              <a:gd name="connsiteX2421" fmla="*/ 12177600 w 12182565"/>
              <a:gd name="connsiteY2421" fmla="*/ 1466265 h 3211589"/>
              <a:gd name="connsiteX2422" fmla="*/ 12169600 w 12182565"/>
              <a:gd name="connsiteY2422" fmla="*/ 1458265 h 3211589"/>
              <a:gd name="connsiteX2423" fmla="*/ 12156320 w 12182565"/>
              <a:gd name="connsiteY2423" fmla="*/ 1450265 h 3211589"/>
              <a:gd name="connsiteX2424" fmla="*/ 12104160 w 12182565"/>
              <a:gd name="connsiteY2424" fmla="*/ 1383065 h 3211589"/>
              <a:gd name="connsiteX2425" fmla="*/ 12168640 w 12182565"/>
              <a:gd name="connsiteY2425" fmla="*/ 1401785 h 3211589"/>
              <a:gd name="connsiteX2426" fmla="*/ 12178400 w 12182565"/>
              <a:gd name="connsiteY2426" fmla="*/ 1395865 h 3211589"/>
              <a:gd name="connsiteX2427" fmla="*/ 12172640 w 12182565"/>
              <a:gd name="connsiteY2427" fmla="*/ 1386105 h 3211589"/>
              <a:gd name="connsiteX2428" fmla="*/ 12082400 w 12182565"/>
              <a:gd name="connsiteY2428" fmla="*/ 1357945 h 3211589"/>
              <a:gd name="connsiteX2429" fmla="*/ 12005920 w 12182565"/>
              <a:gd name="connsiteY2429" fmla="*/ 1288505 h 3211589"/>
              <a:gd name="connsiteX2430" fmla="*/ 12075360 w 12182565"/>
              <a:gd name="connsiteY2430" fmla="*/ 1304665 h 3211589"/>
              <a:gd name="connsiteX2431" fmla="*/ 12169440 w 12182565"/>
              <a:gd name="connsiteY2431" fmla="*/ 1321145 h 3211589"/>
              <a:gd name="connsiteX2432" fmla="*/ 12178720 w 12182565"/>
              <a:gd name="connsiteY2432" fmla="*/ 1314585 h 3211589"/>
              <a:gd name="connsiteX2433" fmla="*/ 12172160 w 12182565"/>
              <a:gd name="connsiteY2433" fmla="*/ 1305305 h 3211589"/>
              <a:gd name="connsiteX2434" fmla="*/ 12077920 w 12182565"/>
              <a:gd name="connsiteY2434" fmla="*/ 1288665 h 3211589"/>
              <a:gd name="connsiteX2435" fmla="*/ 11981440 w 12182565"/>
              <a:gd name="connsiteY2435" fmla="*/ 1259545 h 3211589"/>
              <a:gd name="connsiteX2436" fmla="*/ 11863520 w 12182565"/>
              <a:gd name="connsiteY2436" fmla="*/ 1190265 h 3211589"/>
              <a:gd name="connsiteX2437" fmla="*/ 12161440 w 12182565"/>
              <a:gd name="connsiteY2437" fmla="*/ 1242905 h 3211589"/>
              <a:gd name="connsiteX2438" fmla="*/ 12170400 w 12182565"/>
              <a:gd name="connsiteY2438" fmla="*/ 1236025 h 3211589"/>
              <a:gd name="connsiteX2439" fmla="*/ 12163520 w 12182565"/>
              <a:gd name="connsiteY2439" fmla="*/ 1226905 h 3211589"/>
              <a:gd name="connsiteX2440" fmla="*/ 11797440 w 12182565"/>
              <a:gd name="connsiteY2440" fmla="*/ 1155545 h 3211589"/>
              <a:gd name="connsiteX2441" fmla="*/ 11561121 w 12182565"/>
              <a:gd name="connsiteY2441" fmla="*/ 1043065 h 3211589"/>
              <a:gd name="connsiteX2442" fmla="*/ 11553280 w 12182565"/>
              <a:gd name="connsiteY2442" fmla="*/ 1036185 h 3211589"/>
              <a:gd name="connsiteX2443" fmla="*/ 11693600 w 12182565"/>
              <a:gd name="connsiteY2443" fmla="*/ 1085945 h 3211589"/>
              <a:gd name="connsiteX2444" fmla="*/ 11865280 w 12182565"/>
              <a:gd name="connsiteY2444" fmla="*/ 1105305 h 3211589"/>
              <a:gd name="connsiteX2445" fmla="*/ 11938880 w 12182565"/>
              <a:gd name="connsiteY2445" fmla="*/ 1112825 h 3211589"/>
              <a:gd name="connsiteX2446" fmla="*/ 12166560 w 12182565"/>
              <a:gd name="connsiteY2446" fmla="*/ 1155225 h 3211589"/>
              <a:gd name="connsiteX2447" fmla="*/ 12176000 w 12182565"/>
              <a:gd name="connsiteY2447" fmla="*/ 1148985 h 3211589"/>
              <a:gd name="connsiteX2448" fmla="*/ 12169760 w 12182565"/>
              <a:gd name="connsiteY2448" fmla="*/ 1139385 h 3211589"/>
              <a:gd name="connsiteX2449" fmla="*/ 11940640 w 12182565"/>
              <a:gd name="connsiteY2449" fmla="*/ 1096665 h 3211589"/>
              <a:gd name="connsiteX2450" fmla="*/ 11866720 w 12182565"/>
              <a:gd name="connsiteY2450" fmla="*/ 1089145 h 3211589"/>
              <a:gd name="connsiteX2451" fmla="*/ 11695840 w 12182565"/>
              <a:gd name="connsiteY2451" fmla="*/ 1069785 h 3211589"/>
              <a:gd name="connsiteX2452" fmla="*/ 11493600 w 12182565"/>
              <a:gd name="connsiteY2452" fmla="*/ 981785 h 3211589"/>
              <a:gd name="connsiteX2453" fmla="*/ 11437760 w 12182565"/>
              <a:gd name="connsiteY2453" fmla="*/ 948825 h 3211589"/>
              <a:gd name="connsiteX2454" fmla="*/ 11563680 w 12182565"/>
              <a:gd name="connsiteY2454" fmla="*/ 985305 h 3211589"/>
              <a:gd name="connsiteX2455" fmla="*/ 11810720 w 12182565"/>
              <a:gd name="connsiteY2455" fmla="*/ 1030585 h 3211589"/>
              <a:gd name="connsiteX2456" fmla="*/ 11916800 w 12182565"/>
              <a:gd name="connsiteY2456" fmla="*/ 1037785 h 3211589"/>
              <a:gd name="connsiteX2457" fmla="*/ 12167360 w 12182565"/>
              <a:gd name="connsiteY2457" fmla="*/ 1060505 h 3211589"/>
              <a:gd name="connsiteX2458" fmla="*/ 12176800 w 12182565"/>
              <a:gd name="connsiteY2458" fmla="*/ 1054105 h 3211589"/>
              <a:gd name="connsiteX2459" fmla="*/ 12170400 w 12182565"/>
              <a:gd name="connsiteY2459" fmla="*/ 1044665 h 3211589"/>
              <a:gd name="connsiteX2460" fmla="*/ 11917760 w 12182565"/>
              <a:gd name="connsiteY2460" fmla="*/ 1021625 h 3211589"/>
              <a:gd name="connsiteX2461" fmla="*/ 11812160 w 12182565"/>
              <a:gd name="connsiteY2461" fmla="*/ 1014425 h 3211589"/>
              <a:gd name="connsiteX2462" fmla="*/ 11567520 w 12182565"/>
              <a:gd name="connsiteY2462" fmla="*/ 969465 h 3211589"/>
              <a:gd name="connsiteX2463" fmla="*/ 11356320 w 12182565"/>
              <a:gd name="connsiteY2463" fmla="*/ 909465 h 3211589"/>
              <a:gd name="connsiteX2464" fmla="*/ 11212640 w 12182565"/>
              <a:gd name="connsiteY2464" fmla="*/ 849785 h 3211589"/>
              <a:gd name="connsiteX2465" fmla="*/ 11211360 w 12182565"/>
              <a:gd name="connsiteY2465" fmla="*/ 848665 h 3211589"/>
              <a:gd name="connsiteX2466" fmla="*/ 11160160 w 12182565"/>
              <a:gd name="connsiteY2466" fmla="*/ 824505 h 3211589"/>
              <a:gd name="connsiteX2467" fmla="*/ 11131840 w 12182565"/>
              <a:gd name="connsiteY2467" fmla="*/ 810425 h 3211589"/>
              <a:gd name="connsiteX2468" fmla="*/ 11117600 w 12182565"/>
              <a:gd name="connsiteY2468" fmla="*/ 799705 h 3211589"/>
              <a:gd name="connsiteX2469" fmla="*/ 11229920 w 12182565"/>
              <a:gd name="connsiteY2469" fmla="*/ 841945 h 3211589"/>
              <a:gd name="connsiteX2470" fmla="*/ 11418400 w 12182565"/>
              <a:gd name="connsiteY2470" fmla="*/ 874265 h 3211589"/>
              <a:gd name="connsiteX2471" fmla="*/ 11666240 w 12182565"/>
              <a:gd name="connsiteY2471" fmla="*/ 923065 h 3211589"/>
              <a:gd name="connsiteX2472" fmla="*/ 11872960 w 12182565"/>
              <a:gd name="connsiteY2472" fmla="*/ 931225 h 3211589"/>
              <a:gd name="connsiteX2473" fmla="*/ 12161760 w 12182565"/>
              <a:gd name="connsiteY2473" fmla="*/ 958745 h 3211589"/>
              <a:gd name="connsiteX2474" fmla="*/ 12172480 w 12182565"/>
              <a:gd name="connsiteY2474" fmla="*/ 955065 h 3211589"/>
              <a:gd name="connsiteX2475" fmla="*/ 12168960 w 12182565"/>
              <a:gd name="connsiteY2475" fmla="*/ 944185 h 3211589"/>
              <a:gd name="connsiteX2476" fmla="*/ 11873440 w 12182565"/>
              <a:gd name="connsiteY2476" fmla="*/ 914905 h 3211589"/>
              <a:gd name="connsiteX2477" fmla="*/ 11667040 w 12182565"/>
              <a:gd name="connsiteY2477" fmla="*/ 906745 h 3211589"/>
              <a:gd name="connsiteX2478" fmla="*/ 11421920 w 12182565"/>
              <a:gd name="connsiteY2478" fmla="*/ 858265 h 3211589"/>
              <a:gd name="connsiteX2479" fmla="*/ 11232000 w 12182565"/>
              <a:gd name="connsiteY2479" fmla="*/ 825625 h 3211589"/>
              <a:gd name="connsiteX2480" fmla="*/ 11071040 w 12182565"/>
              <a:gd name="connsiteY2480" fmla="*/ 757625 h 3211589"/>
              <a:gd name="connsiteX2481" fmla="*/ 10971200 w 12182565"/>
              <a:gd name="connsiteY2481" fmla="*/ 683065 h 3211589"/>
              <a:gd name="connsiteX2482" fmla="*/ 10788160 w 12182565"/>
              <a:gd name="connsiteY2482" fmla="*/ 586745 h 3211589"/>
              <a:gd name="connsiteX2483" fmla="*/ 10593121 w 12182565"/>
              <a:gd name="connsiteY2483" fmla="*/ 502585 h 3211589"/>
              <a:gd name="connsiteX2484" fmla="*/ 10172320 w 12182565"/>
              <a:gd name="connsiteY2484" fmla="*/ 282745 h 3211589"/>
              <a:gd name="connsiteX2485" fmla="*/ 9447040 w 12182565"/>
              <a:gd name="connsiteY2485" fmla="*/ 116985 h 3211589"/>
              <a:gd name="connsiteX2486" fmla="*/ 8714240 w 12182565"/>
              <a:gd name="connsiteY2486" fmla="*/ 39225 h 3211589"/>
              <a:gd name="connsiteX2487" fmla="*/ 8602560 w 12182565"/>
              <a:gd name="connsiteY2487" fmla="*/ 16200 h 3211589"/>
              <a:gd name="connsiteX2488" fmla="*/ 8544402 w 12182565"/>
              <a:gd name="connsiteY2488" fmla="*/ 0 h 3211589"/>
              <a:gd name="connsiteX2489" fmla="*/ 8484000 w 12182565"/>
              <a:gd name="connsiteY2489" fmla="*/ 0 h 3211589"/>
              <a:gd name="connsiteX2490" fmla="*/ 8515040 w 12182565"/>
              <a:gd name="connsiteY2490" fmla="*/ 9885 h 3211589"/>
              <a:gd name="connsiteX2491" fmla="*/ 8711200 w 12182565"/>
              <a:gd name="connsiteY2491" fmla="*/ 55225 h 3211589"/>
              <a:gd name="connsiteX2492" fmla="*/ 9445600 w 12182565"/>
              <a:gd name="connsiteY2492" fmla="*/ 133145 h 3211589"/>
              <a:gd name="connsiteX2493" fmla="*/ 10164640 w 12182565"/>
              <a:gd name="connsiteY2493" fmla="*/ 297145 h 3211589"/>
              <a:gd name="connsiteX2494" fmla="*/ 10585440 w 12182565"/>
              <a:gd name="connsiteY2494" fmla="*/ 516825 h 3211589"/>
              <a:gd name="connsiteX2495" fmla="*/ 10782880 w 12182565"/>
              <a:gd name="connsiteY2495" fmla="*/ 601945 h 3211589"/>
              <a:gd name="connsiteX2496" fmla="*/ 10935360 w 12182565"/>
              <a:gd name="connsiteY2496" fmla="*/ 678425 h 3211589"/>
              <a:gd name="connsiteX2497" fmla="*/ 10675200 w 12182565"/>
              <a:gd name="connsiteY2497" fmla="*/ 609465 h 3211589"/>
              <a:gd name="connsiteX2498" fmla="*/ 10452800 w 12182565"/>
              <a:gd name="connsiteY2498" fmla="*/ 514745 h 3211589"/>
              <a:gd name="connsiteX2499" fmla="*/ 10295680 w 12182565"/>
              <a:gd name="connsiteY2499" fmla="*/ 437945 h 3211589"/>
              <a:gd name="connsiteX2500" fmla="*/ 9777600 w 12182565"/>
              <a:gd name="connsiteY2500" fmla="*/ 287385 h 3211589"/>
              <a:gd name="connsiteX2501" fmla="*/ 9753280 w 12182565"/>
              <a:gd name="connsiteY2501" fmla="*/ 282105 h 3211589"/>
              <a:gd name="connsiteX2502" fmla="*/ 9102400 w 12182565"/>
              <a:gd name="connsiteY2502" fmla="*/ 211065 h 3211589"/>
              <a:gd name="connsiteX2503" fmla="*/ 8582400 w 12182565"/>
              <a:gd name="connsiteY2503" fmla="*/ 82105 h 3211589"/>
              <a:gd name="connsiteX2504" fmla="*/ 8454720 w 12182565"/>
              <a:gd name="connsiteY2504" fmla="*/ 20665 h 3211589"/>
              <a:gd name="connsiteX2505" fmla="*/ 8451680 w 12182565"/>
              <a:gd name="connsiteY2505" fmla="*/ 18585 h 3211589"/>
              <a:gd name="connsiteX2506" fmla="*/ 8448640 w 12182565"/>
              <a:gd name="connsiteY2506" fmla="*/ 17625 h 3211589"/>
              <a:gd name="connsiteX2507" fmla="*/ 8416307 w 12182565"/>
              <a:gd name="connsiteY2507" fmla="*/ 0 h 3211589"/>
              <a:gd name="connsiteX2508" fmla="*/ 8326146 w 12182565"/>
              <a:gd name="connsiteY2508" fmla="*/ 0 h 3211589"/>
              <a:gd name="connsiteX2509" fmla="*/ 8440960 w 12182565"/>
              <a:gd name="connsiteY2509" fmla="*/ 32025 h 3211589"/>
              <a:gd name="connsiteX2510" fmla="*/ 8449920 w 12182565"/>
              <a:gd name="connsiteY2510" fmla="*/ 36505 h 3211589"/>
              <a:gd name="connsiteX2511" fmla="*/ 8096320 w 12182565"/>
              <a:gd name="connsiteY2511" fmla="*/ 1145 h 3211589"/>
              <a:gd name="connsiteX2512" fmla="*/ 7700800 w 12182565"/>
              <a:gd name="connsiteY2512" fmla="*/ 35705 h 3211589"/>
              <a:gd name="connsiteX2513" fmla="*/ 6896640 w 12182565"/>
              <a:gd name="connsiteY2513" fmla="*/ 368025 h 3211589"/>
              <a:gd name="connsiteX2514" fmla="*/ 6525920 w 12182565"/>
              <a:gd name="connsiteY2514" fmla="*/ 534425 h 3211589"/>
              <a:gd name="connsiteX2515" fmla="*/ 6524800 w 12182565"/>
              <a:gd name="connsiteY2515" fmla="*/ 534745 h 3211589"/>
              <a:gd name="connsiteX2516" fmla="*/ 6312800 w 12182565"/>
              <a:gd name="connsiteY2516" fmla="*/ 428505 h 3211589"/>
              <a:gd name="connsiteX2517" fmla="*/ 6799520 w 12182565"/>
              <a:gd name="connsiteY2517" fmla="*/ 289945 h 3211589"/>
              <a:gd name="connsiteX2518" fmla="*/ 7484000 w 12182565"/>
              <a:gd name="connsiteY2518" fmla="*/ 12025 h 3211589"/>
              <a:gd name="connsiteX2519" fmla="*/ 7548576 w 12182565"/>
              <a:gd name="connsiteY2519" fmla="*/ 0 h 3211589"/>
              <a:gd name="connsiteX2520" fmla="*/ 7467293 w 12182565"/>
              <a:gd name="connsiteY2520" fmla="*/ 0 h 3211589"/>
              <a:gd name="connsiteX2521" fmla="*/ 7304915 w 12182565"/>
              <a:gd name="connsiteY2521" fmla="*/ 42920 h 3211589"/>
              <a:gd name="connsiteX2522" fmla="*/ 6792320 w 12182565"/>
              <a:gd name="connsiteY2522" fmla="*/ 275705 h 3211589"/>
              <a:gd name="connsiteX2523" fmla="*/ 6281280 w 12182565"/>
              <a:gd name="connsiteY2523" fmla="*/ 415705 h 3211589"/>
              <a:gd name="connsiteX2524" fmla="*/ 6083200 w 12182565"/>
              <a:gd name="connsiteY2524" fmla="*/ 351705 h 3211589"/>
              <a:gd name="connsiteX2525" fmla="*/ 5954080 w 12182565"/>
              <a:gd name="connsiteY2525" fmla="*/ 320025 h 3211589"/>
              <a:gd name="connsiteX2526" fmla="*/ 6606400 w 12182565"/>
              <a:gd name="connsiteY2526" fmla="*/ 224185 h 3211589"/>
              <a:gd name="connsiteX2527" fmla="*/ 6825280 w 12182565"/>
              <a:gd name="connsiteY2527" fmla="*/ 140665 h 3211589"/>
              <a:gd name="connsiteX2528" fmla="*/ 7148760 w 12182565"/>
              <a:gd name="connsiteY2528" fmla="*/ 21265 h 3211589"/>
              <a:gd name="connsiteX2529" fmla="*/ 7220896 w 12182565"/>
              <a:gd name="connsiteY2529" fmla="*/ 0 h 3211589"/>
              <a:gd name="connsiteX2530" fmla="*/ 7163274 w 12182565"/>
              <a:gd name="connsiteY2530" fmla="*/ 0 h 3211589"/>
              <a:gd name="connsiteX2531" fmla="*/ 7144320 w 12182565"/>
              <a:gd name="connsiteY2531" fmla="*/ 5585 h 3211589"/>
              <a:gd name="connsiteX2532" fmla="*/ 6819520 w 12182565"/>
              <a:gd name="connsiteY2532" fmla="*/ 125465 h 3211589"/>
              <a:gd name="connsiteX2533" fmla="*/ 6600800 w 12182565"/>
              <a:gd name="connsiteY2533" fmla="*/ 208825 h 3211589"/>
              <a:gd name="connsiteX2534" fmla="*/ 5882560 w 12182565"/>
              <a:gd name="connsiteY2534" fmla="*/ 302265 h 3211589"/>
              <a:gd name="connsiteX2535" fmla="*/ 5879680 w 12182565"/>
              <a:gd name="connsiteY2535" fmla="*/ 302585 h 3211589"/>
              <a:gd name="connsiteX2536" fmla="*/ 5416640 w 12182565"/>
              <a:gd name="connsiteY2536" fmla="*/ 227865 h 3211589"/>
              <a:gd name="connsiteX2537" fmla="*/ 6049920 w 12182565"/>
              <a:gd name="connsiteY2537" fmla="*/ 188985 h 3211589"/>
              <a:gd name="connsiteX2538" fmla="*/ 6809280 w 12182565"/>
              <a:gd name="connsiteY2538" fmla="*/ 16185 h 3211589"/>
              <a:gd name="connsiteX2539" fmla="*/ 6858652 w 12182565"/>
              <a:gd name="connsiteY2539" fmla="*/ 0 h 3211589"/>
              <a:gd name="connsiteX2540" fmla="*/ 6807814 w 12182565"/>
              <a:gd name="connsiteY2540" fmla="*/ 0 h 3211589"/>
              <a:gd name="connsiteX2541" fmla="*/ 6804320 w 12182565"/>
              <a:gd name="connsiteY2541" fmla="*/ 1145 h 3211589"/>
              <a:gd name="connsiteX2542" fmla="*/ 6047680 w 12182565"/>
              <a:gd name="connsiteY2542" fmla="*/ 173305 h 3211589"/>
              <a:gd name="connsiteX2543" fmla="*/ 5266881 w 12182565"/>
              <a:gd name="connsiteY2543" fmla="*/ 216025 h 3211589"/>
              <a:gd name="connsiteX2544" fmla="*/ 5263360 w 12182565"/>
              <a:gd name="connsiteY2544" fmla="*/ 216985 h 3211589"/>
              <a:gd name="connsiteX2545" fmla="*/ 4855520 w 12182565"/>
              <a:gd name="connsiteY2545" fmla="*/ 219225 h 3211589"/>
              <a:gd name="connsiteX2546" fmla="*/ 4783040 w 12182565"/>
              <a:gd name="connsiteY2546" fmla="*/ 223385 h 3211589"/>
              <a:gd name="connsiteX2547" fmla="*/ 5302560 w 12182565"/>
              <a:gd name="connsiteY2547" fmla="*/ 158265 h 3211589"/>
              <a:gd name="connsiteX2548" fmla="*/ 6275360 w 12182565"/>
              <a:gd name="connsiteY2548" fmla="*/ 47545 h 3211589"/>
              <a:gd name="connsiteX2549" fmla="*/ 6441883 w 12182565"/>
              <a:gd name="connsiteY2549" fmla="*/ 9003 h 3211589"/>
              <a:gd name="connsiteX2550" fmla="*/ 6474169 w 12182565"/>
              <a:gd name="connsiteY2550" fmla="*/ 0 h 3211589"/>
              <a:gd name="connsiteX2551" fmla="*/ 6411221 w 12182565"/>
              <a:gd name="connsiteY2551" fmla="*/ 0 h 3211589"/>
              <a:gd name="connsiteX2552" fmla="*/ 6345238 w 12182565"/>
              <a:gd name="connsiteY2552" fmla="*/ 16526 h 3211589"/>
              <a:gd name="connsiteX2553" fmla="*/ 6272800 w 12182565"/>
              <a:gd name="connsiteY2553" fmla="*/ 31545 h 3211589"/>
              <a:gd name="connsiteX2554" fmla="*/ 5301120 w 12182565"/>
              <a:gd name="connsiteY2554" fmla="*/ 142105 h 3211589"/>
              <a:gd name="connsiteX2555" fmla="*/ 4601121 w 12182565"/>
              <a:gd name="connsiteY2555" fmla="*/ 232505 h 3211589"/>
              <a:gd name="connsiteX2556" fmla="*/ 4599680 w 12182565"/>
              <a:gd name="connsiteY2556" fmla="*/ 232985 h 3211589"/>
              <a:gd name="connsiteX2557" fmla="*/ 4119200 w 12182565"/>
              <a:gd name="connsiteY2557" fmla="*/ 241145 h 3211589"/>
              <a:gd name="connsiteX2558" fmla="*/ 4614080 w 12182565"/>
              <a:gd name="connsiteY2558" fmla="*/ 183385 h 3211589"/>
              <a:gd name="connsiteX2559" fmla="*/ 4845120 w 12182565"/>
              <a:gd name="connsiteY2559" fmla="*/ 143385 h 3211589"/>
              <a:gd name="connsiteX2560" fmla="*/ 5272960 w 12182565"/>
              <a:gd name="connsiteY2560" fmla="*/ 78105 h 3211589"/>
              <a:gd name="connsiteX2561" fmla="*/ 5673260 w 12182565"/>
              <a:gd name="connsiteY2561" fmla="*/ 23725 h 3211589"/>
              <a:gd name="connsiteX2562" fmla="*/ 5811518 w 12182565"/>
              <a:gd name="connsiteY2562" fmla="*/ 0 h 3211589"/>
              <a:gd name="connsiteX2563" fmla="*/ 5716293 w 12182565"/>
              <a:gd name="connsiteY2563" fmla="*/ 0 h 3211589"/>
              <a:gd name="connsiteX2564" fmla="*/ 5670700 w 12182565"/>
              <a:gd name="connsiteY2564" fmla="*/ 7825 h 3211589"/>
              <a:gd name="connsiteX2565" fmla="*/ 5271521 w 12182565"/>
              <a:gd name="connsiteY2565" fmla="*/ 62105 h 3211589"/>
              <a:gd name="connsiteX2566" fmla="*/ 4842080 w 12182565"/>
              <a:gd name="connsiteY2566" fmla="*/ 127545 h 3211589"/>
              <a:gd name="connsiteX2567" fmla="*/ 4611200 w 12182565"/>
              <a:gd name="connsiteY2567" fmla="*/ 167545 h 3211589"/>
              <a:gd name="connsiteX2568" fmla="*/ 4012000 w 12182565"/>
              <a:gd name="connsiteY2568" fmla="*/ 234585 h 3211589"/>
              <a:gd name="connsiteX2569" fmla="*/ 4010880 w 12182565"/>
              <a:gd name="connsiteY2569" fmla="*/ 234905 h 3211589"/>
              <a:gd name="connsiteX2570" fmla="*/ 3847040 w 12182565"/>
              <a:gd name="connsiteY2570" fmla="*/ 215225 h 3211589"/>
              <a:gd name="connsiteX2571" fmla="*/ 3688800 w 12182565"/>
              <a:gd name="connsiteY2571" fmla="*/ 188665 h 3211589"/>
              <a:gd name="connsiteX2572" fmla="*/ 3686080 w 12182565"/>
              <a:gd name="connsiteY2572" fmla="*/ 187065 h 3211589"/>
              <a:gd name="connsiteX2573" fmla="*/ 4118880 w 12182565"/>
              <a:gd name="connsiteY2573" fmla="*/ 179065 h 3211589"/>
              <a:gd name="connsiteX2574" fmla="*/ 4989281 w 12182565"/>
              <a:gd name="connsiteY2574" fmla="*/ 27865 h 3211589"/>
              <a:gd name="connsiteX2575" fmla="*/ 5085393 w 12182565"/>
              <a:gd name="connsiteY2575" fmla="*/ 10528 h 3211589"/>
              <a:gd name="connsiteX2576" fmla="*/ 5142959 w 12182565"/>
              <a:gd name="connsiteY2576" fmla="*/ 0 h 3211589"/>
              <a:gd name="connsiteX2577" fmla="*/ 5052859 w 12182565"/>
              <a:gd name="connsiteY2577" fmla="*/ 0 h 3211589"/>
              <a:gd name="connsiteX2578" fmla="*/ 5013430 w 12182565"/>
              <a:gd name="connsiteY2578" fmla="*/ 7107 h 3211589"/>
              <a:gd name="connsiteX2579" fmla="*/ 4986720 w 12182565"/>
              <a:gd name="connsiteY2579" fmla="*/ 11865 h 3211589"/>
              <a:gd name="connsiteX2580" fmla="*/ 4116960 w 12182565"/>
              <a:gd name="connsiteY2580" fmla="*/ 162905 h 3211589"/>
              <a:gd name="connsiteX2581" fmla="*/ 3654080 w 12182565"/>
              <a:gd name="connsiteY2581" fmla="*/ 167545 h 3211589"/>
              <a:gd name="connsiteX2582" fmla="*/ 3542880 w 12182565"/>
              <a:gd name="connsiteY2582" fmla="*/ 101305 h 3211589"/>
              <a:gd name="connsiteX2583" fmla="*/ 4261920 w 12182565"/>
              <a:gd name="connsiteY2583" fmla="*/ 55225 h 3211589"/>
              <a:gd name="connsiteX2584" fmla="*/ 4422927 w 12182565"/>
              <a:gd name="connsiteY2584" fmla="*/ 18270 h 3211589"/>
              <a:gd name="connsiteX2585" fmla="*/ 4501235 w 12182565"/>
              <a:gd name="connsiteY2585" fmla="*/ 0 h 3211589"/>
              <a:gd name="connsiteX2586" fmla="*/ 4429111 w 12182565"/>
              <a:gd name="connsiteY2586" fmla="*/ 0 h 3211589"/>
              <a:gd name="connsiteX2587" fmla="*/ 4419354 w 12182565"/>
              <a:gd name="connsiteY2587" fmla="*/ 2276 h 3211589"/>
              <a:gd name="connsiteX2588" fmla="*/ 4258400 w 12182565"/>
              <a:gd name="connsiteY2588" fmla="*/ 39225 h 3211589"/>
              <a:gd name="connsiteX2589" fmla="*/ 3508640 w 12182565"/>
              <a:gd name="connsiteY2589" fmla="*/ 81145 h 3211589"/>
              <a:gd name="connsiteX2590" fmla="*/ 3321600 w 12182565"/>
              <a:gd name="connsiteY2590" fmla="*/ 22905 h 3211589"/>
              <a:gd name="connsiteX2591" fmla="*/ 3540480 w 12182565"/>
              <a:gd name="connsiteY2591" fmla="*/ 39385 h 3211589"/>
              <a:gd name="connsiteX2592" fmla="*/ 3865870 w 12182565"/>
              <a:gd name="connsiteY2592" fmla="*/ 5509 h 3211589"/>
              <a:gd name="connsiteX2593" fmla="*/ 3901801 w 12182565"/>
              <a:gd name="connsiteY2593" fmla="*/ 0 h 3211589"/>
              <a:gd name="connsiteX2594" fmla="*/ 3786669 w 12182565"/>
              <a:gd name="connsiteY2594" fmla="*/ 0 h 3211589"/>
              <a:gd name="connsiteX2595" fmla="*/ 3733143 w 12182565"/>
              <a:gd name="connsiteY2595" fmla="*/ 7015 h 3211589"/>
              <a:gd name="connsiteX2596" fmla="*/ 3540160 w 12182565"/>
              <a:gd name="connsiteY2596" fmla="*/ 23545 h 3211589"/>
              <a:gd name="connsiteX2597" fmla="*/ 3350580 w 12182565"/>
              <a:gd name="connsiteY2597" fmla="*/ 11245 h 3211589"/>
              <a:gd name="connsiteX2598" fmla="*/ 3289186 w 12182565"/>
              <a:gd name="connsiteY2598" fmla="*/ 0 h 3211589"/>
              <a:gd name="connsiteX2599" fmla="*/ 3106849 w 12182565"/>
              <a:gd name="connsiteY2599" fmla="*/ 0 h 3211589"/>
              <a:gd name="connsiteX2600" fmla="*/ 3159680 w 12182565"/>
              <a:gd name="connsiteY2600" fmla="*/ 5945 h 3211589"/>
              <a:gd name="connsiteX2601" fmla="*/ 3503360 w 12182565"/>
              <a:gd name="connsiteY2601" fmla="*/ 96345 h 3211589"/>
              <a:gd name="connsiteX2602" fmla="*/ 3598400 w 12182565"/>
              <a:gd name="connsiteY2602" fmla="*/ 152985 h 3211589"/>
              <a:gd name="connsiteX2603" fmla="*/ 3513440 w 12182565"/>
              <a:gd name="connsiteY2603" fmla="*/ 115385 h 3211589"/>
              <a:gd name="connsiteX2604" fmla="*/ 3035520 w 12182565"/>
              <a:gd name="connsiteY2604" fmla="*/ 42745 h 3211589"/>
              <a:gd name="connsiteX2605" fmla="*/ 2740800 w 12182565"/>
              <a:gd name="connsiteY2605" fmla="*/ 59065 h 3211589"/>
              <a:gd name="connsiteX2606" fmla="*/ 2209600 w 12182565"/>
              <a:gd name="connsiteY2606" fmla="*/ 261305 h 3211589"/>
              <a:gd name="connsiteX2607" fmla="*/ 2111680 w 12182565"/>
              <a:gd name="connsiteY2607" fmla="*/ 310585 h 3211589"/>
              <a:gd name="connsiteX2608" fmla="*/ 1566080 w 12182565"/>
              <a:gd name="connsiteY2608" fmla="*/ 939545 h 3211589"/>
              <a:gd name="connsiteX2609" fmla="*/ 1505920 w 12182565"/>
              <a:gd name="connsiteY2609" fmla="*/ 1067065 h 3211589"/>
              <a:gd name="connsiteX2610" fmla="*/ 1385600 w 12182565"/>
              <a:gd name="connsiteY2610" fmla="*/ 1320025 h 3211589"/>
              <a:gd name="connsiteX2611" fmla="*/ 1056480 w 12182565"/>
              <a:gd name="connsiteY2611" fmla="*/ 1566585 h 3211589"/>
              <a:gd name="connsiteX2612" fmla="*/ 772640 w 12182565"/>
              <a:gd name="connsiteY2612" fmla="*/ 1700505 h 3211589"/>
              <a:gd name="connsiteX2613" fmla="*/ 708960 w 12182565"/>
              <a:gd name="connsiteY2613" fmla="*/ 1737465 h 3211589"/>
              <a:gd name="connsiteX2614" fmla="*/ 645440 w 12182565"/>
              <a:gd name="connsiteY2614" fmla="*/ 1772185 h 3211589"/>
              <a:gd name="connsiteX2615" fmla="*/ 410880 w 12182565"/>
              <a:gd name="connsiteY2615" fmla="*/ 1879225 h 3211589"/>
              <a:gd name="connsiteX2616" fmla="*/ 386560 w 12182565"/>
              <a:gd name="connsiteY2616" fmla="*/ 1885305 h 3211589"/>
              <a:gd name="connsiteX2617" fmla="*/ 383200 w 12182565"/>
              <a:gd name="connsiteY2617" fmla="*/ 1884505 h 3211589"/>
              <a:gd name="connsiteX2618" fmla="*/ 363360 w 12182565"/>
              <a:gd name="connsiteY2618" fmla="*/ 1884185 h 3211589"/>
              <a:gd name="connsiteX2619" fmla="*/ 302720 w 12182565"/>
              <a:gd name="connsiteY2619" fmla="*/ 1887225 h 3211589"/>
              <a:gd name="connsiteX2620" fmla="*/ 224800 w 12182565"/>
              <a:gd name="connsiteY2620" fmla="*/ 1890905 h 3211589"/>
              <a:gd name="connsiteX2621" fmla="*/ 218720 w 12182565"/>
              <a:gd name="connsiteY2621" fmla="*/ 1884665 h 3211589"/>
              <a:gd name="connsiteX2622" fmla="*/ 173600 w 12182565"/>
              <a:gd name="connsiteY2622" fmla="*/ 1879705 h 3211589"/>
              <a:gd name="connsiteX2623" fmla="*/ 303520 w 12182565"/>
              <a:gd name="connsiteY2623" fmla="*/ 1851705 h 3211589"/>
              <a:gd name="connsiteX2624" fmla="*/ 418240 w 12182565"/>
              <a:gd name="connsiteY2624" fmla="*/ 1795065 h 3211589"/>
              <a:gd name="connsiteX2625" fmla="*/ 581760 w 12182565"/>
              <a:gd name="connsiteY2625" fmla="*/ 1720985 h 3211589"/>
              <a:gd name="connsiteX2626" fmla="*/ 668480 w 12182565"/>
              <a:gd name="connsiteY2626" fmla="*/ 1687705 h 3211589"/>
              <a:gd name="connsiteX2627" fmla="*/ 869600 w 12182565"/>
              <a:gd name="connsiteY2627" fmla="*/ 1622105 h 3211589"/>
              <a:gd name="connsiteX2628" fmla="*/ 1177120 w 12182565"/>
              <a:gd name="connsiteY2628" fmla="*/ 1434105 h 3211589"/>
              <a:gd name="connsiteX2629" fmla="*/ 1186720 w 12182565"/>
              <a:gd name="connsiteY2629" fmla="*/ 1419705 h 3211589"/>
              <a:gd name="connsiteX2630" fmla="*/ 1407200 w 12182565"/>
              <a:gd name="connsiteY2630" fmla="*/ 1015065 h 3211589"/>
              <a:gd name="connsiteX2631" fmla="*/ 1803680 w 12182565"/>
              <a:gd name="connsiteY2631" fmla="*/ 368025 h 3211589"/>
              <a:gd name="connsiteX2632" fmla="*/ 2438240 w 12182565"/>
              <a:gd name="connsiteY2632" fmla="*/ 48665 h 3211589"/>
              <a:gd name="connsiteX2633" fmla="*/ 2652778 w 12182565"/>
              <a:gd name="connsiteY2633" fmla="*/ 8668 h 3211589"/>
              <a:gd name="connsiteX2634" fmla="*/ 2732454 w 12182565"/>
              <a:gd name="connsiteY2634" fmla="*/ 0 h 3211589"/>
              <a:gd name="connsiteX2635" fmla="*/ 2610292 w 12182565"/>
              <a:gd name="connsiteY2635" fmla="*/ 0 h 3211589"/>
              <a:gd name="connsiteX2636" fmla="*/ 2576358 w 12182565"/>
              <a:gd name="connsiteY2636" fmla="*/ 5273 h 3211589"/>
              <a:gd name="connsiteX2637" fmla="*/ 2435360 w 12182565"/>
              <a:gd name="connsiteY2637" fmla="*/ 33145 h 3211589"/>
              <a:gd name="connsiteX2638" fmla="*/ 1793760 w 12182565"/>
              <a:gd name="connsiteY2638" fmla="*/ 356025 h 3211589"/>
              <a:gd name="connsiteX2639" fmla="*/ 1392800 w 12182565"/>
              <a:gd name="connsiteY2639" fmla="*/ 1009465 h 3211589"/>
              <a:gd name="connsiteX2640" fmla="*/ 1174080 w 12182565"/>
              <a:gd name="connsiteY2640" fmla="*/ 1410905 h 3211589"/>
              <a:gd name="connsiteX2641" fmla="*/ 1164320 w 12182565"/>
              <a:gd name="connsiteY2641" fmla="*/ 1425305 h 3211589"/>
              <a:gd name="connsiteX2642" fmla="*/ 867040 w 12182565"/>
              <a:gd name="connsiteY2642" fmla="*/ 1606585 h 3211589"/>
              <a:gd name="connsiteX2643" fmla="*/ 758240 w 12182565"/>
              <a:gd name="connsiteY2643" fmla="*/ 1636665 h 3211589"/>
              <a:gd name="connsiteX2644" fmla="*/ 921600 w 12182565"/>
              <a:gd name="connsiteY2644" fmla="*/ 1521305 h 3211589"/>
              <a:gd name="connsiteX2645" fmla="*/ 956160 w 12182565"/>
              <a:gd name="connsiteY2645" fmla="*/ 1472345 h 3211589"/>
              <a:gd name="connsiteX2646" fmla="*/ 1217280 w 12182565"/>
              <a:gd name="connsiteY2646" fmla="*/ 1076345 h 3211589"/>
              <a:gd name="connsiteX2647" fmla="*/ 1351520 w 12182565"/>
              <a:gd name="connsiteY2647" fmla="*/ 774745 h 3211589"/>
              <a:gd name="connsiteX2648" fmla="*/ 1434240 w 12182565"/>
              <a:gd name="connsiteY2648" fmla="*/ 586905 h 3211589"/>
              <a:gd name="connsiteX2649" fmla="*/ 1868960 w 12182565"/>
              <a:gd name="connsiteY2649" fmla="*/ 146905 h 3211589"/>
              <a:gd name="connsiteX2650" fmla="*/ 2201280 w 12182565"/>
              <a:gd name="connsiteY2650" fmla="*/ 8805 h 3211589"/>
              <a:gd name="connsiteX2651" fmla="*/ 2245232 w 12182565"/>
              <a:gd name="connsiteY2651" fmla="*/ 0 h 3211589"/>
              <a:gd name="connsiteX2652" fmla="*/ 2177543 w 12182565"/>
              <a:gd name="connsiteY2652" fmla="*/ 0 h 3211589"/>
              <a:gd name="connsiteX2653" fmla="*/ 2030843 w 12182565"/>
              <a:gd name="connsiteY2653" fmla="*/ 51448 h 3211589"/>
              <a:gd name="connsiteX2654" fmla="*/ 1861920 w 12182565"/>
              <a:gd name="connsiteY2654" fmla="*/ 132505 h 3211589"/>
              <a:gd name="connsiteX2655" fmla="*/ 1420000 w 12182565"/>
              <a:gd name="connsiteY2655" fmla="*/ 580025 h 3211589"/>
              <a:gd name="connsiteX2656" fmla="*/ 1336960 w 12182565"/>
              <a:gd name="connsiteY2656" fmla="*/ 768185 h 3211589"/>
              <a:gd name="connsiteX2657" fmla="*/ 1203040 w 12182565"/>
              <a:gd name="connsiteY2657" fmla="*/ 1068985 h 3211589"/>
              <a:gd name="connsiteX2658" fmla="*/ 943200 w 12182565"/>
              <a:gd name="connsiteY2658" fmla="*/ 1462745 h 3211589"/>
              <a:gd name="connsiteX2659" fmla="*/ 908640 w 12182565"/>
              <a:gd name="connsiteY2659" fmla="*/ 1511705 h 3211589"/>
              <a:gd name="connsiteX2660" fmla="*/ 536320 w 12182565"/>
              <a:gd name="connsiteY2660" fmla="*/ 1683065 h 3211589"/>
              <a:gd name="connsiteX2661" fmla="*/ 210240 w 12182565"/>
              <a:gd name="connsiteY2661" fmla="*/ 1760025 h 3211589"/>
              <a:gd name="connsiteX2662" fmla="*/ 18560 w 12182565"/>
              <a:gd name="connsiteY2662" fmla="*/ 1777465 h 3211589"/>
              <a:gd name="connsiteX2663" fmla="*/ 9120 w 12182565"/>
              <a:gd name="connsiteY2663" fmla="*/ 1783705 h 3211589"/>
              <a:gd name="connsiteX2664" fmla="*/ 15200 w 12182565"/>
              <a:gd name="connsiteY2664" fmla="*/ 1793305 h 3211589"/>
              <a:gd name="connsiteX2665" fmla="*/ 214080 w 12182565"/>
              <a:gd name="connsiteY2665" fmla="*/ 1775865 h 3211589"/>
              <a:gd name="connsiteX2666" fmla="*/ 539520 w 12182565"/>
              <a:gd name="connsiteY2666" fmla="*/ 1699065 h 3211589"/>
              <a:gd name="connsiteX2667" fmla="*/ 694560 w 12182565"/>
              <a:gd name="connsiteY2667" fmla="*/ 1660345 h 3211589"/>
              <a:gd name="connsiteX2668" fmla="*/ 663040 w 12182565"/>
              <a:gd name="connsiteY2668" fmla="*/ 1672825 h 3211589"/>
              <a:gd name="connsiteX2669" fmla="*/ 576960 w 12182565"/>
              <a:gd name="connsiteY2669" fmla="*/ 1705625 h 3211589"/>
              <a:gd name="connsiteX2670" fmla="*/ 411360 w 12182565"/>
              <a:gd name="connsiteY2670" fmla="*/ 1780505 h 3211589"/>
              <a:gd name="connsiteX2671" fmla="*/ 296960 w 12182565"/>
              <a:gd name="connsiteY2671" fmla="*/ 1836985 h 3211589"/>
              <a:gd name="connsiteX2672" fmla="*/ 16800 w 12182565"/>
              <a:gd name="connsiteY2672" fmla="*/ 1844505 h 3211589"/>
              <a:gd name="connsiteX2673" fmla="*/ 6880 w 12182565"/>
              <a:gd name="connsiteY2673" fmla="*/ 1850105 h 3211589"/>
              <a:gd name="connsiteX2674" fmla="*/ 12320 w 12182565"/>
              <a:gd name="connsiteY2674" fmla="*/ 1860025 h 3211589"/>
              <a:gd name="connsiteX2675" fmla="*/ 113600 w 12182565"/>
              <a:gd name="connsiteY2675" fmla="*/ 1877625 h 3211589"/>
              <a:gd name="connsiteX2676" fmla="*/ 97280 w 12182565"/>
              <a:gd name="connsiteY2676" fmla="*/ 1877625 h 3211589"/>
              <a:gd name="connsiteX2677" fmla="*/ 14400 w 12182565"/>
              <a:gd name="connsiteY2677" fmla="*/ 1879065 h 3211589"/>
              <a:gd name="connsiteX2678" fmla="*/ 6720 w 12182565"/>
              <a:gd name="connsiteY2678" fmla="*/ 1887385 h 3211589"/>
              <a:gd name="connsiteX2679" fmla="*/ 15040 w 12182565"/>
              <a:gd name="connsiteY2679" fmla="*/ 1895225 h 3211589"/>
              <a:gd name="connsiteX2680" fmla="*/ 172160 w 12182565"/>
              <a:gd name="connsiteY2680" fmla="*/ 1895705 h 3211589"/>
              <a:gd name="connsiteX2681" fmla="*/ 119520 w 12182565"/>
              <a:gd name="connsiteY2681" fmla="*/ 1903385 h 3211589"/>
              <a:gd name="connsiteX2682" fmla="*/ 13920 w 12182565"/>
              <a:gd name="connsiteY2682" fmla="*/ 1919385 h 3211589"/>
              <a:gd name="connsiteX2683" fmla="*/ 6720 w 12182565"/>
              <a:gd name="connsiteY2683" fmla="*/ 1928185 h 3211589"/>
              <a:gd name="connsiteX2684" fmla="*/ 15520 w 12182565"/>
              <a:gd name="connsiteY2684" fmla="*/ 1935385 h 3211589"/>
              <a:gd name="connsiteX2685" fmla="*/ 122560 w 12182565"/>
              <a:gd name="connsiteY2685" fmla="*/ 1919225 h 3211589"/>
              <a:gd name="connsiteX2686" fmla="*/ 205760 w 12182565"/>
              <a:gd name="connsiteY2686" fmla="*/ 1908665 h 3211589"/>
              <a:gd name="connsiteX2687" fmla="*/ 152640 w 12182565"/>
              <a:gd name="connsiteY2687" fmla="*/ 1931705 h 3211589"/>
              <a:gd name="connsiteX2688" fmla="*/ 148800 w 12182565"/>
              <a:gd name="connsiteY2688" fmla="*/ 1933625 h 3211589"/>
              <a:gd name="connsiteX2689" fmla="*/ 10240 w 12182565"/>
              <a:gd name="connsiteY2689" fmla="*/ 1963865 h 3211589"/>
              <a:gd name="connsiteX2690" fmla="*/ 3040 w 12182565"/>
              <a:gd name="connsiteY2690" fmla="*/ 1972665 h 3211589"/>
              <a:gd name="connsiteX2691" fmla="*/ 11840 w 12182565"/>
              <a:gd name="connsiteY2691" fmla="*/ 1979865 h 3211589"/>
              <a:gd name="connsiteX2692" fmla="*/ 155680 w 12182565"/>
              <a:gd name="connsiteY2692" fmla="*/ 1948025 h 3211589"/>
              <a:gd name="connsiteX2693" fmla="*/ 159520 w 12182565"/>
              <a:gd name="connsiteY2693" fmla="*/ 1946105 h 3211589"/>
              <a:gd name="connsiteX2694" fmla="*/ 303840 w 12182565"/>
              <a:gd name="connsiteY2694" fmla="*/ 1903225 h 3211589"/>
              <a:gd name="connsiteX2695" fmla="*/ 306880 w 12182565"/>
              <a:gd name="connsiteY2695" fmla="*/ 1903225 h 3211589"/>
              <a:gd name="connsiteX2696" fmla="*/ 309120 w 12182565"/>
              <a:gd name="connsiteY2696" fmla="*/ 1902745 h 3211589"/>
              <a:gd name="connsiteX2697" fmla="*/ 335360 w 12182565"/>
              <a:gd name="connsiteY2697" fmla="*/ 1900985 h 3211589"/>
              <a:gd name="connsiteX2698" fmla="*/ 196000 w 12182565"/>
              <a:gd name="connsiteY2698" fmla="*/ 1967865 h 3211589"/>
              <a:gd name="connsiteX2699" fmla="*/ 170560 w 12182565"/>
              <a:gd name="connsiteY2699" fmla="*/ 1982265 h 3211589"/>
              <a:gd name="connsiteX2700" fmla="*/ 11520 w 12182565"/>
              <a:gd name="connsiteY2700" fmla="*/ 2034105 h 3211589"/>
              <a:gd name="connsiteX2701" fmla="*/ 5120 w 12182565"/>
              <a:gd name="connsiteY2701" fmla="*/ 2043545 h 3211589"/>
              <a:gd name="connsiteX2702" fmla="*/ 14400 w 12182565"/>
              <a:gd name="connsiteY2702" fmla="*/ 2049945 h 3211589"/>
              <a:gd name="connsiteX2703" fmla="*/ 178240 w 12182565"/>
              <a:gd name="connsiteY2703" fmla="*/ 1996505 h 3211589"/>
              <a:gd name="connsiteX2704" fmla="*/ 203840 w 12182565"/>
              <a:gd name="connsiteY2704" fmla="*/ 1982105 h 3211589"/>
              <a:gd name="connsiteX2705" fmla="*/ 396160 w 12182565"/>
              <a:gd name="connsiteY2705" fmla="*/ 1899865 h 3211589"/>
              <a:gd name="connsiteX2706" fmla="*/ 158400 w 12182565"/>
              <a:gd name="connsiteY2706" fmla="*/ 2061465 h 3211589"/>
              <a:gd name="connsiteX2707" fmla="*/ 13600 w 12182565"/>
              <a:gd name="connsiteY2707" fmla="*/ 2148025 h 3211589"/>
              <a:gd name="connsiteX2708" fmla="*/ 8480 w 12182565"/>
              <a:gd name="connsiteY2708" fmla="*/ 2158265 h 3211589"/>
              <a:gd name="connsiteX2709" fmla="*/ 18560 w 12182565"/>
              <a:gd name="connsiteY2709" fmla="*/ 2163385 h 3211589"/>
              <a:gd name="connsiteX2710" fmla="*/ 169120 w 12182565"/>
              <a:gd name="connsiteY2710" fmla="*/ 2073465 h 3211589"/>
              <a:gd name="connsiteX2711" fmla="*/ 441920 w 12182565"/>
              <a:gd name="connsiteY2711" fmla="*/ 1902745 h 3211589"/>
              <a:gd name="connsiteX2712" fmla="*/ 508000 w 12182565"/>
              <a:gd name="connsiteY2712" fmla="*/ 1887385 h 3211589"/>
              <a:gd name="connsiteX2713" fmla="*/ 591040 w 12182565"/>
              <a:gd name="connsiteY2713" fmla="*/ 1868025 h 3211589"/>
              <a:gd name="connsiteX2714" fmla="*/ 528160 w 12182565"/>
              <a:gd name="connsiteY2714" fmla="*/ 1887225 h 3211589"/>
              <a:gd name="connsiteX2715" fmla="*/ 250400 w 12182565"/>
              <a:gd name="connsiteY2715" fmla="*/ 2093625 h 3211589"/>
              <a:gd name="connsiteX2716" fmla="*/ 205440 w 12182565"/>
              <a:gd name="connsiteY2716" fmla="*/ 2142585 h 3211589"/>
              <a:gd name="connsiteX2717" fmla="*/ 18240 w 12182565"/>
              <a:gd name="connsiteY2717" fmla="*/ 2283865 h 3211589"/>
              <a:gd name="connsiteX2718" fmla="*/ 10400 w 12182565"/>
              <a:gd name="connsiteY2718" fmla="*/ 2292025 h 3211589"/>
              <a:gd name="connsiteX2719" fmla="*/ 18400 w 12182565"/>
              <a:gd name="connsiteY2719" fmla="*/ 2300025 h 3211589"/>
              <a:gd name="connsiteX2720" fmla="*/ 217280 w 12182565"/>
              <a:gd name="connsiteY2720" fmla="*/ 2153625 h 3211589"/>
              <a:gd name="connsiteX2721" fmla="*/ 262400 w 12182565"/>
              <a:gd name="connsiteY2721" fmla="*/ 2104505 h 3211589"/>
              <a:gd name="connsiteX2722" fmla="*/ 532960 w 12182565"/>
              <a:gd name="connsiteY2722" fmla="*/ 1902585 h 3211589"/>
              <a:gd name="connsiteX2723" fmla="*/ 660480 w 12182565"/>
              <a:gd name="connsiteY2723" fmla="*/ 1863385 h 3211589"/>
              <a:gd name="connsiteX2724" fmla="*/ 592320 w 12182565"/>
              <a:gd name="connsiteY2724" fmla="*/ 1900505 h 3211589"/>
              <a:gd name="connsiteX2725" fmla="*/ 539040 w 12182565"/>
              <a:gd name="connsiteY2725" fmla="*/ 1929785 h 3211589"/>
              <a:gd name="connsiteX2726" fmla="*/ 244960 w 12182565"/>
              <a:gd name="connsiteY2726" fmla="*/ 2249625 h 3211589"/>
              <a:gd name="connsiteX2727" fmla="*/ 11680 w 12182565"/>
              <a:gd name="connsiteY2727" fmla="*/ 2460505 h 3211589"/>
              <a:gd name="connsiteX2728" fmla="*/ 6080 w 12182565"/>
              <a:gd name="connsiteY2728" fmla="*/ 2470425 h 3211589"/>
              <a:gd name="connsiteX2729" fmla="*/ 15840 w 12182565"/>
              <a:gd name="connsiteY2729" fmla="*/ 2476185 h 3211589"/>
              <a:gd name="connsiteX2730" fmla="*/ 259040 w 12182565"/>
              <a:gd name="connsiteY2730" fmla="*/ 2257305 h 3211589"/>
              <a:gd name="connsiteX2731" fmla="*/ 546400 w 12182565"/>
              <a:gd name="connsiteY2731" fmla="*/ 1944025 h 3211589"/>
              <a:gd name="connsiteX2732" fmla="*/ 600160 w 12182565"/>
              <a:gd name="connsiteY2732" fmla="*/ 1914585 h 3211589"/>
              <a:gd name="connsiteX2733" fmla="*/ 759200 w 12182565"/>
              <a:gd name="connsiteY2733" fmla="*/ 1838105 h 3211589"/>
              <a:gd name="connsiteX2734" fmla="*/ 595040 w 12182565"/>
              <a:gd name="connsiteY2734" fmla="*/ 1943865 h 3211589"/>
              <a:gd name="connsiteX2735" fmla="*/ 420000 w 12182565"/>
              <a:gd name="connsiteY2735" fmla="*/ 2204505 h 3211589"/>
              <a:gd name="connsiteX2736" fmla="*/ 333280 w 12182565"/>
              <a:gd name="connsiteY2736" fmla="*/ 2379865 h 3211589"/>
              <a:gd name="connsiteX2737" fmla="*/ 15520 w 12182565"/>
              <a:gd name="connsiteY2737" fmla="*/ 2573465 h 3211589"/>
              <a:gd name="connsiteX2738" fmla="*/ 8160 w 12182565"/>
              <a:gd name="connsiteY2738" fmla="*/ 2582105 h 3211589"/>
              <a:gd name="connsiteX2739" fmla="*/ 16800 w 12182565"/>
              <a:gd name="connsiteY2739" fmla="*/ 2589465 h 3211589"/>
              <a:gd name="connsiteX2740" fmla="*/ 347040 w 12182565"/>
              <a:gd name="connsiteY2740" fmla="*/ 2387865 h 3211589"/>
              <a:gd name="connsiteX2741" fmla="*/ 434560 w 12182565"/>
              <a:gd name="connsiteY2741" fmla="*/ 2211065 h 3211589"/>
              <a:gd name="connsiteX2742" fmla="*/ 604640 w 12182565"/>
              <a:gd name="connsiteY2742" fmla="*/ 1956665 h 3211589"/>
              <a:gd name="connsiteX2743" fmla="*/ 809920 w 12182565"/>
              <a:gd name="connsiteY2743" fmla="*/ 1832825 h 3211589"/>
              <a:gd name="connsiteX2744" fmla="*/ 631520 w 12182565"/>
              <a:gd name="connsiteY2744" fmla="*/ 2069305 h 3211589"/>
              <a:gd name="connsiteX2745" fmla="*/ 625760 w 12182565"/>
              <a:gd name="connsiteY2745" fmla="*/ 2083225 h 3211589"/>
              <a:gd name="connsiteX2746" fmla="*/ 617600 w 12182565"/>
              <a:gd name="connsiteY2746" fmla="*/ 2102425 h 3211589"/>
              <a:gd name="connsiteX2747" fmla="*/ 466720 w 12182565"/>
              <a:gd name="connsiteY2747" fmla="*/ 2412185 h 3211589"/>
              <a:gd name="connsiteX2748" fmla="*/ 160160 w 12182565"/>
              <a:gd name="connsiteY2748" fmla="*/ 2556185 h 3211589"/>
              <a:gd name="connsiteX2749" fmla="*/ 12000 w 12182565"/>
              <a:gd name="connsiteY2749" fmla="*/ 2612825 h 3211589"/>
              <a:gd name="connsiteX2750" fmla="*/ 8960 w 12182565"/>
              <a:gd name="connsiteY2750" fmla="*/ 2623865 h 3211589"/>
              <a:gd name="connsiteX2751" fmla="*/ 19840 w 12182565"/>
              <a:gd name="connsiteY2751" fmla="*/ 2626905 h 3211589"/>
              <a:gd name="connsiteX2752" fmla="*/ 162400 w 12182565"/>
              <a:gd name="connsiteY2752" fmla="*/ 2572185 h 3211589"/>
              <a:gd name="connsiteX2753" fmla="*/ 293280 w 12182565"/>
              <a:gd name="connsiteY2753" fmla="*/ 2544505 h 3211589"/>
              <a:gd name="connsiteX2754" fmla="*/ 173280 w 12182565"/>
              <a:gd name="connsiteY2754" fmla="*/ 2605625 h 3211589"/>
              <a:gd name="connsiteX2755" fmla="*/ 14560 w 12182565"/>
              <a:gd name="connsiteY2755" fmla="*/ 2699065 h 3211589"/>
              <a:gd name="connsiteX2756" fmla="*/ 11200 w 12182565"/>
              <a:gd name="connsiteY2756" fmla="*/ 2709945 h 3211589"/>
              <a:gd name="connsiteX2757" fmla="*/ 22080 w 12182565"/>
              <a:gd name="connsiteY2757" fmla="*/ 2713305 h 3211589"/>
              <a:gd name="connsiteX2758" fmla="*/ 181920 w 12182565"/>
              <a:gd name="connsiteY2758" fmla="*/ 2618905 h 3211589"/>
              <a:gd name="connsiteX2759" fmla="*/ 438720 w 12182565"/>
              <a:gd name="connsiteY2759" fmla="*/ 2508985 h 3211589"/>
              <a:gd name="connsiteX2760" fmla="*/ 208640 w 12182565"/>
              <a:gd name="connsiteY2760" fmla="*/ 2692985 h 3211589"/>
              <a:gd name="connsiteX2761" fmla="*/ 8320 w 12182565"/>
              <a:gd name="connsiteY2761" fmla="*/ 2867865 h 3211589"/>
              <a:gd name="connsiteX2762" fmla="*/ 6400 w 12182565"/>
              <a:gd name="connsiteY2762" fmla="*/ 2879065 h 3211589"/>
              <a:gd name="connsiteX2763" fmla="*/ 17600 w 12182565"/>
              <a:gd name="connsiteY2763" fmla="*/ 2880985 h 3211589"/>
              <a:gd name="connsiteX2764" fmla="*/ 220480 w 12182565"/>
              <a:gd name="connsiteY2764" fmla="*/ 2703705 h 3211589"/>
              <a:gd name="connsiteX2765" fmla="*/ 483840 w 12182565"/>
              <a:gd name="connsiteY2765" fmla="*/ 2507705 h 3211589"/>
              <a:gd name="connsiteX2766" fmla="*/ 830560 w 12182565"/>
              <a:gd name="connsiteY2766" fmla="*/ 2245625 h 3211589"/>
              <a:gd name="connsiteX2767" fmla="*/ 854080 w 12182565"/>
              <a:gd name="connsiteY2767" fmla="*/ 2101945 h 3211589"/>
              <a:gd name="connsiteX2768" fmla="*/ 881760 w 12182565"/>
              <a:gd name="connsiteY2768" fmla="*/ 1943705 h 3211589"/>
              <a:gd name="connsiteX2769" fmla="*/ 996480 w 12182565"/>
              <a:gd name="connsiteY2769" fmla="*/ 1775865 h 3211589"/>
              <a:gd name="connsiteX2770" fmla="*/ 996640 w 12182565"/>
              <a:gd name="connsiteY2770" fmla="*/ 1775705 h 3211589"/>
              <a:gd name="connsiteX2771" fmla="*/ 1217280 w 12182565"/>
              <a:gd name="connsiteY2771" fmla="*/ 1645305 h 3211589"/>
              <a:gd name="connsiteX2772" fmla="*/ 1409280 w 12182565"/>
              <a:gd name="connsiteY2772" fmla="*/ 1510905 h 3211589"/>
              <a:gd name="connsiteX2773" fmla="*/ 1575840 w 12182565"/>
              <a:gd name="connsiteY2773" fmla="*/ 1395065 h 3211589"/>
              <a:gd name="connsiteX2774" fmla="*/ 1797280 w 12182565"/>
              <a:gd name="connsiteY2774" fmla="*/ 1085945 h 3211589"/>
              <a:gd name="connsiteX2775" fmla="*/ 2152640 w 12182565"/>
              <a:gd name="connsiteY2775" fmla="*/ 572825 h 3211589"/>
              <a:gd name="connsiteX2776" fmla="*/ 2605920 w 12182565"/>
              <a:gd name="connsiteY2776" fmla="*/ 350585 h 3211589"/>
              <a:gd name="connsiteX2777" fmla="*/ 2932640 w 12182565"/>
              <a:gd name="connsiteY2777" fmla="*/ 224505 h 3211589"/>
              <a:gd name="connsiteX2778" fmla="*/ 3449280 w 12182565"/>
              <a:gd name="connsiteY2778" fmla="*/ 210905 h 3211589"/>
              <a:gd name="connsiteX2779" fmla="*/ 3900000 w 12182565"/>
              <a:gd name="connsiteY2779" fmla="*/ 380025 h 3211589"/>
              <a:gd name="connsiteX2780" fmla="*/ 4065280 w 12182565"/>
              <a:gd name="connsiteY2780" fmla="*/ 510265 h 3211589"/>
              <a:gd name="connsiteX2781" fmla="*/ 4100160 w 12182565"/>
              <a:gd name="connsiteY2781" fmla="*/ 546425 h 3211589"/>
              <a:gd name="connsiteX2782" fmla="*/ 4115200 w 12182565"/>
              <a:gd name="connsiteY2782" fmla="*/ 568665 h 3211589"/>
              <a:gd name="connsiteX2783" fmla="*/ 4084800 w 12182565"/>
              <a:gd name="connsiteY2783" fmla="*/ 535705 h 3211589"/>
              <a:gd name="connsiteX2784" fmla="*/ 3839680 w 12182565"/>
              <a:gd name="connsiteY2784" fmla="*/ 371545 h 3211589"/>
              <a:gd name="connsiteX2785" fmla="*/ 3348000 w 12182565"/>
              <a:gd name="connsiteY2785" fmla="*/ 271865 h 3211589"/>
              <a:gd name="connsiteX2786" fmla="*/ 3323040 w 12182565"/>
              <a:gd name="connsiteY2786" fmla="*/ 271545 h 3211589"/>
              <a:gd name="connsiteX2787" fmla="*/ 2793600 w 12182565"/>
              <a:gd name="connsiteY2787" fmla="*/ 366425 h 3211589"/>
              <a:gd name="connsiteX2788" fmla="*/ 2766400 w 12182565"/>
              <a:gd name="connsiteY2788" fmla="*/ 374585 h 3211589"/>
              <a:gd name="connsiteX2789" fmla="*/ 2277760 w 12182565"/>
              <a:gd name="connsiteY2789" fmla="*/ 589625 h 3211589"/>
              <a:gd name="connsiteX2790" fmla="*/ 1948000 w 12182565"/>
              <a:gd name="connsiteY2790" fmla="*/ 1012825 h 3211589"/>
              <a:gd name="connsiteX2791" fmla="*/ 1943680 w 12182565"/>
              <a:gd name="connsiteY2791" fmla="*/ 1021785 h 3211589"/>
              <a:gd name="connsiteX2792" fmla="*/ 1939840 w 12182565"/>
              <a:gd name="connsiteY2792" fmla="*/ 1028985 h 3211589"/>
              <a:gd name="connsiteX2793" fmla="*/ 1862560 w 12182565"/>
              <a:gd name="connsiteY2793" fmla="*/ 1155225 h 3211589"/>
              <a:gd name="connsiteX2794" fmla="*/ 1819680 w 12182565"/>
              <a:gd name="connsiteY2794" fmla="*/ 1203225 h 3211589"/>
              <a:gd name="connsiteX2795" fmla="*/ 1613120 w 12182565"/>
              <a:gd name="connsiteY2795" fmla="*/ 1444185 h 3211589"/>
              <a:gd name="connsiteX2796" fmla="*/ 1182720 w 12182565"/>
              <a:gd name="connsiteY2796" fmla="*/ 1698905 h 3211589"/>
              <a:gd name="connsiteX2797" fmla="*/ 1110720 w 12182565"/>
              <a:gd name="connsiteY2797" fmla="*/ 1725145 h 3211589"/>
              <a:gd name="connsiteX2798" fmla="*/ 931360 w 12182565"/>
              <a:gd name="connsiteY2798" fmla="*/ 2034745 h 3211589"/>
              <a:gd name="connsiteX2799" fmla="*/ 881120 w 12182565"/>
              <a:gd name="connsiteY2799" fmla="*/ 2259705 h 3211589"/>
              <a:gd name="connsiteX2800" fmla="*/ 547200 w 12182565"/>
              <a:gd name="connsiteY2800" fmla="*/ 2484505 h 3211589"/>
              <a:gd name="connsiteX2801" fmla="*/ 234720 w 12182565"/>
              <a:gd name="connsiteY2801" fmla="*/ 2822745 h 3211589"/>
              <a:gd name="connsiteX2802" fmla="*/ 9760 w 12182565"/>
              <a:gd name="connsiteY2802" fmla="*/ 3087385 h 3211589"/>
              <a:gd name="connsiteX2803" fmla="*/ 6560 w 12182565"/>
              <a:gd name="connsiteY2803" fmla="*/ 3098265 h 3211589"/>
              <a:gd name="connsiteX2804" fmla="*/ 17440 w 12182565"/>
              <a:gd name="connsiteY2804" fmla="*/ 3101465 h 3211589"/>
              <a:gd name="connsiteX2805" fmla="*/ 250080 w 12182565"/>
              <a:gd name="connsiteY2805" fmla="*/ 2827385 h 3211589"/>
              <a:gd name="connsiteX2806" fmla="*/ 552480 w 12182565"/>
              <a:gd name="connsiteY2806" fmla="*/ 2499865 h 3211589"/>
              <a:gd name="connsiteX2807" fmla="*/ 895040 w 12182565"/>
              <a:gd name="connsiteY2807" fmla="*/ 2267865 h 3211589"/>
              <a:gd name="connsiteX2808" fmla="*/ 947360 w 12182565"/>
              <a:gd name="connsiteY2808" fmla="*/ 2036025 h 3211589"/>
              <a:gd name="connsiteX2809" fmla="*/ 1116480 w 12182565"/>
              <a:gd name="connsiteY2809" fmla="*/ 1740345 h 3211589"/>
              <a:gd name="connsiteX2810" fmla="*/ 1188000 w 12182565"/>
              <a:gd name="connsiteY2810" fmla="*/ 1714265 h 3211589"/>
              <a:gd name="connsiteX2811" fmla="*/ 1625440 w 12182565"/>
              <a:gd name="connsiteY2811" fmla="*/ 1454425 h 3211589"/>
              <a:gd name="connsiteX2812" fmla="*/ 1831360 w 12182565"/>
              <a:gd name="connsiteY2812" fmla="*/ 1214265 h 3211589"/>
              <a:gd name="connsiteX2813" fmla="*/ 1874720 w 12182565"/>
              <a:gd name="connsiteY2813" fmla="*/ 1165625 h 3211589"/>
              <a:gd name="connsiteX2814" fmla="*/ 1953920 w 12182565"/>
              <a:gd name="connsiteY2814" fmla="*/ 1036665 h 3211589"/>
              <a:gd name="connsiteX2815" fmla="*/ 1957600 w 12182565"/>
              <a:gd name="connsiteY2815" fmla="*/ 1029465 h 3211589"/>
              <a:gd name="connsiteX2816" fmla="*/ 1962240 w 12182565"/>
              <a:gd name="connsiteY2816" fmla="*/ 1019865 h 3211589"/>
              <a:gd name="connsiteX2817" fmla="*/ 2286240 w 12182565"/>
              <a:gd name="connsiteY2817" fmla="*/ 603225 h 3211589"/>
              <a:gd name="connsiteX2818" fmla="*/ 2770720 w 12182565"/>
              <a:gd name="connsiteY2818" fmla="*/ 390105 h 3211589"/>
              <a:gd name="connsiteX2819" fmla="*/ 2798080 w 12182565"/>
              <a:gd name="connsiteY2819" fmla="*/ 381945 h 3211589"/>
              <a:gd name="connsiteX2820" fmla="*/ 3347680 w 12182565"/>
              <a:gd name="connsiteY2820" fmla="*/ 288025 h 3211589"/>
              <a:gd name="connsiteX2821" fmla="*/ 3833120 w 12182565"/>
              <a:gd name="connsiteY2821" fmla="*/ 386425 h 3211589"/>
              <a:gd name="connsiteX2822" fmla="*/ 4074080 w 12182565"/>
              <a:gd name="connsiteY2822" fmla="*/ 547865 h 3211589"/>
              <a:gd name="connsiteX2823" fmla="*/ 4191680 w 12182565"/>
              <a:gd name="connsiteY2823" fmla="*/ 683225 h 3211589"/>
              <a:gd name="connsiteX2824" fmla="*/ 4222720 w 12182565"/>
              <a:gd name="connsiteY2824" fmla="*/ 752505 h 3211589"/>
              <a:gd name="connsiteX2825" fmla="*/ 4053440 w 12182565"/>
              <a:gd name="connsiteY2825" fmla="*/ 575545 h 3211589"/>
              <a:gd name="connsiteX2826" fmla="*/ 3491840 w 12182565"/>
              <a:gd name="connsiteY2826" fmla="*/ 356985 h 3211589"/>
              <a:gd name="connsiteX2827" fmla="*/ 3454880 w 12182565"/>
              <a:gd name="connsiteY2827" fmla="*/ 356505 h 3211589"/>
              <a:gd name="connsiteX2828" fmla="*/ 2921440 w 12182565"/>
              <a:gd name="connsiteY2828" fmla="*/ 437465 h 3211589"/>
              <a:gd name="connsiteX2829" fmla="*/ 2797920 w 12182565"/>
              <a:gd name="connsiteY2829" fmla="*/ 470105 h 3211589"/>
              <a:gd name="connsiteX2830" fmla="*/ 2437600 w 12182565"/>
              <a:gd name="connsiteY2830" fmla="*/ 580185 h 3211589"/>
              <a:gd name="connsiteX2831" fmla="*/ 2139200 w 12182565"/>
              <a:gd name="connsiteY2831" fmla="*/ 856185 h 3211589"/>
              <a:gd name="connsiteX2832" fmla="*/ 1945120 w 12182565"/>
              <a:gd name="connsiteY2832" fmla="*/ 1118905 h 3211589"/>
              <a:gd name="connsiteX2833" fmla="*/ 1823680 w 12182565"/>
              <a:gd name="connsiteY2833" fmla="*/ 1291705 h 3211589"/>
              <a:gd name="connsiteX2834" fmla="*/ 1726400 w 12182565"/>
              <a:gd name="connsiteY2834" fmla="*/ 1455865 h 3211589"/>
              <a:gd name="connsiteX2835" fmla="*/ 1427680 w 12182565"/>
              <a:gd name="connsiteY2835" fmla="*/ 1663865 h 3211589"/>
              <a:gd name="connsiteX2836" fmla="*/ 1378720 w 12182565"/>
              <a:gd name="connsiteY2836" fmla="*/ 1672665 h 3211589"/>
              <a:gd name="connsiteX2837" fmla="*/ 1162720 w 12182565"/>
              <a:gd name="connsiteY2837" fmla="*/ 1725945 h 3211589"/>
              <a:gd name="connsiteX2838" fmla="*/ 1024640 w 12182565"/>
              <a:gd name="connsiteY2838" fmla="*/ 1985945 h 3211589"/>
              <a:gd name="connsiteX2839" fmla="*/ 970720 w 12182565"/>
              <a:gd name="connsiteY2839" fmla="*/ 2138745 h 3211589"/>
              <a:gd name="connsiteX2840" fmla="*/ 935360 w 12182565"/>
              <a:gd name="connsiteY2840" fmla="*/ 2212505 h 3211589"/>
              <a:gd name="connsiteX2841" fmla="*/ 914720 w 12182565"/>
              <a:gd name="connsiteY2841" fmla="*/ 2261945 h 3211589"/>
              <a:gd name="connsiteX2842" fmla="*/ 777120 w 12182565"/>
              <a:gd name="connsiteY2842" fmla="*/ 2407225 h 3211589"/>
              <a:gd name="connsiteX2843" fmla="*/ 500160 w 12182565"/>
              <a:gd name="connsiteY2843" fmla="*/ 2633145 h 3211589"/>
              <a:gd name="connsiteX2844" fmla="*/ 331840 w 12182565"/>
              <a:gd name="connsiteY2844" fmla="*/ 2910265 h 3211589"/>
              <a:gd name="connsiteX2845" fmla="*/ 209280 w 12182565"/>
              <a:gd name="connsiteY2845" fmla="*/ 3108025 h 3211589"/>
              <a:gd name="connsiteX2846" fmla="*/ 98720 w 12182565"/>
              <a:gd name="connsiteY2846" fmla="*/ 3197145 h 3211589"/>
              <a:gd name="connsiteX2847" fmla="*/ 108640 w 12182565"/>
              <a:gd name="connsiteY2847" fmla="*/ 3209785 h 3211589"/>
              <a:gd name="connsiteX2848" fmla="*/ 218720 w 12182565"/>
              <a:gd name="connsiteY2848" fmla="*/ 3120825 h 3211589"/>
              <a:gd name="connsiteX2849" fmla="*/ 346880 w 12182565"/>
              <a:gd name="connsiteY2849" fmla="*/ 2914745 h 3211589"/>
              <a:gd name="connsiteX2850" fmla="*/ 510400 w 12182565"/>
              <a:gd name="connsiteY2850" fmla="*/ 2645625 h 3211589"/>
              <a:gd name="connsiteX2851" fmla="*/ 786560 w 12182565"/>
              <a:gd name="connsiteY2851" fmla="*/ 2420345 h 3211589"/>
              <a:gd name="connsiteX2852" fmla="*/ 929120 w 12182565"/>
              <a:gd name="connsiteY2852" fmla="*/ 2268665 h 3211589"/>
              <a:gd name="connsiteX2853" fmla="*/ 949920 w 12182565"/>
              <a:gd name="connsiteY2853" fmla="*/ 2218905 h 3211589"/>
              <a:gd name="connsiteX2854" fmla="*/ 983680 w 12182565"/>
              <a:gd name="connsiteY2854" fmla="*/ 2148185 h 3211589"/>
              <a:gd name="connsiteX2855" fmla="*/ 1040480 w 12182565"/>
              <a:gd name="connsiteY2855" fmla="*/ 1986265 h 3211589"/>
              <a:gd name="connsiteX2856" fmla="*/ 1167840 w 12182565"/>
              <a:gd name="connsiteY2856" fmla="*/ 1741465 h 3211589"/>
              <a:gd name="connsiteX2857" fmla="*/ 1272160 w 12182565"/>
              <a:gd name="connsiteY2857" fmla="*/ 1712025 h 3211589"/>
              <a:gd name="connsiteX2858" fmla="*/ 1138240 w 12182565"/>
              <a:gd name="connsiteY2858" fmla="*/ 1909625 h 3211589"/>
              <a:gd name="connsiteX2859" fmla="*/ 1031040 w 12182565"/>
              <a:gd name="connsiteY2859" fmla="*/ 2109465 h 3211589"/>
              <a:gd name="connsiteX2860" fmla="*/ 951520 w 12182565"/>
              <a:gd name="connsiteY2860" fmla="*/ 2306745 h 3211589"/>
              <a:gd name="connsiteX2861" fmla="*/ 899040 w 12182565"/>
              <a:gd name="connsiteY2861" fmla="*/ 2448985 h 3211589"/>
              <a:gd name="connsiteX2862" fmla="*/ 636000 w 12182565"/>
              <a:gd name="connsiteY2862" fmla="*/ 2678905 h 3211589"/>
              <a:gd name="connsiteX2863" fmla="*/ 450400 w 12182565"/>
              <a:gd name="connsiteY2863" fmla="*/ 2914905 h 3211589"/>
              <a:gd name="connsiteX2864" fmla="*/ 290240 w 12182565"/>
              <a:gd name="connsiteY2864" fmla="*/ 3118425 h 3211589"/>
              <a:gd name="connsiteX2865" fmla="*/ 200640 w 12182565"/>
              <a:gd name="connsiteY2865" fmla="*/ 3192985 h 3211589"/>
              <a:gd name="connsiteX2866" fmla="*/ 201120 w 12182565"/>
              <a:gd name="connsiteY2866" fmla="*/ 3204345 h 3211589"/>
              <a:gd name="connsiteX2867" fmla="*/ 212480 w 12182565"/>
              <a:gd name="connsiteY2867" fmla="*/ 3203865 h 3211589"/>
              <a:gd name="connsiteX2868" fmla="*/ 296640 w 12182565"/>
              <a:gd name="connsiteY2868" fmla="*/ 3133305 h 3211589"/>
              <a:gd name="connsiteX2869" fmla="*/ 464800 w 12182565"/>
              <a:gd name="connsiteY2869" fmla="*/ 2922265 h 3211589"/>
              <a:gd name="connsiteX2870" fmla="*/ 646080 w 12182565"/>
              <a:gd name="connsiteY2870" fmla="*/ 2691705 h 3211589"/>
              <a:gd name="connsiteX2871" fmla="*/ 910880 w 12182565"/>
              <a:gd name="connsiteY2871" fmla="*/ 2460345 h 3211589"/>
              <a:gd name="connsiteX2872" fmla="*/ 967840 w 12182565"/>
              <a:gd name="connsiteY2872" fmla="*/ 2307065 h 3211589"/>
              <a:gd name="connsiteX2873" fmla="*/ 1042880 w 12182565"/>
              <a:gd name="connsiteY2873" fmla="*/ 2120825 h 3211589"/>
              <a:gd name="connsiteX2874" fmla="*/ 1154560 w 12182565"/>
              <a:gd name="connsiteY2874" fmla="*/ 1911225 h 3211589"/>
              <a:gd name="connsiteX2875" fmla="*/ 1383360 w 12182565"/>
              <a:gd name="connsiteY2875" fmla="*/ 1688505 h 3211589"/>
              <a:gd name="connsiteX2876" fmla="*/ 1429920 w 12182565"/>
              <a:gd name="connsiteY2876" fmla="*/ 1680185 h 3211589"/>
              <a:gd name="connsiteX2877" fmla="*/ 1430720 w 12182565"/>
              <a:gd name="connsiteY2877" fmla="*/ 1680025 h 3211589"/>
              <a:gd name="connsiteX2878" fmla="*/ 1782880 w 12182565"/>
              <a:gd name="connsiteY2878" fmla="*/ 1532665 h 3211589"/>
              <a:gd name="connsiteX2879" fmla="*/ 1901440 w 12182565"/>
              <a:gd name="connsiteY2879" fmla="*/ 1346425 h 3211589"/>
              <a:gd name="connsiteX2880" fmla="*/ 1925760 w 12182565"/>
              <a:gd name="connsiteY2880" fmla="*/ 1290265 h 3211589"/>
              <a:gd name="connsiteX2881" fmla="*/ 1960640 w 12182565"/>
              <a:gd name="connsiteY2881" fmla="*/ 1223545 h 3211589"/>
              <a:gd name="connsiteX2882" fmla="*/ 2052000 w 12182565"/>
              <a:gd name="connsiteY2882" fmla="*/ 1085465 h 3211589"/>
              <a:gd name="connsiteX2883" fmla="*/ 2247200 w 12182565"/>
              <a:gd name="connsiteY2883" fmla="*/ 858105 h 3211589"/>
              <a:gd name="connsiteX2884" fmla="*/ 2251360 w 12182565"/>
              <a:gd name="connsiteY2884" fmla="*/ 852345 h 3211589"/>
              <a:gd name="connsiteX2885" fmla="*/ 2600000 w 12182565"/>
              <a:gd name="connsiteY2885" fmla="*/ 614905 h 3211589"/>
              <a:gd name="connsiteX2886" fmla="*/ 3101760 w 12182565"/>
              <a:gd name="connsiteY2886" fmla="*/ 490585 h 3211589"/>
              <a:gd name="connsiteX2887" fmla="*/ 3523680 w 12182565"/>
              <a:gd name="connsiteY2887" fmla="*/ 467385 h 3211589"/>
              <a:gd name="connsiteX2888" fmla="*/ 3993440 w 12182565"/>
              <a:gd name="connsiteY2888" fmla="*/ 631865 h 3211589"/>
              <a:gd name="connsiteX2889" fmla="*/ 4294881 w 12182565"/>
              <a:gd name="connsiteY2889" fmla="*/ 887545 h 3211589"/>
              <a:gd name="connsiteX2890" fmla="*/ 4345760 w 12182565"/>
              <a:gd name="connsiteY2890" fmla="*/ 930745 h 3211589"/>
              <a:gd name="connsiteX2891" fmla="*/ 4337760 w 12182565"/>
              <a:gd name="connsiteY2891" fmla="*/ 927065 h 3211589"/>
              <a:gd name="connsiteX2892" fmla="*/ 4108960 w 12182565"/>
              <a:gd name="connsiteY2892" fmla="*/ 769625 h 3211589"/>
              <a:gd name="connsiteX2893" fmla="*/ 4096800 w 12182565"/>
              <a:gd name="connsiteY2893" fmla="*/ 760345 h 3211589"/>
              <a:gd name="connsiteX2894" fmla="*/ 3796800 w 12182565"/>
              <a:gd name="connsiteY2894" fmla="*/ 596505 h 3211589"/>
              <a:gd name="connsiteX2895" fmla="*/ 3283040 w 12182565"/>
              <a:gd name="connsiteY2895" fmla="*/ 533465 h 3211589"/>
              <a:gd name="connsiteX2896" fmla="*/ 3167520 w 12182565"/>
              <a:gd name="connsiteY2896" fmla="*/ 552345 h 3211589"/>
              <a:gd name="connsiteX2897" fmla="*/ 2975520 w 12182565"/>
              <a:gd name="connsiteY2897" fmla="*/ 580985 h 3211589"/>
              <a:gd name="connsiteX2898" fmla="*/ 2632160 w 12182565"/>
              <a:gd name="connsiteY2898" fmla="*/ 646265 h 3211589"/>
              <a:gd name="connsiteX2899" fmla="*/ 2353760 w 12182565"/>
              <a:gd name="connsiteY2899" fmla="*/ 827705 h 3211589"/>
              <a:gd name="connsiteX2900" fmla="*/ 2333440 w 12182565"/>
              <a:gd name="connsiteY2900" fmla="*/ 848345 h 3211589"/>
              <a:gd name="connsiteX2901" fmla="*/ 2280800 w 12182565"/>
              <a:gd name="connsiteY2901" fmla="*/ 906905 h 3211589"/>
              <a:gd name="connsiteX2902" fmla="*/ 2182240 w 12182565"/>
              <a:gd name="connsiteY2902" fmla="*/ 1007705 h 3211589"/>
              <a:gd name="connsiteX2903" fmla="*/ 2072640 w 12182565"/>
              <a:gd name="connsiteY2903" fmla="*/ 1138585 h 3211589"/>
              <a:gd name="connsiteX2904" fmla="*/ 2012480 w 12182565"/>
              <a:gd name="connsiteY2904" fmla="*/ 1222425 h 3211589"/>
              <a:gd name="connsiteX2905" fmla="*/ 1878400 w 12182565"/>
              <a:gd name="connsiteY2905" fmla="*/ 1468025 h 3211589"/>
              <a:gd name="connsiteX2906" fmla="*/ 1466400 w 12182565"/>
              <a:gd name="connsiteY2906" fmla="*/ 1675705 h 3211589"/>
              <a:gd name="connsiteX2907" fmla="*/ 1382240 w 12182565"/>
              <a:gd name="connsiteY2907" fmla="*/ 1697625 h 3211589"/>
              <a:gd name="connsiteX2908" fmla="*/ 1215200 w 12182565"/>
              <a:gd name="connsiteY2908" fmla="*/ 1891225 h 3211589"/>
              <a:gd name="connsiteX2909" fmla="*/ 1116640 w 12182565"/>
              <a:gd name="connsiteY2909" fmla="*/ 2086745 h 3211589"/>
              <a:gd name="connsiteX2910" fmla="*/ 1096960 w 12182565"/>
              <a:gd name="connsiteY2910" fmla="*/ 2339865 h 3211589"/>
              <a:gd name="connsiteX2911" fmla="*/ 1004480 w 12182565"/>
              <a:gd name="connsiteY2911" fmla="*/ 2561945 h 3211589"/>
              <a:gd name="connsiteX2912" fmla="*/ 800000 w 12182565"/>
              <a:gd name="connsiteY2912" fmla="*/ 2697465 h 3211589"/>
              <a:gd name="connsiteX2913" fmla="*/ 730400 w 12182565"/>
              <a:gd name="connsiteY2913" fmla="*/ 2744985 h 3211589"/>
              <a:gd name="connsiteX2914" fmla="*/ 523200 w 12182565"/>
              <a:gd name="connsiteY2914" fmla="*/ 2982105 h 3211589"/>
              <a:gd name="connsiteX2915" fmla="*/ 273920 w 12182565"/>
              <a:gd name="connsiteY2915" fmla="*/ 3193465 h 3211589"/>
              <a:gd name="connsiteX2916" fmla="*/ 271680 w 12182565"/>
              <a:gd name="connsiteY2916" fmla="*/ 3204665 h 3211589"/>
              <a:gd name="connsiteX2917" fmla="*/ 282720 w 12182565"/>
              <a:gd name="connsiteY2917" fmla="*/ 3206905 h 3211589"/>
              <a:gd name="connsiteX2918" fmla="*/ 536480 w 12182565"/>
              <a:gd name="connsiteY2918" fmla="*/ 2992345 h 3211589"/>
              <a:gd name="connsiteX2919" fmla="*/ 739680 w 12182565"/>
              <a:gd name="connsiteY2919" fmla="*/ 2758905 h 3211589"/>
              <a:gd name="connsiteX2920" fmla="*/ 809440 w 12182565"/>
              <a:gd name="connsiteY2920" fmla="*/ 2711225 h 3211589"/>
              <a:gd name="connsiteX2921" fmla="*/ 1012800 w 12182565"/>
              <a:gd name="connsiteY2921" fmla="*/ 2576345 h 3211589"/>
              <a:gd name="connsiteX2922" fmla="*/ 1113120 w 12182565"/>
              <a:gd name="connsiteY2922" fmla="*/ 2337785 h 3211589"/>
              <a:gd name="connsiteX2923" fmla="*/ 1130720 w 12182565"/>
              <a:gd name="connsiteY2923" fmla="*/ 2095385 h 3211589"/>
              <a:gd name="connsiteX2924" fmla="*/ 1231040 w 12182565"/>
              <a:gd name="connsiteY2924" fmla="*/ 1895385 h 3211589"/>
              <a:gd name="connsiteX2925" fmla="*/ 1387360 w 12182565"/>
              <a:gd name="connsiteY2925" fmla="*/ 1713465 h 3211589"/>
              <a:gd name="connsiteX2926" fmla="*/ 1470400 w 12182565"/>
              <a:gd name="connsiteY2926" fmla="*/ 1691865 h 3211589"/>
              <a:gd name="connsiteX2927" fmla="*/ 1628800 w 12182565"/>
              <a:gd name="connsiteY2927" fmla="*/ 1647065 h 3211589"/>
              <a:gd name="connsiteX2928" fmla="*/ 1491520 w 12182565"/>
              <a:gd name="connsiteY2928" fmla="*/ 1698745 h 3211589"/>
              <a:gd name="connsiteX2929" fmla="*/ 1261120 w 12182565"/>
              <a:gd name="connsiteY2929" fmla="*/ 1903385 h 3211589"/>
              <a:gd name="connsiteX2930" fmla="*/ 1253760 w 12182565"/>
              <a:gd name="connsiteY2930" fmla="*/ 1934585 h 3211589"/>
              <a:gd name="connsiteX2931" fmla="*/ 1207840 w 12182565"/>
              <a:gd name="connsiteY2931" fmla="*/ 2072825 h 3211589"/>
              <a:gd name="connsiteX2932" fmla="*/ 1260960 w 12182565"/>
              <a:gd name="connsiteY2932" fmla="*/ 2414105 h 3211589"/>
              <a:gd name="connsiteX2933" fmla="*/ 1260320 w 12182565"/>
              <a:gd name="connsiteY2933" fmla="*/ 2542265 h 3211589"/>
              <a:gd name="connsiteX2934" fmla="*/ 1072800 w 12182565"/>
              <a:gd name="connsiteY2934" fmla="*/ 2699385 h 3211589"/>
              <a:gd name="connsiteX2935" fmla="*/ 828960 w 12182565"/>
              <a:gd name="connsiteY2935" fmla="*/ 2843065 h 3211589"/>
              <a:gd name="connsiteX2936" fmla="*/ 786400 w 12182565"/>
              <a:gd name="connsiteY2936" fmla="*/ 2874585 h 3211589"/>
              <a:gd name="connsiteX2937" fmla="*/ 715200 w 12182565"/>
              <a:gd name="connsiteY2937" fmla="*/ 2942905 h 3211589"/>
              <a:gd name="connsiteX2938" fmla="*/ 559360 w 12182565"/>
              <a:gd name="connsiteY2938" fmla="*/ 3074585 h 3211589"/>
              <a:gd name="connsiteX2939" fmla="*/ 347520 w 12182565"/>
              <a:gd name="connsiteY2939" fmla="*/ 3196985 h 3211589"/>
              <a:gd name="connsiteX2940" fmla="*/ 345440 w 12182565"/>
              <a:gd name="connsiteY2940" fmla="*/ 3208185 h 3211589"/>
              <a:gd name="connsiteX2941" fmla="*/ 356480 w 12182565"/>
              <a:gd name="connsiteY2941" fmla="*/ 3210265 h 321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Lst>
            <a:rect l="l" t="t" r="r" b="b"/>
            <a:pathLst>
              <a:path w="12182565" h="3211589">
                <a:moveTo>
                  <a:pt x="22240" y="152825"/>
                </a:moveTo>
                <a:cubicBezTo>
                  <a:pt x="24400" y="151705"/>
                  <a:pt x="133920" y="92585"/>
                  <a:pt x="280660" y="23785"/>
                </a:cubicBezTo>
                <a:lnTo>
                  <a:pt x="335159" y="0"/>
                </a:lnTo>
                <a:lnTo>
                  <a:pt x="294526" y="0"/>
                </a:lnTo>
                <a:lnTo>
                  <a:pt x="274020" y="8945"/>
                </a:lnTo>
                <a:cubicBezTo>
                  <a:pt x="126640" y="78025"/>
                  <a:pt x="16720" y="137385"/>
                  <a:pt x="14560" y="138585"/>
                </a:cubicBezTo>
                <a:cubicBezTo>
                  <a:pt x="10720" y="140665"/>
                  <a:pt x="9280" y="145465"/>
                  <a:pt x="11360" y="149465"/>
                </a:cubicBezTo>
                <a:cubicBezTo>
                  <a:pt x="13440" y="153465"/>
                  <a:pt x="18400" y="154905"/>
                  <a:pt x="22240" y="152825"/>
                </a:cubicBezTo>
                <a:close/>
                <a:moveTo>
                  <a:pt x="18560" y="385465"/>
                </a:moveTo>
                <a:cubicBezTo>
                  <a:pt x="22400" y="382705"/>
                  <a:pt x="309470" y="178975"/>
                  <a:pt x="569203" y="34825"/>
                </a:cubicBezTo>
                <a:lnTo>
                  <a:pt x="635864" y="0"/>
                </a:lnTo>
                <a:lnTo>
                  <a:pt x="601289" y="0"/>
                </a:lnTo>
                <a:lnTo>
                  <a:pt x="562285" y="20355"/>
                </a:lnTo>
                <a:cubicBezTo>
                  <a:pt x="301180" y="165135"/>
                  <a:pt x="13120" y="369585"/>
                  <a:pt x="9280" y="372345"/>
                </a:cubicBezTo>
                <a:cubicBezTo>
                  <a:pt x="5600" y="374905"/>
                  <a:pt x="4800" y="379865"/>
                  <a:pt x="7360" y="383545"/>
                </a:cubicBezTo>
                <a:cubicBezTo>
                  <a:pt x="9920" y="387225"/>
                  <a:pt x="14880" y="388025"/>
                  <a:pt x="18560" y="385465"/>
                </a:cubicBezTo>
                <a:close/>
                <a:moveTo>
                  <a:pt x="6700320" y="650905"/>
                </a:moveTo>
                <a:cubicBezTo>
                  <a:pt x="6651360" y="614265"/>
                  <a:pt x="6600480" y="580025"/>
                  <a:pt x="6548160" y="548505"/>
                </a:cubicBezTo>
                <a:cubicBezTo>
                  <a:pt x="6598240" y="541145"/>
                  <a:pt x="6732320" y="510425"/>
                  <a:pt x="6906240" y="381145"/>
                </a:cubicBezTo>
                <a:cubicBezTo>
                  <a:pt x="7126881" y="217145"/>
                  <a:pt x="7432320" y="90905"/>
                  <a:pt x="7703200" y="51865"/>
                </a:cubicBezTo>
                <a:cubicBezTo>
                  <a:pt x="8002881" y="8665"/>
                  <a:pt x="8199360" y="-615"/>
                  <a:pt x="8504960" y="64185"/>
                </a:cubicBezTo>
                <a:cubicBezTo>
                  <a:pt x="8505280" y="64185"/>
                  <a:pt x="8505760" y="64185"/>
                  <a:pt x="8506080" y="64185"/>
                </a:cubicBezTo>
                <a:cubicBezTo>
                  <a:pt x="8519520" y="70585"/>
                  <a:pt x="8532640" y="76825"/>
                  <a:pt x="8545600" y="83065"/>
                </a:cubicBezTo>
                <a:cubicBezTo>
                  <a:pt x="8443840" y="63865"/>
                  <a:pt x="8321921" y="54105"/>
                  <a:pt x="8197600" y="54105"/>
                </a:cubicBezTo>
                <a:cubicBezTo>
                  <a:pt x="8074560" y="54105"/>
                  <a:pt x="7949280" y="63705"/>
                  <a:pt x="7839040" y="83225"/>
                </a:cubicBezTo>
                <a:cubicBezTo>
                  <a:pt x="7715200" y="105145"/>
                  <a:pt x="7293600" y="194905"/>
                  <a:pt x="7067680" y="426425"/>
                </a:cubicBezTo>
                <a:cubicBezTo>
                  <a:pt x="6888320" y="610105"/>
                  <a:pt x="6704800" y="649945"/>
                  <a:pt x="6700320" y="650905"/>
                </a:cubicBezTo>
                <a:close/>
                <a:moveTo>
                  <a:pt x="18240" y="676505"/>
                </a:moveTo>
                <a:cubicBezTo>
                  <a:pt x="23040" y="672025"/>
                  <a:pt x="502400" y="214585"/>
                  <a:pt x="792960" y="73465"/>
                </a:cubicBezTo>
                <a:lnTo>
                  <a:pt x="816000" y="62265"/>
                </a:lnTo>
                <a:lnTo>
                  <a:pt x="946056" y="0"/>
                </a:lnTo>
                <a:lnTo>
                  <a:pt x="908561" y="0"/>
                </a:lnTo>
                <a:lnTo>
                  <a:pt x="808960" y="47705"/>
                </a:lnTo>
                <a:lnTo>
                  <a:pt x="785920" y="58905"/>
                </a:lnTo>
                <a:cubicBezTo>
                  <a:pt x="493120" y="200985"/>
                  <a:pt x="12000" y="660185"/>
                  <a:pt x="7200" y="664825"/>
                </a:cubicBezTo>
                <a:cubicBezTo>
                  <a:pt x="4000" y="667865"/>
                  <a:pt x="3840" y="672985"/>
                  <a:pt x="6880" y="676185"/>
                </a:cubicBezTo>
                <a:cubicBezTo>
                  <a:pt x="9920" y="679385"/>
                  <a:pt x="15040" y="679545"/>
                  <a:pt x="18240" y="676505"/>
                </a:cubicBezTo>
                <a:close/>
                <a:moveTo>
                  <a:pt x="11024000" y="744825"/>
                </a:moveTo>
                <a:cubicBezTo>
                  <a:pt x="11001920" y="735065"/>
                  <a:pt x="10978400" y="727225"/>
                  <a:pt x="10955840" y="724345"/>
                </a:cubicBezTo>
                <a:cubicBezTo>
                  <a:pt x="10921600" y="720025"/>
                  <a:pt x="10894880" y="712665"/>
                  <a:pt x="10866560" y="704825"/>
                </a:cubicBezTo>
                <a:cubicBezTo>
                  <a:pt x="10830240" y="694745"/>
                  <a:pt x="10792640" y="684345"/>
                  <a:pt x="10737440" y="680505"/>
                </a:cubicBezTo>
                <a:cubicBezTo>
                  <a:pt x="10666240" y="675545"/>
                  <a:pt x="10583840" y="649465"/>
                  <a:pt x="10496640" y="621785"/>
                </a:cubicBezTo>
                <a:cubicBezTo>
                  <a:pt x="10466560" y="612345"/>
                  <a:pt x="10435520" y="602585"/>
                  <a:pt x="10403840" y="593145"/>
                </a:cubicBezTo>
                <a:cubicBezTo>
                  <a:pt x="10284480" y="557785"/>
                  <a:pt x="9923040" y="444985"/>
                  <a:pt x="9867840" y="424505"/>
                </a:cubicBezTo>
                <a:cubicBezTo>
                  <a:pt x="9811360" y="403385"/>
                  <a:pt x="9564320" y="369625"/>
                  <a:pt x="9425760" y="356505"/>
                </a:cubicBezTo>
                <a:cubicBezTo>
                  <a:pt x="9315840" y="346105"/>
                  <a:pt x="9156320" y="304825"/>
                  <a:pt x="9091520" y="287225"/>
                </a:cubicBezTo>
                <a:cubicBezTo>
                  <a:pt x="9070560" y="279545"/>
                  <a:pt x="9044160" y="269305"/>
                  <a:pt x="9014880" y="257785"/>
                </a:cubicBezTo>
                <a:cubicBezTo>
                  <a:pt x="9013920" y="257145"/>
                  <a:pt x="9012960" y="256665"/>
                  <a:pt x="9011840" y="256345"/>
                </a:cubicBezTo>
                <a:cubicBezTo>
                  <a:pt x="9011200" y="256185"/>
                  <a:pt x="9010400" y="256025"/>
                  <a:pt x="9009760" y="255865"/>
                </a:cubicBezTo>
                <a:cubicBezTo>
                  <a:pt x="8970080" y="240185"/>
                  <a:pt x="8926080" y="222585"/>
                  <a:pt x="8883840" y="205785"/>
                </a:cubicBezTo>
                <a:cubicBezTo>
                  <a:pt x="8883200" y="205465"/>
                  <a:pt x="8882720" y="205145"/>
                  <a:pt x="8882080" y="204985"/>
                </a:cubicBezTo>
                <a:cubicBezTo>
                  <a:pt x="8881760" y="204825"/>
                  <a:pt x="8881280" y="204825"/>
                  <a:pt x="8880960" y="204665"/>
                </a:cubicBezTo>
                <a:cubicBezTo>
                  <a:pt x="8879360" y="204025"/>
                  <a:pt x="8877760" y="203385"/>
                  <a:pt x="8876160" y="202745"/>
                </a:cubicBezTo>
                <a:cubicBezTo>
                  <a:pt x="8859200" y="196025"/>
                  <a:pt x="8842560" y="189305"/>
                  <a:pt x="8826400" y="182905"/>
                </a:cubicBezTo>
                <a:cubicBezTo>
                  <a:pt x="8825600" y="182105"/>
                  <a:pt x="8824640" y="181625"/>
                  <a:pt x="8823520" y="181305"/>
                </a:cubicBezTo>
                <a:cubicBezTo>
                  <a:pt x="8822560" y="180985"/>
                  <a:pt x="8821440" y="180665"/>
                  <a:pt x="8820320" y="180345"/>
                </a:cubicBezTo>
                <a:cubicBezTo>
                  <a:pt x="8784000" y="165945"/>
                  <a:pt x="8751360" y="152985"/>
                  <a:pt x="8726560" y="143385"/>
                </a:cubicBezTo>
                <a:cubicBezTo>
                  <a:pt x="8846880" y="178585"/>
                  <a:pt x="9003840" y="219865"/>
                  <a:pt x="9101440" y="227385"/>
                </a:cubicBezTo>
                <a:cubicBezTo>
                  <a:pt x="9278400" y="240985"/>
                  <a:pt x="9659040" y="278105"/>
                  <a:pt x="9750080" y="298105"/>
                </a:cubicBezTo>
                <a:lnTo>
                  <a:pt x="9774400" y="303385"/>
                </a:lnTo>
                <a:cubicBezTo>
                  <a:pt x="9882240" y="326745"/>
                  <a:pt x="10135040" y="381465"/>
                  <a:pt x="10289121" y="452825"/>
                </a:cubicBezTo>
                <a:cubicBezTo>
                  <a:pt x="10345440" y="478905"/>
                  <a:pt x="10398720" y="505785"/>
                  <a:pt x="10445760" y="529465"/>
                </a:cubicBezTo>
                <a:cubicBezTo>
                  <a:pt x="10542400" y="578105"/>
                  <a:pt x="10618560" y="616505"/>
                  <a:pt x="10672640" y="625625"/>
                </a:cubicBezTo>
                <a:cubicBezTo>
                  <a:pt x="10766720" y="641465"/>
                  <a:pt x="10935680" y="678105"/>
                  <a:pt x="11024000" y="744825"/>
                </a:cubicBezTo>
                <a:close/>
                <a:moveTo>
                  <a:pt x="6841920" y="767865"/>
                </a:moveTo>
                <a:cubicBezTo>
                  <a:pt x="6801920" y="731385"/>
                  <a:pt x="6760000" y="696345"/>
                  <a:pt x="6716480" y="663225"/>
                </a:cubicBezTo>
                <a:cubicBezTo>
                  <a:pt x="6763040" y="650585"/>
                  <a:pt x="6923040" y="597465"/>
                  <a:pt x="7078881" y="437625"/>
                </a:cubicBezTo>
                <a:cubicBezTo>
                  <a:pt x="7301440" y="209625"/>
                  <a:pt x="7718881" y="120825"/>
                  <a:pt x="7841600" y="99065"/>
                </a:cubicBezTo>
                <a:cubicBezTo>
                  <a:pt x="8090080" y="54905"/>
                  <a:pt x="8415520" y="61945"/>
                  <a:pt x="8616320" y="115385"/>
                </a:cubicBezTo>
                <a:cubicBezTo>
                  <a:pt x="8652960" y="131545"/>
                  <a:pt x="8683040" y="144185"/>
                  <a:pt x="8702080" y="151225"/>
                </a:cubicBezTo>
                <a:cubicBezTo>
                  <a:pt x="8593121" y="129465"/>
                  <a:pt x="8474400" y="118265"/>
                  <a:pt x="8346720" y="118265"/>
                </a:cubicBezTo>
                <a:cubicBezTo>
                  <a:pt x="8296480" y="118265"/>
                  <a:pt x="8244800" y="120025"/>
                  <a:pt x="8191840" y="123385"/>
                </a:cubicBezTo>
                <a:cubicBezTo>
                  <a:pt x="7884480" y="143225"/>
                  <a:pt x="7750881" y="182745"/>
                  <a:pt x="7619680" y="228505"/>
                </a:cubicBezTo>
                <a:cubicBezTo>
                  <a:pt x="7526400" y="260985"/>
                  <a:pt x="7292000" y="357625"/>
                  <a:pt x="7129920" y="551545"/>
                </a:cubicBezTo>
                <a:cubicBezTo>
                  <a:pt x="6993760" y="714425"/>
                  <a:pt x="6856800" y="763065"/>
                  <a:pt x="6841920" y="767865"/>
                </a:cubicBezTo>
                <a:close/>
                <a:moveTo>
                  <a:pt x="11078880" y="792505"/>
                </a:moveTo>
                <a:cubicBezTo>
                  <a:pt x="11038560" y="779705"/>
                  <a:pt x="10985121" y="763065"/>
                  <a:pt x="10958080" y="755865"/>
                </a:cubicBezTo>
                <a:cubicBezTo>
                  <a:pt x="10916480" y="744665"/>
                  <a:pt x="10776160" y="741465"/>
                  <a:pt x="10673760" y="739065"/>
                </a:cubicBezTo>
                <a:lnTo>
                  <a:pt x="10632960" y="738105"/>
                </a:lnTo>
                <a:cubicBezTo>
                  <a:pt x="10565121" y="736345"/>
                  <a:pt x="10516640" y="722105"/>
                  <a:pt x="10469600" y="708345"/>
                </a:cubicBezTo>
                <a:cubicBezTo>
                  <a:pt x="10450720" y="702745"/>
                  <a:pt x="10432800" y="697465"/>
                  <a:pt x="10413920" y="693145"/>
                </a:cubicBezTo>
                <a:cubicBezTo>
                  <a:pt x="10376000" y="684505"/>
                  <a:pt x="10301600" y="662265"/>
                  <a:pt x="10229600" y="640825"/>
                </a:cubicBezTo>
                <a:cubicBezTo>
                  <a:pt x="10179040" y="625785"/>
                  <a:pt x="10131360" y="611545"/>
                  <a:pt x="10100320" y="603225"/>
                </a:cubicBezTo>
                <a:cubicBezTo>
                  <a:pt x="10023360" y="582585"/>
                  <a:pt x="9777280" y="525145"/>
                  <a:pt x="9689440" y="508025"/>
                </a:cubicBezTo>
                <a:cubicBezTo>
                  <a:pt x="9609920" y="492665"/>
                  <a:pt x="9564320" y="490745"/>
                  <a:pt x="9553600" y="490425"/>
                </a:cubicBezTo>
                <a:cubicBezTo>
                  <a:pt x="9419680" y="430905"/>
                  <a:pt x="9362880" y="412985"/>
                  <a:pt x="9330240" y="402745"/>
                </a:cubicBezTo>
                <a:cubicBezTo>
                  <a:pt x="9317600" y="398905"/>
                  <a:pt x="9308480" y="396025"/>
                  <a:pt x="9300160" y="392345"/>
                </a:cubicBezTo>
                <a:cubicBezTo>
                  <a:pt x="9288960" y="387385"/>
                  <a:pt x="9272960" y="377625"/>
                  <a:pt x="9254560" y="366265"/>
                </a:cubicBezTo>
                <a:cubicBezTo>
                  <a:pt x="9253760" y="363065"/>
                  <a:pt x="9251040" y="360665"/>
                  <a:pt x="9247520" y="360345"/>
                </a:cubicBezTo>
                <a:cubicBezTo>
                  <a:pt x="9247360" y="360345"/>
                  <a:pt x="9246400" y="360345"/>
                  <a:pt x="9244640" y="360185"/>
                </a:cubicBezTo>
                <a:cubicBezTo>
                  <a:pt x="9228480" y="350265"/>
                  <a:pt x="9210880" y="339545"/>
                  <a:pt x="9192320" y="329465"/>
                </a:cubicBezTo>
                <a:cubicBezTo>
                  <a:pt x="9265280" y="346905"/>
                  <a:pt x="9354400" y="365785"/>
                  <a:pt x="9424000" y="372345"/>
                </a:cubicBezTo>
                <a:cubicBezTo>
                  <a:pt x="9563200" y="385465"/>
                  <a:pt x="9808640" y="419545"/>
                  <a:pt x="9862080" y="439385"/>
                </a:cubicBezTo>
                <a:cubicBezTo>
                  <a:pt x="9919040" y="460505"/>
                  <a:pt x="10276480" y="572185"/>
                  <a:pt x="10399200" y="608345"/>
                </a:cubicBezTo>
                <a:cubicBezTo>
                  <a:pt x="10430880" y="617785"/>
                  <a:pt x="10461760" y="627545"/>
                  <a:pt x="10491680" y="636985"/>
                </a:cubicBezTo>
                <a:cubicBezTo>
                  <a:pt x="10579840" y="664985"/>
                  <a:pt x="10663200" y="691385"/>
                  <a:pt x="10736160" y="696505"/>
                </a:cubicBezTo>
                <a:cubicBezTo>
                  <a:pt x="10789760" y="700345"/>
                  <a:pt x="10826560" y="710425"/>
                  <a:pt x="10862240" y="720345"/>
                </a:cubicBezTo>
                <a:cubicBezTo>
                  <a:pt x="10889920" y="728025"/>
                  <a:pt x="10918400" y="735865"/>
                  <a:pt x="10953760" y="740345"/>
                </a:cubicBezTo>
                <a:cubicBezTo>
                  <a:pt x="10997280" y="745785"/>
                  <a:pt x="11045440" y="771545"/>
                  <a:pt x="11078880" y="792505"/>
                </a:cubicBezTo>
                <a:close/>
                <a:moveTo>
                  <a:pt x="10554720" y="808825"/>
                </a:moveTo>
                <a:cubicBezTo>
                  <a:pt x="10492480" y="813465"/>
                  <a:pt x="10363360" y="784665"/>
                  <a:pt x="10362080" y="784345"/>
                </a:cubicBezTo>
                <a:lnTo>
                  <a:pt x="10287040" y="766425"/>
                </a:lnTo>
                <a:cubicBezTo>
                  <a:pt x="10285121" y="766105"/>
                  <a:pt x="10126880" y="736985"/>
                  <a:pt x="10019680" y="712665"/>
                </a:cubicBezTo>
                <a:cubicBezTo>
                  <a:pt x="9915040" y="688825"/>
                  <a:pt x="9774560" y="615865"/>
                  <a:pt x="9768640" y="612665"/>
                </a:cubicBezTo>
                <a:cubicBezTo>
                  <a:pt x="9736960" y="582585"/>
                  <a:pt x="9689760" y="552985"/>
                  <a:pt x="9627360" y="524185"/>
                </a:cubicBezTo>
                <a:cubicBezTo>
                  <a:pt x="9616800" y="519385"/>
                  <a:pt x="9606720" y="514745"/>
                  <a:pt x="9596960" y="510105"/>
                </a:cubicBezTo>
                <a:cubicBezTo>
                  <a:pt x="9619200" y="512505"/>
                  <a:pt x="9648960" y="516825"/>
                  <a:pt x="9686400" y="524025"/>
                </a:cubicBezTo>
                <a:cubicBezTo>
                  <a:pt x="9773920" y="541145"/>
                  <a:pt x="10019360" y="598425"/>
                  <a:pt x="10096160" y="619065"/>
                </a:cubicBezTo>
                <a:cubicBezTo>
                  <a:pt x="10127040" y="627385"/>
                  <a:pt x="10174720" y="641625"/>
                  <a:pt x="10225121" y="656665"/>
                </a:cubicBezTo>
                <a:cubicBezTo>
                  <a:pt x="10297280" y="678265"/>
                  <a:pt x="10371840" y="700505"/>
                  <a:pt x="10410400" y="709305"/>
                </a:cubicBezTo>
                <a:cubicBezTo>
                  <a:pt x="10428800" y="713465"/>
                  <a:pt x="10446560" y="718745"/>
                  <a:pt x="10465280" y="724185"/>
                </a:cubicBezTo>
                <a:cubicBezTo>
                  <a:pt x="10513280" y="738265"/>
                  <a:pt x="10562880" y="752825"/>
                  <a:pt x="10632800" y="754585"/>
                </a:cubicBezTo>
                <a:lnTo>
                  <a:pt x="10673600" y="755545"/>
                </a:lnTo>
                <a:cubicBezTo>
                  <a:pt x="10769600" y="757785"/>
                  <a:pt x="10914560" y="761145"/>
                  <a:pt x="10954240" y="771865"/>
                </a:cubicBezTo>
                <a:cubicBezTo>
                  <a:pt x="10969920" y="776185"/>
                  <a:pt x="10994720" y="783545"/>
                  <a:pt x="11020640" y="791545"/>
                </a:cubicBezTo>
                <a:cubicBezTo>
                  <a:pt x="10892800" y="774105"/>
                  <a:pt x="10758720" y="780505"/>
                  <a:pt x="10727040" y="784185"/>
                </a:cubicBezTo>
                <a:cubicBezTo>
                  <a:pt x="10712480" y="785945"/>
                  <a:pt x="10694080" y="788985"/>
                  <a:pt x="10672960" y="792665"/>
                </a:cubicBezTo>
                <a:cubicBezTo>
                  <a:pt x="10638240" y="798585"/>
                  <a:pt x="10594880" y="805945"/>
                  <a:pt x="10554720" y="808825"/>
                </a:cubicBezTo>
                <a:close/>
                <a:moveTo>
                  <a:pt x="11720030" y="838040"/>
                </a:moveTo>
                <a:cubicBezTo>
                  <a:pt x="11747500" y="839545"/>
                  <a:pt x="11774120" y="839705"/>
                  <a:pt x="11798880" y="837945"/>
                </a:cubicBezTo>
                <a:cubicBezTo>
                  <a:pt x="11910080" y="829785"/>
                  <a:pt x="12164960" y="825625"/>
                  <a:pt x="12167520" y="825625"/>
                </a:cubicBezTo>
                <a:cubicBezTo>
                  <a:pt x="12171840" y="825625"/>
                  <a:pt x="12175360" y="821945"/>
                  <a:pt x="12175360" y="817465"/>
                </a:cubicBezTo>
                <a:cubicBezTo>
                  <a:pt x="12175360" y="812985"/>
                  <a:pt x="12171680" y="809465"/>
                  <a:pt x="12167360" y="809465"/>
                </a:cubicBezTo>
                <a:cubicBezTo>
                  <a:pt x="12167360" y="809465"/>
                  <a:pt x="12167200" y="809465"/>
                  <a:pt x="12167200" y="809465"/>
                </a:cubicBezTo>
                <a:cubicBezTo>
                  <a:pt x="12164640" y="809465"/>
                  <a:pt x="11909280" y="813625"/>
                  <a:pt x="11797600" y="821785"/>
                </a:cubicBezTo>
                <a:cubicBezTo>
                  <a:pt x="11700480" y="828985"/>
                  <a:pt x="11572960" y="805145"/>
                  <a:pt x="11479840" y="787865"/>
                </a:cubicBezTo>
                <a:cubicBezTo>
                  <a:pt x="11465920" y="785305"/>
                  <a:pt x="11452800" y="782745"/>
                  <a:pt x="11440640" y="780665"/>
                </a:cubicBezTo>
                <a:cubicBezTo>
                  <a:pt x="11426560" y="778105"/>
                  <a:pt x="11408160" y="775385"/>
                  <a:pt x="11386880" y="772185"/>
                </a:cubicBezTo>
                <a:cubicBezTo>
                  <a:pt x="11273121" y="755385"/>
                  <a:pt x="11061600" y="723865"/>
                  <a:pt x="10967840" y="638105"/>
                </a:cubicBezTo>
                <a:cubicBezTo>
                  <a:pt x="10924000" y="597945"/>
                  <a:pt x="10870880" y="551705"/>
                  <a:pt x="10819680" y="506905"/>
                </a:cubicBezTo>
                <a:cubicBezTo>
                  <a:pt x="10736480" y="434425"/>
                  <a:pt x="10658080" y="365785"/>
                  <a:pt x="10614400" y="320665"/>
                </a:cubicBezTo>
                <a:cubicBezTo>
                  <a:pt x="10604800" y="310585"/>
                  <a:pt x="10593121" y="296665"/>
                  <a:pt x="10579520" y="280505"/>
                </a:cubicBezTo>
                <a:cubicBezTo>
                  <a:pt x="10526120" y="216905"/>
                  <a:pt x="10436783" y="110368"/>
                  <a:pt x="10276351" y="12299"/>
                </a:cubicBezTo>
                <a:lnTo>
                  <a:pt x="10253844" y="0"/>
                </a:lnTo>
                <a:lnTo>
                  <a:pt x="10219846" y="0"/>
                </a:lnTo>
                <a:lnTo>
                  <a:pt x="10267475" y="26013"/>
                </a:lnTo>
                <a:cubicBezTo>
                  <a:pt x="10425980" y="122868"/>
                  <a:pt x="10514180" y="228105"/>
                  <a:pt x="10566880" y="290905"/>
                </a:cubicBezTo>
                <a:cubicBezTo>
                  <a:pt x="10580640" y="307225"/>
                  <a:pt x="10592480" y="321465"/>
                  <a:pt x="10602560" y="331865"/>
                </a:cubicBezTo>
                <a:cubicBezTo>
                  <a:pt x="10642880" y="373465"/>
                  <a:pt x="10712000" y="434425"/>
                  <a:pt x="10786880" y="500345"/>
                </a:cubicBezTo>
                <a:cubicBezTo>
                  <a:pt x="10697280" y="451225"/>
                  <a:pt x="10632640" y="389625"/>
                  <a:pt x="10583680" y="342425"/>
                </a:cubicBezTo>
                <a:cubicBezTo>
                  <a:pt x="10562560" y="322105"/>
                  <a:pt x="10544480" y="304665"/>
                  <a:pt x="10527360" y="290905"/>
                </a:cubicBezTo>
                <a:cubicBezTo>
                  <a:pt x="10461760" y="238105"/>
                  <a:pt x="10358400" y="172185"/>
                  <a:pt x="10192160" y="76985"/>
                </a:cubicBezTo>
                <a:cubicBezTo>
                  <a:pt x="10149560" y="52585"/>
                  <a:pt x="10098710" y="30005"/>
                  <a:pt x="10044045" y="9545"/>
                </a:cubicBezTo>
                <a:lnTo>
                  <a:pt x="10014216" y="0"/>
                </a:lnTo>
                <a:lnTo>
                  <a:pt x="9960991" y="0"/>
                </a:lnTo>
                <a:lnTo>
                  <a:pt x="10043388" y="26603"/>
                </a:lnTo>
                <a:cubicBezTo>
                  <a:pt x="10096240" y="46475"/>
                  <a:pt x="10144760" y="68065"/>
                  <a:pt x="10184640" y="90905"/>
                </a:cubicBezTo>
                <a:cubicBezTo>
                  <a:pt x="10350240" y="185625"/>
                  <a:pt x="10452960" y="251225"/>
                  <a:pt x="10517760" y="303385"/>
                </a:cubicBezTo>
                <a:cubicBezTo>
                  <a:pt x="10534240" y="316665"/>
                  <a:pt x="10552160" y="333945"/>
                  <a:pt x="10572960" y="353945"/>
                </a:cubicBezTo>
                <a:cubicBezTo>
                  <a:pt x="10632000" y="410745"/>
                  <a:pt x="10712960" y="488505"/>
                  <a:pt x="10833440" y="540985"/>
                </a:cubicBezTo>
                <a:cubicBezTo>
                  <a:pt x="10833760" y="541145"/>
                  <a:pt x="10833920" y="541145"/>
                  <a:pt x="10834240" y="541145"/>
                </a:cubicBezTo>
                <a:cubicBezTo>
                  <a:pt x="10856800" y="560985"/>
                  <a:pt x="10879200" y="580665"/>
                  <a:pt x="10900960" y="599865"/>
                </a:cubicBezTo>
                <a:cubicBezTo>
                  <a:pt x="10856480" y="574905"/>
                  <a:pt x="10800160" y="544345"/>
                  <a:pt x="10768800" y="530745"/>
                </a:cubicBezTo>
                <a:cubicBezTo>
                  <a:pt x="10732000" y="514745"/>
                  <a:pt x="10685920" y="486745"/>
                  <a:pt x="10585121" y="425625"/>
                </a:cubicBezTo>
                <a:cubicBezTo>
                  <a:pt x="10533920" y="394425"/>
                  <a:pt x="10468640" y="354905"/>
                  <a:pt x="10383520" y="304025"/>
                </a:cubicBezTo>
                <a:cubicBezTo>
                  <a:pt x="10121920" y="147865"/>
                  <a:pt x="9920960" y="92025"/>
                  <a:pt x="9813121" y="62105"/>
                </a:cubicBezTo>
                <a:cubicBezTo>
                  <a:pt x="9746160" y="43465"/>
                  <a:pt x="9637920" y="21465"/>
                  <a:pt x="9496180" y="1545"/>
                </a:cubicBezTo>
                <a:lnTo>
                  <a:pt x="9482946" y="0"/>
                </a:lnTo>
                <a:lnTo>
                  <a:pt x="9341691" y="0"/>
                </a:lnTo>
                <a:lnTo>
                  <a:pt x="9480280" y="15885"/>
                </a:lnTo>
                <a:cubicBezTo>
                  <a:pt x="9623320" y="35505"/>
                  <a:pt x="9737440" y="57705"/>
                  <a:pt x="9809280" y="77625"/>
                </a:cubicBezTo>
                <a:cubicBezTo>
                  <a:pt x="9916480" y="107385"/>
                  <a:pt x="10116000" y="162905"/>
                  <a:pt x="10375840" y="317945"/>
                </a:cubicBezTo>
                <a:cubicBezTo>
                  <a:pt x="10460960" y="368665"/>
                  <a:pt x="10526240" y="408345"/>
                  <a:pt x="10577440" y="439385"/>
                </a:cubicBezTo>
                <a:cubicBezTo>
                  <a:pt x="10678880" y="500985"/>
                  <a:pt x="10725121" y="528985"/>
                  <a:pt x="10763040" y="545465"/>
                </a:cubicBezTo>
                <a:cubicBezTo>
                  <a:pt x="10817440" y="569145"/>
                  <a:pt x="10952320" y="647225"/>
                  <a:pt x="10958240" y="650745"/>
                </a:cubicBezTo>
                <a:cubicBezTo>
                  <a:pt x="11056000" y="739385"/>
                  <a:pt x="11261760" y="769945"/>
                  <a:pt x="11384800" y="788185"/>
                </a:cubicBezTo>
                <a:cubicBezTo>
                  <a:pt x="11405920" y="791385"/>
                  <a:pt x="11424000" y="793945"/>
                  <a:pt x="11438080" y="796505"/>
                </a:cubicBezTo>
                <a:cubicBezTo>
                  <a:pt x="11450080" y="798745"/>
                  <a:pt x="11463200" y="801145"/>
                  <a:pt x="11477121" y="803705"/>
                </a:cubicBezTo>
                <a:cubicBezTo>
                  <a:pt x="11547560" y="816905"/>
                  <a:pt x="11637620" y="833525"/>
                  <a:pt x="11720030" y="838040"/>
                </a:cubicBezTo>
                <a:close/>
                <a:moveTo>
                  <a:pt x="6949600" y="894105"/>
                </a:moveTo>
                <a:cubicBezTo>
                  <a:pt x="6931680" y="861625"/>
                  <a:pt x="6906240" y="828665"/>
                  <a:pt x="6871520" y="795065"/>
                </a:cubicBezTo>
                <a:cubicBezTo>
                  <a:pt x="6866240" y="790105"/>
                  <a:pt x="6860800" y="785305"/>
                  <a:pt x="6855520" y="780345"/>
                </a:cubicBezTo>
                <a:cubicBezTo>
                  <a:pt x="6891520" y="767065"/>
                  <a:pt x="7016160" y="712985"/>
                  <a:pt x="7142400" y="561945"/>
                </a:cubicBezTo>
                <a:cubicBezTo>
                  <a:pt x="7301920" y="371065"/>
                  <a:pt x="7533120" y="275865"/>
                  <a:pt x="7625120" y="243705"/>
                </a:cubicBezTo>
                <a:cubicBezTo>
                  <a:pt x="7759840" y="196825"/>
                  <a:pt x="7887200" y="159225"/>
                  <a:pt x="8193121" y="139545"/>
                </a:cubicBezTo>
                <a:cubicBezTo>
                  <a:pt x="8390560" y="126905"/>
                  <a:pt x="8569280" y="138425"/>
                  <a:pt x="8726560" y="173145"/>
                </a:cubicBezTo>
                <a:cubicBezTo>
                  <a:pt x="8657600" y="162905"/>
                  <a:pt x="8587360" y="157145"/>
                  <a:pt x="8523680" y="157145"/>
                </a:cubicBezTo>
                <a:cubicBezTo>
                  <a:pt x="8488320" y="157145"/>
                  <a:pt x="8168320" y="159545"/>
                  <a:pt x="7813440" y="241785"/>
                </a:cubicBezTo>
                <a:cubicBezTo>
                  <a:pt x="7501600" y="314105"/>
                  <a:pt x="7233440" y="560665"/>
                  <a:pt x="7150240" y="704665"/>
                </a:cubicBezTo>
                <a:cubicBezTo>
                  <a:pt x="7084160" y="819065"/>
                  <a:pt x="6985280" y="876345"/>
                  <a:pt x="6949600" y="894105"/>
                </a:cubicBezTo>
                <a:close/>
                <a:moveTo>
                  <a:pt x="10515360" y="898425"/>
                </a:moveTo>
                <a:cubicBezTo>
                  <a:pt x="10427360" y="908505"/>
                  <a:pt x="10276480" y="869625"/>
                  <a:pt x="10219680" y="854905"/>
                </a:cubicBezTo>
                <a:lnTo>
                  <a:pt x="10206400" y="851545"/>
                </a:lnTo>
                <a:cubicBezTo>
                  <a:pt x="10163200" y="840665"/>
                  <a:pt x="10040160" y="825785"/>
                  <a:pt x="9950400" y="814745"/>
                </a:cubicBezTo>
                <a:lnTo>
                  <a:pt x="9938080" y="813305"/>
                </a:lnTo>
                <a:cubicBezTo>
                  <a:pt x="9859040" y="803705"/>
                  <a:pt x="9811680" y="766105"/>
                  <a:pt x="9802560" y="758265"/>
                </a:cubicBezTo>
                <a:cubicBezTo>
                  <a:pt x="9813440" y="738265"/>
                  <a:pt x="9822560" y="712025"/>
                  <a:pt x="9813760" y="680185"/>
                </a:cubicBezTo>
                <a:cubicBezTo>
                  <a:pt x="9810400" y="668185"/>
                  <a:pt x="9804480" y="656185"/>
                  <a:pt x="9796320" y="644345"/>
                </a:cubicBezTo>
                <a:cubicBezTo>
                  <a:pt x="9846880" y="668665"/>
                  <a:pt x="9940480" y="711065"/>
                  <a:pt x="10016160" y="728185"/>
                </a:cubicBezTo>
                <a:cubicBezTo>
                  <a:pt x="10123680" y="752665"/>
                  <a:pt x="10282240" y="781785"/>
                  <a:pt x="10283840" y="782105"/>
                </a:cubicBezTo>
                <a:lnTo>
                  <a:pt x="10358560" y="800025"/>
                </a:lnTo>
                <a:cubicBezTo>
                  <a:pt x="10364000" y="801145"/>
                  <a:pt x="10491360" y="829305"/>
                  <a:pt x="10555840" y="824825"/>
                </a:cubicBezTo>
                <a:cubicBezTo>
                  <a:pt x="10596800" y="821945"/>
                  <a:pt x="10640480" y="814585"/>
                  <a:pt x="10675680" y="808505"/>
                </a:cubicBezTo>
                <a:cubicBezTo>
                  <a:pt x="10696640" y="804985"/>
                  <a:pt x="10714720" y="801785"/>
                  <a:pt x="10728800" y="800185"/>
                </a:cubicBezTo>
                <a:cubicBezTo>
                  <a:pt x="10772000" y="795225"/>
                  <a:pt x="11008320" y="784825"/>
                  <a:pt x="11152640" y="838265"/>
                </a:cubicBezTo>
                <a:cubicBezTo>
                  <a:pt x="11172800" y="848185"/>
                  <a:pt x="11201600" y="862265"/>
                  <a:pt x="11231680" y="875865"/>
                </a:cubicBezTo>
                <a:cubicBezTo>
                  <a:pt x="11182720" y="863065"/>
                  <a:pt x="11126400" y="848505"/>
                  <a:pt x="11075200" y="835705"/>
                </a:cubicBezTo>
                <a:cubicBezTo>
                  <a:pt x="10947360" y="803865"/>
                  <a:pt x="10797920" y="829145"/>
                  <a:pt x="10736800" y="847065"/>
                </a:cubicBezTo>
                <a:cubicBezTo>
                  <a:pt x="10727840" y="849785"/>
                  <a:pt x="10718720" y="852505"/>
                  <a:pt x="10709600" y="855225"/>
                </a:cubicBezTo>
                <a:cubicBezTo>
                  <a:pt x="10657280" y="871065"/>
                  <a:pt x="10597920" y="888985"/>
                  <a:pt x="10515360" y="898425"/>
                </a:cubicBezTo>
                <a:close/>
                <a:moveTo>
                  <a:pt x="6932640" y="903545"/>
                </a:moveTo>
                <a:cubicBezTo>
                  <a:pt x="6886720" y="859065"/>
                  <a:pt x="6811840" y="787065"/>
                  <a:pt x="6782881" y="763705"/>
                </a:cubicBezTo>
                <a:cubicBezTo>
                  <a:pt x="6742400" y="731065"/>
                  <a:pt x="6615360" y="640345"/>
                  <a:pt x="6312160" y="502585"/>
                </a:cubicBezTo>
                <a:cubicBezTo>
                  <a:pt x="6020000" y="369785"/>
                  <a:pt x="5772800" y="338745"/>
                  <a:pt x="5329121" y="319225"/>
                </a:cubicBezTo>
                <a:cubicBezTo>
                  <a:pt x="5034881" y="306265"/>
                  <a:pt x="4792640" y="336345"/>
                  <a:pt x="4578881" y="362745"/>
                </a:cubicBezTo>
                <a:cubicBezTo>
                  <a:pt x="4487360" y="374105"/>
                  <a:pt x="4400800" y="384825"/>
                  <a:pt x="4321120" y="390425"/>
                </a:cubicBezTo>
                <a:cubicBezTo>
                  <a:pt x="4076160" y="407865"/>
                  <a:pt x="3945600" y="361785"/>
                  <a:pt x="3933440" y="357305"/>
                </a:cubicBezTo>
                <a:lnTo>
                  <a:pt x="3826880" y="277945"/>
                </a:lnTo>
                <a:cubicBezTo>
                  <a:pt x="3826240" y="277465"/>
                  <a:pt x="3789760" y="250905"/>
                  <a:pt x="3710720" y="208985"/>
                </a:cubicBezTo>
                <a:cubicBezTo>
                  <a:pt x="3747200" y="215225"/>
                  <a:pt x="3812960" y="226425"/>
                  <a:pt x="3844960" y="231385"/>
                </a:cubicBezTo>
                <a:cubicBezTo>
                  <a:pt x="4080800" y="268185"/>
                  <a:pt x="4288800" y="269145"/>
                  <a:pt x="4856640" y="235545"/>
                </a:cubicBezTo>
                <a:cubicBezTo>
                  <a:pt x="5416800" y="202425"/>
                  <a:pt x="5799840" y="297785"/>
                  <a:pt x="6079520" y="367385"/>
                </a:cubicBezTo>
                <a:cubicBezTo>
                  <a:pt x="6356000" y="436185"/>
                  <a:pt x="6640640" y="596345"/>
                  <a:pt x="6860320" y="807065"/>
                </a:cubicBezTo>
                <a:cubicBezTo>
                  <a:pt x="6893600" y="838905"/>
                  <a:pt x="6917760" y="870425"/>
                  <a:pt x="6934720" y="901465"/>
                </a:cubicBezTo>
                <a:cubicBezTo>
                  <a:pt x="6933920" y="901945"/>
                  <a:pt x="6933120" y="902745"/>
                  <a:pt x="6932640" y="903545"/>
                </a:cubicBezTo>
                <a:close/>
                <a:moveTo>
                  <a:pt x="10455520" y="1006265"/>
                </a:moveTo>
                <a:cubicBezTo>
                  <a:pt x="10372640" y="1002585"/>
                  <a:pt x="10293440" y="986745"/>
                  <a:pt x="10223520" y="972825"/>
                </a:cubicBezTo>
                <a:cubicBezTo>
                  <a:pt x="10164640" y="960985"/>
                  <a:pt x="10108960" y="949945"/>
                  <a:pt x="10060160" y="947865"/>
                </a:cubicBezTo>
                <a:cubicBezTo>
                  <a:pt x="9966400" y="944025"/>
                  <a:pt x="9776000" y="889625"/>
                  <a:pt x="9739040" y="878905"/>
                </a:cubicBezTo>
                <a:cubicBezTo>
                  <a:pt x="9757440" y="837465"/>
                  <a:pt x="9775680" y="800345"/>
                  <a:pt x="9788000" y="781785"/>
                </a:cubicBezTo>
                <a:lnTo>
                  <a:pt x="9789920" y="778905"/>
                </a:lnTo>
                <a:cubicBezTo>
                  <a:pt x="9791200" y="776825"/>
                  <a:pt x="9792800" y="774585"/>
                  <a:pt x="9794240" y="772345"/>
                </a:cubicBezTo>
                <a:cubicBezTo>
                  <a:pt x="9808320" y="784185"/>
                  <a:pt x="9856800" y="819705"/>
                  <a:pt x="9936160" y="829465"/>
                </a:cubicBezTo>
                <a:lnTo>
                  <a:pt x="9948480" y="830905"/>
                </a:lnTo>
                <a:cubicBezTo>
                  <a:pt x="10037760" y="841785"/>
                  <a:pt x="10160320" y="856825"/>
                  <a:pt x="10202400" y="867385"/>
                </a:cubicBezTo>
                <a:lnTo>
                  <a:pt x="10215680" y="870745"/>
                </a:lnTo>
                <a:cubicBezTo>
                  <a:pt x="10273280" y="885625"/>
                  <a:pt x="10426240" y="924985"/>
                  <a:pt x="10517121" y="914585"/>
                </a:cubicBezTo>
                <a:cubicBezTo>
                  <a:pt x="10601121" y="904825"/>
                  <a:pt x="10661280" y="886745"/>
                  <a:pt x="10714240" y="870745"/>
                </a:cubicBezTo>
                <a:cubicBezTo>
                  <a:pt x="10723360" y="868025"/>
                  <a:pt x="10732320" y="865305"/>
                  <a:pt x="10741280" y="862745"/>
                </a:cubicBezTo>
                <a:cubicBezTo>
                  <a:pt x="10801121" y="845145"/>
                  <a:pt x="10946880" y="820345"/>
                  <a:pt x="11071360" y="851545"/>
                </a:cubicBezTo>
                <a:cubicBezTo>
                  <a:pt x="11193121" y="881945"/>
                  <a:pt x="11344960" y="922585"/>
                  <a:pt x="11351520" y="924345"/>
                </a:cubicBezTo>
                <a:cubicBezTo>
                  <a:pt x="11351680" y="924505"/>
                  <a:pt x="11351840" y="924505"/>
                  <a:pt x="11352320" y="924825"/>
                </a:cubicBezTo>
                <a:cubicBezTo>
                  <a:pt x="11352320" y="924825"/>
                  <a:pt x="11387840" y="940985"/>
                  <a:pt x="11422720" y="958745"/>
                </a:cubicBezTo>
                <a:cubicBezTo>
                  <a:pt x="11396640" y="948025"/>
                  <a:pt x="11368480" y="939225"/>
                  <a:pt x="11339200" y="934585"/>
                </a:cubicBezTo>
                <a:cubicBezTo>
                  <a:pt x="11306400" y="929305"/>
                  <a:pt x="11269920" y="922265"/>
                  <a:pt x="11231200" y="914745"/>
                </a:cubicBezTo>
                <a:cubicBezTo>
                  <a:pt x="11138720" y="896825"/>
                  <a:pt x="11043200" y="878105"/>
                  <a:pt x="10989121" y="883065"/>
                </a:cubicBezTo>
                <a:cubicBezTo>
                  <a:pt x="10970240" y="884825"/>
                  <a:pt x="10951840" y="885625"/>
                  <a:pt x="10932320" y="886425"/>
                </a:cubicBezTo>
                <a:cubicBezTo>
                  <a:pt x="10875200" y="888825"/>
                  <a:pt x="10816000" y="891545"/>
                  <a:pt x="10750240" y="917145"/>
                </a:cubicBezTo>
                <a:cubicBezTo>
                  <a:pt x="10726560" y="926265"/>
                  <a:pt x="10704640" y="937785"/>
                  <a:pt x="10683520" y="948985"/>
                </a:cubicBezTo>
                <a:cubicBezTo>
                  <a:pt x="10625440" y="979545"/>
                  <a:pt x="10565280" y="1011385"/>
                  <a:pt x="10455520" y="1006265"/>
                </a:cubicBezTo>
                <a:close/>
                <a:moveTo>
                  <a:pt x="6966881" y="1047385"/>
                </a:moveTo>
                <a:cubicBezTo>
                  <a:pt x="6941600" y="994905"/>
                  <a:pt x="6866080" y="875385"/>
                  <a:pt x="6662720" y="748185"/>
                </a:cubicBezTo>
                <a:cubicBezTo>
                  <a:pt x="6404960" y="586905"/>
                  <a:pt x="6221120" y="517305"/>
                  <a:pt x="5876160" y="449785"/>
                </a:cubicBezTo>
                <a:cubicBezTo>
                  <a:pt x="5547840" y="385625"/>
                  <a:pt x="5178400" y="411225"/>
                  <a:pt x="4987520" y="432345"/>
                </a:cubicBezTo>
                <a:cubicBezTo>
                  <a:pt x="4875040" y="444665"/>
                  <a:pt x="4727040" y="473625"/>
                  <a:pt x="4596480" y="499225"/>
                </a:cubicBezTo>
                <a:cubicBezTo>
                  <a:pt x="4526560" y="512985"/>
                  <a:pt x="4460320" y="525945"/>
                  <a:pt x="4410560" y="534105"/>
                </a:cubicBezTo>
                <a:cubicBezTo>
                  <a:pt x="4283200" y="554905"/>
                  <a:pt x="4134240" y="536825"/>
                  <a:pt x="4111040" y="533785"/>
                </a:cubicBezTo>
                <a:cubicBezTo>
                  <a:pt x="4104160" y="524665"/>
                  <a:pt x="4092320" y="512665"/>
                  <a:pt x="4076960" y="498905"/>
                </a:cubicBezTo>
                <a:lnTo>
                  <a:pt x="4040640" y="461785"/>
                </a:lnTo>
                <a:cubicBezTo>
                  <a:pt x="4037920" y="459065"/>
                  <a:pt x="3998080" y="420185"/>
                  <a:pt x="3955040" y="381305"/>
                </a:cubicBezTo>
                <a:cubicBezTo>
                  <a:pt x="4006720" y="395705"/>
                  <a:pt x="4128160" y="420345"/>
                  <a:pt x="4321920" y="406585"/>
                </a:cubicBezTo>
                <a:cubicBezTo>
                  <a:pt x="4402240" y="400825"/>
                  <a:pt x="4488800" y="390105"/>
                  <a:pt x="4580640" y="378745"/>
                </a:cubicBezTo>
                <a:cubicBezTo>
                  <a:pt x="4793760" y="352345"/>
                  <a:pt x="5035360" y="322425"/>
                  <a:pt x="5328160" y="335385"/>
                </a:cubicBezTo>
                <a:cubicBezTo>
                  <a:pt x="5769760" y="354745"/>
                  <a:pt x="6015680" y="385625"/>
                  <a:pt x="6305440" y="517305"/>
                </a:cubicBezTo>
                <a:cubicBezTo>
                  <a:pt x="6607040" y="654265"/>
                  <a:pt x="6732640" y="744025"/>
                  <a:pt x="6772640" y="776185"/>
                </a:cubicBezTo>
                <a:cubicBezTo>
                  <a:pt x="6810560" y="806585"/>
                  <a:pt x="6932480" y="925785"/>
                  <a:pt x="6954881" y="947705"/>
                </a:cubicBezTo>
                <a:cubicBezTo>
                  <a:pt x="6966080" y="981465"/>
                  <a:pt x="6969280" y="1014745"/>
                  <a:pt x="6966881" y="1047385"/>
                </a:cubicBezTo>
                <a:close/>
                <a:moveTo>
                  <a:pt x="6982560" y="1061945"/>
                </a:moveTo>
                <a:cubicBezTo>
                  <a:pt x="6987200" y="1024185"/>
                  <a:pt x="6984800" y="985785"/>
                  <a:pt x="6972320" y="946425"/>
                </a:cubicBezTo>
                <a:cubicBezTo>
                  <a:pt x="6972480" y="944185"/>
                  <a:pt x="6971840" y="941945"/>
                  <a:pt x="6970240" y="940185"/>
                </a:cubicBezTo>
                <a:cubicBezTo>
                  <a:pt x="6966560" y="929625"/>
                  <a:pt x="6962080" y="919065"/>
                  <a:pt x="6956960" y="908345"/>
                </a:cubicBezTo>
                <a:cubicBezTo>
                  <a:pt x="6994720" y="889785"/>
                  <a:pt x="7095200" y="831705"/>
                  <a:pt x="7164000" y="712665"/>
                </a:cubicBezTo>
                <a:cubicBezTo>
                  <a:pt x="7245760" y="571225"/>
                  <a:pt x="7509760" y="328665"/>
                  <a:pt x="7816960" y="257465"/>
                </a:cubicBezTo>
                <a:cubicBezTo>
                  <a:pt x="8170080" y="175705"/>
                  <a:pt x="8488320" y="173305"/>
                  <a:pt x="8523520" y="173305"/>
                </a:cubicBezTo>
                <a:cubicBezTo>
                  <a:pt x="8635040" y="173305"/>
                  <a:pt x="8766560" y="190745"/>
                  <a:pt x="8875840" y="219865"/>
                </a:cubicBezTo>
                <a:cubicBezTo>
                  <a:pt x="8892480" y="226425"/>
                  <a:pt x="8909121" y="233145"/>
                  <a:pt x="8925760" y="239385"/>
                </a:cubicBezTo>
                <a:cubicBezTo>
                  <a:pt x="8832800" y="225625"/>
                  <a:pt x="8703840" y="216345"/>
                  <a:pt x="8552640" y="216345"/>
                </a:cubicBezTo>
                <a:cubicBezTo>
                  <a:pt x="8448320" y="216345"/>
                  <a:pt x="8333440" y="220825"/>
                  <a:pt x="8212800" y="231225"/>
                </a:cubicBezTo>
                <a:cubicBezTo>
                  <a:pt x="7895200" y="258585"/>
                  <a:pt x="7759840" y="331225"/>
                  <a:pt x="7628960" y="401305"/>
                </a:cubicBezTo>
                <a:cubicBezTo>
                  <a:pt x="7614400" y="409145"/>
                  <a:pt x="7599840" y="416825"/>
                  <a:pt x="7585280" y="424505"/>
                </a:cubicBezTo>
                <a:cubicBezTo>
                  <a:pt x="7435360" y="502585"/>
                  <a:pt x="7223040" y="756985"/>
                  <a:pt x="7158400" y="883705"/>
                </a:cubicBezTo>
                <a:cubicBezTo>
                  <a:pt x="7106881" y="984985"/>
                  <a:pt x="7017760" y="1042265"/>
                  <a:pt x="6982560" y="1061945"/>
                </a:cubicBezTo>
                <a:close/>
                <a:moveTo>
                  <a:pt x="8320" y="1075545"/>
                </a:moveTo>
                <a:cubicBezTo>
                  <a:pt x="11840" y="1078105"/>
                  <a:pt x="16960" y="1077145"/>
                  <a:pt x="19360" y="1073465"/>
                </a:cubicBezTo>
                <a:cubicBezTo>
                  <a:pt x="22240" y="1069145"/>
                  <a:pt x="315840" y="632505"/>
                  <a:pt x="490720" y="491705"/>
                </a:cubicBezTo>
                <a:cubicBezTo>
                  <a:pt x="520960" y="467545"/>
                  <a:pt x="554400" y="438105"/>
                  <a:pt x="589920" y="407065"/>
                </a:cubicBezTo>
                <a:cubicBezTo>
                  <a:pt x="720960" y="292345"/>
                  <a:pt x="902310" y="133705"/>
                  <a:pt x="1166708" y="7825"/>
                </a:cubicBezTo>
                <a:lnTo>
                  <a:pt x="1184915" y="0"/>
                </a:lnTo>
                <a:lnTo>
                  <a:pt x="1147823" y="0"/>
                </a:lnTo>
                <a:lnTo>
                  <a:pt x="920480" y="127985"/>
                </a:lnTo>
                <a:cubicBezTo>
                  <a:pt x="777840" y="221345"/>
                  <a:pt x="667440" y="317945"/>
                  <a:pt x="579520" y="394905"/>
                </a:cubicBezTo>
                <a:cubicBezTo>
                  <a:pt x="544160" y="425785"/>
                  <a:pt x="510720" y="455065"/>
                  <a:pt x="480800" y="479065"/>
                </a:cubicBezTo>
                <a:cubicBezTo>
                  <a:pt x="304000" y="621465"/>
                  <a:pt x="9120" y="1059865"/>
                  <a:pt x="6240" y="1064345"/>
                </a:cubicBezTo>
                <a:cubicBezTo>
                  <a:pt x="3680" y="1068025"/>
                  <a:pt x="4640" y="1072985"/>
                  <a:pt x="8320" y="1075545"/>
                </a:cubicBezTo>
                <a:close/>
                <a:moveTo>
                  <a:pt x="10455200" y="1106905"/>
                </a:moveTo>
                <a:cubicBezTo>
                  <a:pt x="10390240" y="1106905"/>
                  <a:pt x="10219040" y="1091385"/>
                  <a:pt x="10209280" y="1089145"/>
                </a:cubicBezTo>
                <a:cubicBezTo>
                  <a:pt x="10199680" y="1086585"/>
                  <a:pt x="9981440" y="1052985"/>
                  <a:pt x="9881760" y="1050745"/>
                </a:cubicBezTo>
                <a:cubicBezTo>
                  <a:pt x="9798080" y="1048825"/>
                  <a:pt x="9715200" y="1001785"/>
                  <a:pt x="9693760" y="988825"/>
                </a:cubicBezTo>
                <a:cubicBezTo>
                  <a:pt x="9704640" y="959705"/>
                  <a:pt x="9718400" y="925785"/>
                  <a:pt x="9732480" y="893465"/>
                </a:cubicBezTo>
                <a:cubicBezTo>
                  <a:pt x="9764800" y="902905"/>
                  <a:pt x="9960640" y="959545"/>
                  <a:pt x="10059360" y="963705"/>
                </a:cubicBezTo>
                <a:cubicBezTo>
                  <a:pt x="10106880" y="965785"/>
                  <a:pt x="10161920" y="976665"/>
                  <a:pt x="10220320" y="988345"/>
                </a:cubicBezTo>
                <a:cubicBezTo>
                  <a:pt x="10290720" y="1002425"/>
                  <a:pt x="10370720" y="1018425"/>
                  <a:pt x="10454720" y="1022105"/>
                </a:cubicBezTo>
                <a:cubicBezTo>
                  <a:pt x="10568800" y="1027065"/>
                  <a:pt x="10630880" y="994585"/>
                  <a:pt x="10690880" y="963065"/>
                </a:cubicBezTo>
                <a:cubicBezTo>
                  <a:pt x="10712640" y="951705"/>
                  <a:pt x="10733280" y="940825"/>
                  <a:pt x="10756000" y="932025"/>
                </a:cubicBezTo>
                <a:cubicBezTo>
                  <a:pt x="10819360" y="907385"/>
                  <a:pt x="10877121" y="904825"/>
                  <a:pt x="10933121" y="902265"/>
                </a:cubicBezTo>
                <a:cubicBezTo>
                  <a:pt x="10952000" y="901465"/>
                  <a:pt x="10971360" y="900665"/>
                  <a:pt x="10990560" y="898905"/>
                </a:cubicBezTo>
                <a:cubicBezTo>
                  <a:pt x="11042400" y="894265"/>
                  <a:pt x="11136800" y="912665"/>
                  <a:pt x="11228160" y="930425"/>
                </a:cubicBezTo>
                <a:cubicBezTo>
                  <a:pt x="11267040" y="937945"/>
                  <a:pt x="11303680" y="945145"/>
                  <a:pt x="11336640" y="950425"/>
                </a:cubicBezTo>
                <a:cubicBezTo>
                  <a:pt x="11391040" y="959225"/>
                  <a:pt x="11441600" y="982265"/>
                  <a:pt x="11480160" y="1004345"/>
                </a:cubicBezTo>
                <a:cubicBezTo>
                  <a:pt x="11403360" y="986265"/>
                  <a:pt x="11297440" y="968185"/>
                  <a:pt x="11221760" y="960985"/>
                </a:cubicBezTo>
                <a:cubicBezTo>
                  <a:pt x="11164800" y="955705"/>
                  <a:pt x="11084160" y="952185"/>
                  <a:pt x="11006080" y="952185"/>
                </a:cubicBezTo>
                <a:cubicBezTo>
                  <a:pt x="10947040" y="952185"/>
                  <a:pt x="10889280" y="954265"/>
                  <a:pt x="10844320" y="958905"/>
                </a:cubicBezTo>
                <a:cubicBezTo>
                  <a:pt x="10756160" y="968025"/>
                  <a:pt x="10699200" y="1015385"/>
                  <a:pt x="10657440" y="1049945"/>
                </a:cubicBezTo>
                <a:cubicBezTo>
                  <a:pt x="10646240" y="1059225"/>
                  <a:pt x="10635840" y="1067865"/>
                  <a:pt x="10626080" y="1074745"/>
                </a:cubicBezTo>
                <a:cubicBezTo>
                  <a:pt x="10580800" y="1106905"/>
                  <a:pt x="10519840" y="1106905"/>
                  <a:pt x="10455200" y="1106905"/>
                </a:cubicBezTo>
                <a:close/>
                <a:moveTo>
                  <a:pt x="8432480" y="1141465"/>
                </a:moveTo>
                <a:cubicBezTo>
                  <a:pt x="8469280" y="1138265"/>
                  <a:pt x="8500640" y="1135545"/>
                  <a:pt x="8521600" y="1133625"/>
                </a:cubicBezTo>
                <a:cubicBezTo>
                  <a:pt x="8615040" y="1124985"/>
                  <a:pt x="8878720" y="1064345"/>
                  <a:pt x="8969280" y="1030585"/>
                </a:cubicBezTo>
                <a:cubicBezTo>
                  <a:pt x="9006240" y="1016825"/>
                  <a:pt x="9056800" y="997625"/>
                  <a:pt x="9107360" y="978425"/>
                </a:cubicBezTo>
                <a:cubicBezTo>
                  <a:pt x="9181440" y="950425"/>
                  <a:pt x="9257920" y="921305"/>
                  <a:pt x="9287520" y="911065"/>
                </a:cubicBezTo>
                <a:lnTo>
                  <a:pt x="9291520" y="909625"/>
                </a:lnTo>
                <a:cubicBezTo>
                  <a:pt x="9449121" y="855065"/>
                  <a:pt x="9594880" y="842265"/>
                  <a:pt x="9724640" y="871545"/>
                </a:cubicBezTo>
                <a:cubicBezTo>
                  <a:pt x="9712800" y="898265"/>
                  <a:pt x="9701121" y="926265"/>
                  <a:pt x="9690880" y="951225"/>
                </a:cubicBezTo>
                <a:cubicBezTo>
                  <a:pt x="9651520" y="943225"/>
                  <a:pt x="9611040" y="939705"/>
                  <a:pt x="9570400" y="939705"/>
                </a:cubicBezTo>
                <a:cubicBezTo>
                  <a:pt x="9419200" y="939705"/>
                  <a:pt x="9268160" y="986905"/>
                  <a:pt x="9177760" y="1015065"/>
                </a:cubicBezTo>
                <a:cubicBezTo>
                  <a:pt x="9154720" y="1022425"/>
                  <a:pt x="9134720" y="1028505"/>
                  <a:pt x="9120160" y="1032345"/>
                </a:cubicBezTo>
                <a:cubicBezTo>
                  <a:pt x="9029920" y="1055545"/>
                  <a:pt x="8728160" y="1131865"/>
                  <a:pt x="8630080" y="1137465"/>
                </a:cubicBezTo>
                <a:cubicBezTo>
                  <a:pt x="8591200" y="1139705"/>
                  <a:pt x="8515680" y="1140665"/>
                  <a:pt x="8432480" y="1141465"/>
                </a:cubicBezTo>
                <a:close/>
                <a:moveTo>
                  <a:pt x="4520961" y="1146265"/>
                </a:moveTo>
                <a:cubicBezTo>
                  <a:pt x="4461120" y="1120345"/>
                  <a:pt x="4388320" y="1094425"/>
                  <a:pt x="4367680" y="1089465"/>
                </a:cubicBezTo>
                <a:cubicBezTo>
                  <a:pt x="4337440" y="1082265"/>
                  <a:pt x="4221120" y="1050265"/>
                  <a:pt x="4175840" y="1037145"/>
                </a:cubicBezTo>
                <a:cubicBezTo>
                  <a:pt x="4134400" y="1025145"/>
                  <a:pt x="3997280" y="966745"/>
                  <a:pt x="3950560" y="945145"/>
                </a:cubicBezTo>
                <a:cubicBezTo>
                  <a:pt x="3905920" y="924665"/>
                  <a:pt x="3716480" y="859865"/>
                  <a:pt x="3639360" y="837465"/>
                </a:cubicBezTo>
                <a:cubicBezTo>
                  <a:pt x="3576800" y="819385"/>
                  <a:pt x="3461120" y="815545"/>
                  <a:pt x="3359200" y="812345"/>
                </a:cubicBezTo>
                <a:cubicBezTo>
                  <a:pt x="3332960" y="811545"/>
                  <a:pt x="3307520" y="810585"/>
                  <a:pt x="3284000" y="809625"/>
                </a:cubicBezTo>
                <a:lnTo>
                  <a:pt x="3269600" y="808985"/>
                </a:lnTo>
                <a:cubicBezTo>
                  <a:pt x="3200480" y="805945"/>
                  <a:pt x="3115360" y="802265"/>
                  <a:pt x="3028320" y="802265"/>
                </a:cubicBezTo>
                <a:cubicBezTo>
                  <a:pt x="2976480" y="802265"/>
                  <a:pt x="2924000" y="803705"/>
                  <a:pt x="2873920" y="807225"/>
                </a:cubicBezTo>
                <a:cubicBezTo>
                  <a:pt x="2745920" y="816505"/>
                  <a:pt x="2691840" y="856825"/>
                  <a:pt x="2634560" y="899545"/>
                </a:cubicBezTo>
                <a:cubicBezTo>
                  <a:pt x="2628320" y="904185"/>
                  <a:pt x="2621920" y="908985"/>
                  <a:pt x="2615520" y="913625"/>
                </a:cubicBezTo>
                <a:cubicBezTo>
                  <a:pt x="2554880" y="957785"/>
                  <a:pt x="2444000" y="1033785"/>
                  <a:pt x="2430720" y="1042905"/>
                </a:cubicBezTo>
                <a:cubicBezTo>
                  <a:pt x="2407040" y="1046585"/>
                  <a:pt x="2379520" y="1055065"/>
                  <a:pt x="2352000" y="1065305"/>
                </a:cubicBezTo>
                <a:cubicBezTo>
                  <a:pt x="2404320" y="1028505"/>
                  <a:pt x="2478240" y="975065"/>
                  <a:pt x="2532160" y="928665"/>
                </a:cubicBezTo>
                <a:lnTo>
                  <a:pt x="2540480" y="921625"/>
                </a:lnTo>
                <a:cubicBezTo>
                  <a:pt x="2627040" y="847065"/>
                  <a:pt x="2679360" y="802265"/>
                  <a:pt x="2878400" y="778265"/>
                </a:cubicBezTo>
                <a:cubicBezTo>
                  <a:pt x="3054400" y="757145"/>
                  <a:pt x="3276960" y="759385"/>
                  <a:pt x="3396640" y="760505"/>
                </a:cubicBezTo>
                <a:cubicBezTo>
                  <a:pt x="3417440" y="760665"/>
                  <a:pt x="3434880" y="760825"/>
                  <a:pt x="3448000" y="760825"/>
                </a:cubicBezTo>
                <a:cubicBezTo>
                  <a:pt x="3536480" y="760825"/>
                  <a:pt x="3693120" y="789145"/>
                  <a:pt x="3792000" y="834905"/>
                </a:cubicBezTo>
                <a:cubicBezTo>
                  <a:pt x="3853760" y="863545"/>
                  <a:pt x="3948000" y="904185"/>
                  <a:pt x="4023680" y="936985"/>
                </a:cubicBezTo>
                <a:cubicBezTo>
                  <a:pt x="4073120" y="958265"/>
                  <a:pt x="4112160" y="975225"/>
                  <a:pt x="4126880" y="982105"/>
                </a:cubicBezTo>
                <a:cubicBezTo>
                  <a:pt x="4133280" y="985145"/>
                  <a:pt x="4141600" y="989305"/>
                  <a:pt x="4151360" y="994105"/>
                </a:cubicBezTo>
                <a:cubicBezTo>
                  <a:pt x="4197121" y="1016665"/>
                  <a:pt x="4273760" y="1054265"/>
                  <a:pt x="4320960" y="1062745"/>
                </a:cubicBezTo>
                <a:cubicBezTo>
                  <a:pt x="4375040" y="1072505"/>
                  <a:pt x="4463200" y="1111225"/>
                  <a:pt x="4495200" y="1129305"/>
                </a:cubicBezTo>
                <a:cubicBezTo>
                  <a:pt x="4502560" y="1133465"/>
                  <a:pt x="4511520" y="1139545"/>
                  <a:pt x="4520961" y="1146265"/>
                </a:cubicBezTo>
                <a:close/>
                <a:moveTo>
                  <a:pt x="2197120" y="1148345"/>
                </a:moveTo>
                <a:cubicBezTo>
                  <a:pt x="2224640" y="1111545"/>
                  <a:pt x="2257600" y="1071385"/>
                  <a:pt x="2276480" y="1062265"/>
                </a:cubicBezTo>
                <a:cubicBezTo>
                  <a:pt x="2302400" y="1049785"/>
                  <a:pt x="2347680" y="1012185"/>
                  <a:pt x="2387680" y="979065"/>
                </a:cubicBezTo>
                <a:cubicBezTo>
                  <a:pt x="2408000" y="962265"/>
                  <a:pt x="2427200" y="946265"/>
                  <a:pt x="2439200" y="937785"/>
                </a:cubicBezTo>
                <a:cubicBezTo>
                  <a:pt x="2447840" y="931545"/>
                  <a:pt x="2458080" y="920665"/>
                  <a:pt x="2471040" y="906905"/>
                </a:cubicBezTo>
                <a:cubicBezTo>
                  <a:pt x="2512800" y="862425"/>
                  <a:pt x="2582560" y="788185"/>
                  <a:pt x="2701440" y="762585"/>
                </a:cubicBezTo>
                <a:cubicBezTo>
                  <a:pt x="2856800" y="728985"/>
                  <a:pt x="3044480" y="713305"/>
                  <a:pt x="3046400" y="713145"/>
                </a:cubicBezTo>
                <a:cubicBezTo>
                  <a:pt x="3049760" y="712665"/>
                  <a:pt x="3343520" y="673145"/>
                  <a:pt x="3494560" y="691385"/>
                </a:cubicBezTo>
                <a:cubicBezTo>
                  <a:pt x="3645440" y="709625"/>
                  <a:pt x="3804320" y="752985"/>
                  <a:pt x="3899360" y="801945"/>
                </a:cubicBezTo>
                <a:cubicBezTo>
                  <a:pt x="3936480" y="821145"/>
                  <a:pt x="3985440" y="849625"/>
                  <a:pt x="4032800" y="877145"/>
                </a:cubicBezTo>
                <a:cubicBezTo>
                  <a:pt x="4111520" y="922905"/>
                  <a:pt x="4185920" y="966105"/>
                  <a:pt x="4219840" y="975865"/>
                </a:cubicBezTo>
                <a:cubicBezTo>
                  <a:pt x="4274400" y="991545"/>
                  <a:pt x="4407200" y="1046905"/>
                  <a:pt x="4428960" y="1061465"/>
                </a:cubicBezTo>
                <a:cubicBezTo>
                  <a:pt x="4433280" y="1064345"/>
                  <a:pt x="4440000" y="1069465"/>
                  <a:pt x="4448480" y="1076025"/>
                </a:cubicBezTo>
                <a:cubicBezTo>
                  <a:pt x="4461760" y="1086105"/>
                  <a:pt x="4478720" y="1099225"/>
                  <a:pt x="4497600" y="1112185"/>
                </a:cubicBezTo>
                <a:cubicBezTo>
                  <a:pt x="4460960" y="1092665"/>
                  <a:pt x="4376960" y="1056505"/>
                  <a:pt x="4324160" y="1047065"/>
                </a:cubicBezTo>
                <a:cubicBezTo>
                  <a:pt x="4279200" y="1039065"/>
                  <a:pt x="4203841" y="1001945"/>
                  <a:pt x="4158720" y="979865"/>
                </a:cubicBezTo>
                <a:cubicBezTo>
                  <a:pt x="4148960" y="975065"/>
                  <a:pt x="4140480" y="970905"/>
                  <a:pt x="4133920" y="967865"/>
                </a:cubicBezTo>
                <a:cubicBezTo>
                  <a:pt x="4118880" y="960825"/>
                  <a:pt x="4079840" y="943865"/>
                  <a:pt x="4030240" y="922425"/>
                </a:cubicBezTo>
                <a:cubicBezTo>
                  <a:pt x="3954560" y="889785"/>
                  <a:pt x="3860480" y="849145"/>
                  <a:pt x="3798880" y="820505"/>
                </a:cubicBezTo>
                <a:cubicBezTo>
                  <a:pt x="3698080" y="773785"/>
                  <a:pt x="3538400" y="744825"/>
                  <a:pt x="3448320" y="744825"/>
                </a:cubicBezTo>
                <a:cubicBezTo>
                  <a:pt x="3435200" y="744825"/>
                  <a:pt x="3417920" y="744665"/>
                  <a:pt x="3397120" y="744505"/>
                </a:cubicBezTo>
                <a:cubicBezTo>
                  <a:pt x="3365280" y="744185"/>
                  <a:pt x="3326400" y="743865"/>
                  <a:pt x="3283040" y="743865"/>
                </a:cubicBezTo>
                <a:cubicBezTo>
                  <a:pt x="3162240" y="743865"/>
                  <a:pt x="3007040" y="746745"/>
                  <a:pt x="2876800" y="762425"/>
                </a:cubicBezTo>
                <a:cubicBezTo>
                  <a:pt x="2672800" y="786905"/>
                  <a:pt x="2619200" y="832985"/>
                  <a:pt x="2530400" y="909465"/>
                </a:cubicBezTo>
                <a:lnTo>
                  <a:pt x="2522080" y="916505"/>
                </a:lnTo>
                <a:cubicBezTo>
                  <a:pt x="2430400" y="995225"/>
                  <a:pt x="2280480" y="1095225"/>
                  <a:pt x="2279040" y="1096185"/>
                </a:cubicBezTo>
                <a:cubicBezTo>
                  <a:pt x="2278560" y="1096505"/>
                  <a:pt x="2278240" y="1096985"/>
                  <a:pt x="2277920" y="1097305"/>
                </a:cubicBezTo>
                <a:cubicBezTo>
                  <a:pt x="2263680" y="1104025"/>
                  <a:pt x="2250720" y="1110425"/>
                  <a:pt x="2240160" y="1116185"/>
                </a:cubicBezTo>
                <a:cubicBezTo>
                  <a:pt x="2229760" y="1121465"/>
                  <a:pt x="2214880" y="1132825"/>
                  <a:pt x="2197120" y="1148345"/>
                </a:cubicBezTo>
                <a:close/>
                <a:moveTo>
                  <a:pt x="6942080" y="1150265"/>
                </a:moveTo>
                <a:cubicBezTo>
                  <a:pt x="6917120" y="1062265"/>
                  <a:pt x="6802080" y="952025"/>
                  <a:pt x="6800800" y="950905"/>
                </a:cubicBezTo>
                <a:cubicBezTo>
                  <a:pt x="6780160" y="931545"/>
                  <a:pt x="6667360" y="829465"/>
                  <a:pt x="6477920" y="729625"/>
                </a:cubicBezTo>
                <a:cubicBezTo>
                  <a:pt x="6283200" y="626905"/>
                  <a:pt x="6104640" y="572665"/>
                  <a:pt x="5795680" y="522425"/>
                </a:cubicBezTo>
                <a:cubicBezTo>
                  <a:pt x="5490881" y="472825"/>
                  <a:pt x="5094881" y="540505"/>
                  <a:pt x="4938720" y="572025"/>
                </a:cubicBezTo>
                <a:cubicBezTo>
                  <a:pt x="4899680" y="579865"/>
                  <a:pt x="4832800" y="595705"/>
                  <a:pt x="4755360" y="614105"/>
                </a:cubicBezTo>
                <a:cubicBezTo>
                  <a:pt x="4622080" y="645785"/>
                  <a:pt x="4456320" y="684985"/>
                  <a:pt x="4399680" y="690265"/>
                </a:cubicBezTo>
                <a:cubicBezTo>
                  <a:pt x="4321281" y="697465"/>
                  <a:pt x="4222081" y="676025"/>
                  <a:pt x="4203841" y="671705"/>
                </a:cubicBezTo>
                <a:cubicBezTo>
                  <a:pt x="4194240" y="657465"/>
                  <a:pt x="4147840" y="588025"/>
                  <a:pt x="4123200" y="551545"/>
                </a:cubicBezTo>
                <a:cubicBezTo>
                  <a:pt x="4169600" y="556985"/>
                  <a:pt x="4299680" y="568665"/>
                  <a:pt x="4412960" y="550105"/>
                </a:cubicBezTo>
                <a:cubicBezTo>
                  <a:pt x="4462881" y="541945"/>
                  <a:pt x="4529120" y="528985"/>
                  <a:pt x="4599360" y="515225"/>
                </a:cubicBezTo>
                <a:cubicBezTo>
                  <a:pt x="4729600" y="489785"/>
                  <a:pt x="4877280" y="460825"/>
                  <a:pt x="4989120" y="448505"/>
                </a:cubicBezTo>
                <a:cubicBezTo>
                  <a:pt x="5179360" y="427545"/>
                  <a:pt x="5546881" y="401785"/>
                  <a:pt x="5873120" y="465625"/>
                </a:cubicBezTo>
                <a:cubicBezTo>
                  <a:pt x="6215840" y="532665"/>
                  <a:pt x="6398400" y="601945"/>
                  <a:pt x="6654240" y="761945"/>
                </a:cubicBezTo>
                <a:cubicBezTo>
                  <a:pt x="6908480" y="920985"/>
                  <a:pt x="6960000" y="1070745"/>
                  <a:pt x="6962720" y="1079225"/>
                </a:cubicBezTo>
                <a:cubicBezTo>
                  <a:pt x="6958240" y="1103225"/>
                  <a:pt x="6951200" y="1126905"/>
                  <a:pt x="6942080" y="1150265"/>
                </a:cubicBezTo>
                <a:close/>
                <a:moveTo>
                  <a:pt x="8651040" y="1151705"/>
                </a:moveTo>
                <a:cubicBezTo>
                  <a:pt x="8766080" y="1138745"/>
                  <a:pt x="9039040" y="1069785"/>
                  <a:pt x="9124160" y="1047865"/>
                </a:cubicBezTo>
                <a:cubicBezTo>
                  <a:pt x="9139200" y="1044025"/>
                  <a:pt x="9159200" y="1037625"/>
                  <a:pt x="9182560" y="1030425"/>
                </a:cubicBezTo>
                <a:cubicBezTo>
                  <a:pt x="9295200" y="995225"/>
                  <a:pt x="9503520" y="930585"/>
                  <a:pt x="9684960" y="966585"/>
                </a:cubicBezTo>
                <a:cubicBezTo>
                  <a:pt x="9681920" y="974745"/>
                  <a:pt x="9678880" y="982585"/>
                  <a:pt x="9676320" y="989625"/>
                </a:cubicBezTo>
                <a:cubicBezTo>
                  <a:pt x="9671200" y="1003545"/>
                  <a:pt x="9667840" y="1024985"/>
                  <a:pt x="9666080" y="1051385"/>
                </a:cubicBezTo>
                <a:cubicBezTo>
                  <a:pt x="9469760" y="996825"/>
                  <a:pt x="9220320" y="1075545"/>
                  <a:pt x="9217760" y="1076345"/>
                </a:cubicBezTo>
                <a:cubicBezTo>
                  <a:pt x="9216160" y="1076825"/>
                  <a:pt x="9019520" y="1130745"/>
                  <a:pt x="8839680" y="1144665"/>
                </a:cubicBezTo>
                <a:cubicBezTo>
                  <a:pt x="8781920" y="1149145"/>
                  <a:pt x="8716480" y="1151065"/>
                  <a:pt x="8651040" y="1151705"/>
                </a:cubicBezTo>
                <a:close/>
                <a:moveTo>
                  <a:pt x="8040640" y="1151705"/>
                </a:moveTo>
                <a:cubicBezTo>
                  <a:pt x="8098720" y="1140345"/>
                  <a:pt x="8158080" y="1130585"/>
                  <a:pt x="8213921" y="1124985"/>
                </a:cubicBezTo>
                <a:cubicBezTo>
                  <a:pt x="8362560" y="1109945"/>
                  <a:pt x="8657280" y="1058265"/>
                  <a:pt x="8767040" y="1027865"/>
                </a:cubicBezTo>
                <a:cubicBezTo>
                  <a:pt x="8879520" y="996825"/>
                  <a:pt x="9112320" y="897465"/>
                  <a:pt x="9114720" y="896505"/>
                </a:cubicBezTo>
                <a:cubicBezTo>
                  <a:pt x="9116480" y="895865"/>
                  <a:pt x="9305600" y="819865"/>
                  <a:pt x="9347040" y="808665"/>
                </a:cubicBezTo>
                <a:cubicBezTo>
                  <a:pt x="9389600" y="797145"/>
                  <a:pt x="9607200" y="743545"/>
                  <a:pt x="9761760" y="794425"/>
                </a:cubicBezTo>
                <a:cubicBezTo>
                  <a:pt x="9752480" y="811385"/>
                  <a:pt x="9741920" y="832985"/>
                  <a:pt x="9731360" y="856345"/>
                </a:cubicBezTo>
                <a:cubicBezTo>
                  <a:pt x="9684000" y="845465"/>
                  <a:pt x="9634720" y="839865"/>
                  <a:pt x="9583520" y="839865"/>
                </a:cubicBezTo>
                <a:cubicBezTo>
                  <a:pt x="9490240" y="839865"/>
                  <a:pt x="9390720" y="858105"/>
                  <a:pt x="9286240" y="894265"/>
                </a:cubicBezTo>
                <a:lnTo>
                  <a:pt x="9282240" y="895705"/>
                </a:lnTo>
                <a:cubicBezTo>
                  <a:pt x="9252480" y="905945"/>
                  <a:pt x="9175840" y="935065"/>
                  <a:pt x="9101760" y="963225"/>
                </a:cubicBezTo>
                <a:cubicBezTo>
                  <a:pt x="9051360" y="982425"/>
                  <a:pt x="9000800" y="1001625"/>
                  <a:pt x="8963840" y="1015385"/>
                </a:cubicBezTo>
                <a:cubicBezTo>
                  <a:pt x="8873920" y="1048825"/>
                  <a:pt x="8612800" y="1108825"/>
                  <a:pt x="8520160" y="1117465"/>
                </a:cubicBezTo>
                <a:cubicBezTo>
                  <a:pt x="8458240" y="1123225"/>
                  <a:pt x="8295200" y="1136825"/>
                  <a:pt x="8175840" y="1144985"/>
                </a:cubicBezTo>
                <a:cubicBezTo>
                  <a:pt x="8144160" y="1145945"/>
                  <a:pt x="8117440" y="1147225"/>
                  <a:pt x="8099360" y="1148825"/>
                </a:cubicBezTo>
                <a:cubicBezTo>
                  <a:pt x="8094240" y="1149305"/>
                  <a:pt x="8089280" y="1149945"/>
                  <a:pt x="8084160" y="1150585"/>
                </a:cubicBezTo>
                <a:cubicBezTo>
                  <a:pt x="8069920" y="1151385"/>
                  <a:pt x="8058400" y="1151705"/>
                  <a:pt x="8050400" y="1151705"/>
                </a:cubicBezTo>
                <a:cubicBezTo>
                  <a:pt x="8047360" y="1151705"/>
                  <a:pt x="8044000" y="1151705"/>
                  <a:pt x="8040640" y="1151705"/>
                </a:cubicBezTo>
                <a:close/>
                <a:moveTo>
                  <a:pt x="10411280" y="1207553"/>
                </a:moveTo>
                <a:cubicBezTo>
                  <a:pt x="10387530" y="1206825"/>
                  <a:pt x="10366480" y="1205225"/>
                  <a:pt x="10350720" y="1204025"/>
                </a:cubicBezTo>
                <a:lnTo>
                  <a:pt x="10341600" y="1203385"/>
                </a:lnTo>
                <a:cubicBezTo>
                  <a:pt x="10290880" y="1199705"/>
                  <a:pt x="10165920" y="1188505"/>
                  <a:pt x="10021280" y="1175545"/>
                </a:cubicBezTo>
                <a:lnTo>
                  <a:pt x="9932320" y="1167545"/>
                </a:lnTo>
                <a:cubicBezTo>
                  <a:pt x="9780960" y="1154105"/>
                  <a:pt x="9698240" y="1116665"/>
                  <a:pt x="9680800" y="1107545"/>
                </a:cubicBezTo>
                <a:cubicBezTo>
                  <a:pt x="9680160" y="1064505"/>
                  <a:pt x="9683040" y="1027865"/>
                  <a:pt x="9688960" y="1004665"/>
                </a:cubicBezTo>
                <a:cubicBezTo>
                  <a:pt x="9715360" y="1020505"/>
                  <a:pt x="9796640" y="1064985"/>
                  <a:pt x="9881760" y="1066905"/>
                </a:cubicBezTo>
                <a:cubicBezTo>
                  <a:pt x="9981760" y="1069145"/>
                  <a:pt x="10196000" y="1102425"/>
                  <a:pt x="10205760" y="1104825"/>
                </a:cubicBezTo>
                <a:cubicBezTo>
                  <a:pt x="10216160" y="1107705"/>
                  <a:pt x="10391680" y="1123065"/>
                  <a:pt x="10455680" y="1123065"/>
                </a:cubicBezTo>
                <a:cubicBezTo>
                  <a:pt x="10522880" y="1123065"/>
                  <a:pt x="10586240" y="1123065"/>
                  <a:pt x="10635680" y="1088025"/>
                </a:cubicBezTo>
                <a:cubicBezTo>
                  <a:pt x="10645760" y="1080665"/>
                  <a:pt x="10656480" y="1071865"/>
                  <a:pt x="10667840" y="1062425"/>
                </a:cubicBezTo>
                <a:cubicBezTo>
                  <a:pt x="10710240" y="1027385"/>
                  <a:pt x="10762880" y="983705"/>
                  <a:pt x="10846240" y="975065"/>
                </a:cubicBezTo>
                <a:cubicBezTo>
                  <a:pt x="10949920" y="964345"/>
                  <a:pt x="11121280" y="967865"/>
                  <a:pt x="11220640" y="977305"/>
                </a:cubicBezTo>
                <a:cubicBezTo>
                  <a:pt x="11312800" y="985945"/>
                  <a:pt x="11449920" y="1011065"/>
                  <a:pt x="11523360" y="1032185"/>
                </a:cubicBezTo>
                <a:cubicBezTo>
                  <a:pt x="11537121" y="1042105"/>
                  <a:pt x="11546560" y="1050105"/>
                  <a:pt x="11549920" y="1053465"/>
                </a:cubicBezTo>
                <a:cubicBezTo>
                  <a:pt x="11551520" y="1055065"/>
                  <a:pt x="11555040" y="1057625"/>
                  <a:pt x="11560160" y="1060985"/>
                </a:cubicBezTo>
                <a:cubicBezTo>
                  <a:pt x="11527840" y="1051545"/>
                  <a:pt x="11496480" y="1045465"/>
                  <a:pt x="11490080" y="1044345"/>
                </a:cubicBezTo>
                <a:cubicBezTo>
                  <a:pt x="11488000" y="1043705"/>
                  <a:pt x="11423680" y="1026265"/>
                  <a:pt x="11243680" y="1021785"/>
                </a:cubicBezTo>
                <a:cubicBezTo>
                  <a:pt x="11183520" y="1020345"/>
                  <a:pt x="11126400" y="1019545"/>
                  <a:pt x="11074560" y="1019545"/>
                </a:cubicBezTo>
                <a:cubicBezTo>
                  <a:pt x="10967360" y="1019545"/>
                  <a:pt x="10882560" y="1022585"/>
                  <a:pt x="10838560" y="1028505"/>
                </a:cubicBezTo>
                <a:cubicBezTo>
                  <a:pt x="10776160" y="1036825"/>
                  <a:pt x="10711360" y="1076185"/>
                  <a:pt x="10628000" y="1156185"/>
                </a:cubicBezTo>
                <a:cubicBezTo>
                  <a:pt x="10578080" y="1204065"/>
                  <a:pt x="10482530" y="1209735"/>
                  <a:pt x="10411280" y="1207553"/>
                </a:cubicBezTo>
                <a:close/>
                <a:moveTo>
                  <a:pt x="7748160" y="1209785"/>
                </a:moveTo>
                <a:cubicBezTo>
                  <a:pt x="7775680" y="1194265"/>
                  <a:pt x="7798240" y="1182105"/>
                  <a:pt x="7810400" y="1176025"/>
                </a:cubicBezTo>
                <a:cubicBezTo>
                  <a:pt x="7859520" y="1151865"/>
                  <a:pt x="8063360" y="1100185"/>
                  <a:pt x="8106080" y="1093785"/>
                </a:cubicBezTo>
                <a:cubicBezTo>
                  <a:pt x="8151840" y="1086745"/>
                  <a:pt x="8314400" y="1052825"/>
                  <a:pt x="8377121" y="1035225"/>
                </a:cubicBezTo>
                <a:cubicBezTo>
                  <a:pt x="8396960" y="1029625"/>
                  <a:pt x="8436320" y="1023065"/>
                  <a:pt x="8481760" y="1015225"/>
                </a:cubicBezTo>
                <a:cubicBezTo>
                  <a:pt x="8581600" y="998265"/>
                  <a:pt x="8718400" y="974745"/>
                  <a:pt x="8787840" y="940665"/>
                </a:cubicBezTo>
                <a:cubicBezTo>
                  <a:pt x="8871040" y="899705"/>
                  <a:pt x="9136160" y="778105"/>
                  <a:pt x="9259040" y="757465"/>
                </a:cubicBezTo>
                <a:cubicBezTo>
                  <a:pt x="9357440" y="740825"/>
                  <a:pt x="9616960" y="697145"/>
                  <a:pt x="9795360" y="735865"/>
                </a:cubicBezTo>
                <a:cubicBezTo>
                  <a:pt x="9790240" y="749305"/>
                  <a:pt x="9782720" y="760665"/>
                  <a:pt x="9776640" y="769785"/>
                </a:cubicBezTo>
                <a:lnTo>
                  <a:pt x="9774720" y="772665"/>
                </a:lnTo>
                <a:cubicBezTo>
                  <a:pt x="9773280" y="774905"/>
                  <a:pt x="9771680" y="777465"/>
                  <a:pt x="9770080" y="780185"/>
                </a:cubicBezTo>
                <a:cubicBezTo>
                  <a:pt x="9718720" y="762745"/>
                  <a:pt x="9661280" y="756345"/>
                  <a:pt x="9605280" y="756345"/>
                </a:cubicBezTo>
                <a:cubicBezTo>
                  <a:pt x="9492000" y="756345"/>
                  <a:pt x="9384160" y="781945"/>
                  <a:pt x="9343040" y="792985"/>
                </a:cubicBezTo>
                <a:cubicBezTo>
                  <a:pt x="9300640" y="804345"/>
                  <a:pt x="9116480" y="878425"/>
                  <a:pt x="9108640" y="881625"/>
                </a:cubicBezTo>
                <a:cubicBezTo>
                  <a:pt x="9106240" y="882745"/>
                  <a:pt x="8874240" y="981465"/>
                  <a:pt x="8762880" y="1012345"/>
                </a:cubicBezTo>
                <a:cubicBezTo>
                  <a:pt x="8653760" y="1042585"/>
                  <a:pt x="8360480" y="1094105"/>
                  <a:pt x="8212480" y="1108985"/>
                </a:cubicBezTo>
                <a:cubicBezTo>
                  <a:pt x="8114400" y="1118745"/>
                  <a:pt x="8005600" y="1140985"/>
                  <a:pt x="7912000" y="1163385"/>
                </a:cubicBezTo>
                <a:cubicBezTo>
                  <a:pt x="7879520" y="1168985"/>
                  <a:pt x="7844960" y="1177145"/>
                  <a:pt x="7811040" y="1188985"/>
                </a:cubicBezTo>
                <a:cubicBezTo>
                  <a:pt x="7789280" y="1194905"/>
                  <a:pt x="7768320" y="1201945"/>
                  <a:pt x="7748160" y="1209785"/>
                </a:cubicBezTo>
                <a:close/>
                <a:moveTo>
                  <a:pt x="4623681" y="1234905"/>
                </a:moveTo>
                <a:cubicBezTo>
                  <a:pt x="4607520" y="1223705"/>
                  <a:pt x="4592000" y="1213465"/>
                  <a:pt x="4577441" y="1205305"/>
                </a:cubicBezTo>
                <a:cubicBezTo>
                  <a:pt x="4525760" y="1176345"/>
                  <a:pt x="4440640" y="1149145"/>
                  <a:pt x="4324000" y="1124505"/>
                </a:cubicBezTo>
                <a:cubicBezTo>
                  <a:pt x="4283360" y="1115865"/>
                  <a:pt x="4159520" y="1089625"/>
                  <a:pt x="4080800" y="1052665"/>
                </a:cubicBezTo>
                <a:cubicBezTo>
                  <a:pt x="4023200" y="1025625"/>
                  <a:pt x="3867360" y="983065"/>
                  <a:pt x="3764160" y="954905"/>
                </a:cubicBezTo>
                <a:cubicBezTo>
                  <a:pt x="3733600" y="946585"/>
                  <a:pt x="3708000" y="939545"/>
                  <a:pt x="3692160" y="934905"/>
                </a:cubicBezTo>
                <a:cubicBezTo>
                  <a:pt x="3630720" y="916825"/>
                  <a:pt x="3466880" y="908985"/>
                  <a:pt x="3358400" y="903865"/>
                </a:cubicBezTo>
                <a:lnTo>
                  <a:pt x="3321440" y="902105"/>
                </a:lnTo>
                <a:cubicBezTo>
                  <a:pt x="3280960" y="900025"/>
                  <a:pt x="3249280" y="893305"/>
                  <a:pt x="3209280" y="884825"/>
                </a:cubicBezTo>
                <a:cubicBezTo>
                  <a:pt x="3151680" y="872505"/>
                  <a:pt x="3079840" y="857305"/>
                  <a:pt x="2943360" y="847065"/>
                </a:cubicBezTo>
                <a:cubicBezTo>
                  <a:pt x="2927200" y="845945"/>
                  <a:pt x="2911840" y="845305"/>
                  <a:pt x="2897280" y="845305"/>
                </a:cubicBezTo>
                <a:cubicBezTo>
                  <a:pt x="2700480" y="845305"/>
                  <a:pt x="2652160" y="949465"/>
                  <a:pt x="2650080" y="954265"/>
                </a:cubicBezTo>
                <a:cubicBezTo>
                  <a:pt x="2649760" y="954905"/>
                  <a:pt x="2649760" y="955545"/>
                  <a:pt x="2649600" y="956185"/>
                </a:cubicBezTo>
                <a:cubicBezTo>
                  <a:pt x="2598400" y="984985"/>
                  <a:pt x="2526560" y="1015705"/>
                  <a:pt x="2475200" y="1031865"/>
                </a:cubicBezTo>
                <a:cubicBezTo>
                  <a:pt x="2516320" y="1003545"/>
                  <a:pt x="2582560" y="957465"/>
                  <a:pt x="2624800" y="926745"/>
                </a:cubicBezTo>
                <a:cubicBezTo>
                  <a:pt x="2631360" y="921945"/>
                  <a:pt x="2637760" y="917145"/>
                  <a:pt x="2644000" y="912505"/>
                </a:cubicBezTo>
                <a:cubicBezTo>
                  <a:pt x="2699360" y="871225"/>
                  <a:pt x="2751520" y="832185"/>
                  <a:pt x="2874880" y="823385"/>
                </a:cubicBezTo>
                <a:cubicBezTo>
                  <a:pt x="3008160" y="813945"/>
                  <a:pt x="3158880" y="820505"/>
                  <a:pt x="3268800" y="825305"/>
                </a:cubicBezTo>
                <a:lnTo>
                  <a:pt x="3283200" y="825945"/>
                </a:lnTo>
                <a:cubicBezTo>
                  <a:pt x="3306720" y="827065"/>
                  <a:pt x="3332320" y="827865"/>
                  <a:pt x="3358560" y="828665"/>
                </a:cubicBezTo>
                <a:cubicBezTo>
                  <a:pt x="3459680" y="831865"/>
                  <a:pt x="3574240" y="835545"/>
                  <a:pt x="3634880" y="853145"/>
                </a:cubicBezTo>
                <a:cubicBezTo>
                  <a:pt x="3711680" y="875385"/>
                  <a:pt x="3899840" y="939705"/>
                  <a:pt x="3943840" y="960025"/>
                </a:cubicBezTo>
                <a:cubicBezTo>
                  <a:pt x="3984640" y="978745"/>
                  <a:pt x="4126240" y="1039865"/>
                  <a:pt x="4171360" y="1052825"/>
                </a:cubicBezTo>
                <a:cubicBezTo>
                  <a:pt x="4216960" y="1065945"/>
                  <a:pt x="4333600" y="1097945"/>
                  <a:pt x="4364000" y="1105305"/>
                </a:cubicBezTo>
                <a:cubicBezTo>
                  <a:pt x="4393441" y="1112345"/>
                  <a:pt x="4541120" y="1166745"/>
                  <a:pt x="4584161" y="1196185"/>
                </a:cubicBezTo>
                <a:close/>
                <a:moveTo>
                  <a:pt x="7644160" y="1250265"/>
                </a:moveTo>
                <a:cubicBezTo>
                  <a:pt x="7746400" y="1178585"/>
                  <a:pt x="7827840" y="1129945"/>
                  <a:pt x="7873440" y="1113625"/>
                </a:cubicBezTo>
                <a:cubicBezTo>
                  <a:pt x="7938240" y="1090585"/>
                  <a:pt x="7996160" y="1080825"/>
                  <a:pt x="8027360" y="1075705"/>
                </a:cubicBezTo>
                <a:lnTo>
                  <a:pt x="8039200" y="1073625"/>
                </a:lnTo>
                <a:cubicBezTo>
                  <a:pt x="8065280" y="1068825"/>
                  <a:pt x="8165280" y="1046425"/>
                  <a:pt x="8218240" y="1030745"/>
                </a:cubicBezTo>
                <a:cubicBezTo>
                  <a:pt x="8238720" y="1024665"/>
                  <a:pt x="8261921" y="1016505"/>
                  <a:pt x="8286560" y="1007865"/>
                </a:cubicBezTo>
                <a:cubicBezTo>
                  <a:pt x="8324800" y="994265"/>
                  <a:pt x="8364320" y="980345"/>
                  <a:pt x="8392960" y="974905"/>
                </a:cubicBezTo>
                <a:cubicBezTo>
                  <a:pt x="8442240" y="965465"/>
                  <a:pt x="8603200" y="929625"/>
                  <a:pt x="8659520" y="902425"/>
                </a:cubicBezTo>
                <a:cubicBezTo>
                  <a:pt x="8674560" y="895225"/>
                  <a:pt x="8698560" y="882425"/>
                  <a:pt x="8726400" y="867545"/>
                </a:cubicBezTo>
                <a:cubicBezTo>
                  <a:pt x="8800160" y="828025"/>
                  <a:pt x="8911520" y="768505"/>
                  <a:pt x="8961440" y="757305"/>
                </a:cubicBezTo>
                <a:lnTo>
                  <a:pt x="8996800" y="749305"/>
                </a:lnTo>
                <a:cubicBezTo>
                  <a:pt x="9099200" y="725945"/>
                  <a:pt x="9338880" y="671225"/>
                  <a:pt x="9411680" y="663385"/>
                </a:cubicBezTo>
                <a:cubicBezTo>
                  <a:pt x="9494880" y="654425"/>
                  <a:pt x="9667680" y="654585"/>
                  <a:pt x="9699360" y="658905"/>
                </a:cubicBezTo>
                <a:cubicBezTo>
                  <a:pt x="9736480" y="664025"/>
                  <a:pt x="9788480" y="682265"/>
                  <a:pt x="9799520" y="698265"/>
                </a:cubicBezTo>
                <a:cubicBezTo>
                  <a:pt x="9800000" y="698745"/>
                  <a:pt x="9800480" y="699065"/>
                  <a:pt x="9800960" y="699545"/>
                </a:cubicBezTo>
                <a:cubicBezTo>
                  <a:pt x="9801600" y="706905"/>
                  <a:pt x="9800960" y="713945"/>
                  <a:pt x="9799520" y="720025"/>
                </a:cubicBezTo>
                <a:cubicBezTo>
                  <a:pt x="9745280" y="708185"/>
                  <a:pt x="9684800" y="703545"/>
                  <a:pt x="9623520" y="703545"/>
                </a:cubicBezTo>
                <a:cubicBezTo>
                  <a:pt x="9479840" y="703545"/>
                  <a:pt x="9332480" y="728505"/>
                  <a:pt x="9256160" y="741305"/>
                </a:cubicBezTo>
                <a:cubicBezTo>
                  <a:pt x="9130880" y="762425"/>
                  <a:pt x="8870400" y="881785"/>
                  <a:pt x="8780640" y="925945"/>
                </a:cubicBezTo>
                <a:cubicBezTo>
                  <a:pt x="8713280" y="959225"/>
                  <a:pt x="8577760" y="982265"/>
                  <a:pt x="8478880" y="999225"/>
                </a:cubicBezTo>
                <a:cubicBezTo>
                  <a:pt x="8431200" y="1007385"/>
                  <a:pt x="8393440" y="1013945"/>
                  <a:pt x="8372640" y="1019705"/>
                </a:cubicBezTo>
                <a:cubicBezTo>
                  <a:pt x="8310400" y="1037145"/>
                  <a:pt x="8148960" y="1070905"/>
                  <a:pt x="8103520" y="1077785"/>
                </a:cubicBezTo>
                <a:cubicBezTo>
                  <a:pt x="8059040" y="1084505"/>
                  <a:pt x="7854560" y="1136185"/>
                  <a:pt x="7803200" y="1161465"/>
                </a:cubicBezTo>
                <a:cubicBezTo>
                  <a:pt x="7778240" y="1173785"/>
                  <a:pt x="7710881" y="1211865"/>
                  <a:pt x="7644160" y="1250265"/>
                </a:cubicBezTo>
                <a:close/>
                <a:moveTo>
                  <a:pt x="4637920" y="1264825"/>
                </a:moveTo>
                <a:cubicBezTo>
                  <a:pt x="4576160" y="1227705"/>
                  <a:pt x="4500960" y="1198585"/>
                  <a:pt x="4446561" y="1192345"/>
                </a:cubicBezTo>
                <a:cubicBezTo>
                  <a:pt x="4428160" y="1190265"/>
                  <a:pt x="4408960" y="1188345"/>
                  <a:pt x="4388480" y="1186265"/>
                </a:cubicBezTo>
                <a:cubicBezTo>
                  <a:pt x="4332960" y="1180665"/>
                  <a:pt x="4270240" y="1174425"/>
                  <a:pt x="4193280" y="1161305"/>
                </a:cubicBezTo>
                <a:cubicBezTo>
                  <a:pt x="4088000" y="1143385"/>
                  <a:pt x="3904320" y="1079865"/>
                  <a:pt x="3835520" y="1050745"/>
                </a:cubicBezTo>
                <a:cubicBezTo>
                  <a:pt x="3764800" y="1020985"/>
                  <a:pt x="3549440" y="990105"/>
                  <a:pt x="3438080" y="982905"/>
                </a:cubicBezTo>
                <a:cubicBezTo>
                  <a:pt x="3337600" y="976345"/>
                  <a:pt x="3304960" y="966265"/>
                  <a:pt x="3233280" y="944025"/>
                </a:cubicBezTo>
                <a:cubicBezTo>
                  <a:pt x="3221120" y="940185"/>
                  <a:pt x="3207840" y="936025"/>
                  <a:pt x="3192800" y="931545"/>
                </a:cubicBezTo>
                <a:cubicBezTo>
                  <a:pt x="3090720" y="900665"/>
                  <a:pt x="2953760" y="880985"/>
                  <a:pt x="2952320" y="880825"/>
                </a:cubicBezTo>
                <a:cubicBezTo>
                  <a:pt x="2952320" y="880825"/>
                  <a:pt x="2952160" y="880825"/>
                  <a:pt x="2952160" y="880825"/>
                </a:cubicBezTo>
                <a:cubicBezTo>
                  <a:pt x="2939360" y="877145"/>
                  <a:pt x="2927200" y="874905"/>
                  <a:pt x="2916320" y="874425"/>
                </a:cubicBezTo>
                <a:cubicBezTo>
                  <a:pt x="2910400" y="874265"/>
                  <a:pt x="2904000" y="874105"/>
                  <a:pt x="2897600" y="874105"/>
                </a:cubicBezTo>
                <a:cubicBezTo>
                  <a:pt x="2830400" y="874105"/>
                  <a:pt x="2743360" y="887705"/>
                  <a:pt x="2694080" y="927705"/>
                </a:cubicBezTo>
                <a:cubicBezTo>
                  <a:pt x="2690880" y="930265"/>
                  <a:pt x="2687200" y="932985"/>
                  <a:pt x="2683360" y="935705"/>
                </a:cubicBezTo>
                <a:cubicBezTo>
                  <a:pt x="2713600" y="902905"/>
                  <a:pt x="2786720" y="851705"/>
                  <a:pt x="2942080" y="863545"/>
                </a:cubicBezTo>
                <a:cubicBezTo>
                  <a:pt x="3077600" y="873785"/>
                  <a:pt x="3148800" y="888825"/>
                  <a:pt x="3205920" y="900985"/>
                </a:cubicBezTo>
                <a:cubicBezTo>
                  <a:pt x="3246720" y="909625"/>
                  <a:pt x="3278880" y="916505"/>
                  <a:pt x="3320640" y="918585"/>
                </a:cubicBezTo>
                <a:lnTo>
                  <a:pt x="3357600" y="920345"/>
                </a:lnTo>
                <a:cubicBezTo>
                  <a:pt x="3458720" y="925145"/>
                  <a:pt x="3628000" y="933305"/>
                  <a:pt x="3687680" y="950745"/>
                </a:cubicBezTo>
                <a:cubicBezTo>
                  <a:pt x="3703680" y="955385"/>
                  <a:pt x="3729120" y="962425"/>
                  <a:pt x="3760000" y="970745"/>
                </a:cubicBezTo>
                <a:cubicBezTo>
                  <a:pt x="3862560" y="998745"/>
                  <a:pt x="4017600" y="1040985"/>
                  <a:pt x="4074080" y="1067545"/>
                </a:cubicBezTo>
                <a:cubicBezTo>
                  <a:pt x="4154560" y="1105305"/>
                  <a:pt x="4279680" y="1131865"/>
                  <a:pt x="4320800" y="1140505"/>
                </a:cubicBezTo>
                <a:cubicBezTo>
                  <a:pt x="4435840" y="1164825"/>
                  <a:pt x="4519520" y="1191385"/>
                  <a:pt x="4569760" y="1219545"/>
                </a:cubicBezTo>
                <a:cubicBezTo>
                  <a:pt x="4590560" y="1231065"/>
                  <a:pt x="4613601" y="1247225"/>
                  <a:pt x="4637920" y="1264825"/>
                </a:cubicBezTo>
                <a:close/>
                <a:moveTo>
                  <a:pt x="6877600" y="1276665"/>
                </a:moveTo>
                <a:cubicBezTo>
                  <a:pt x="6884320" y="1244985"/>
                  <a:pt x="6890720" y="1208665"/>
                  <a:pt x="6888960" y="1192505"/>
                </a:cubicBezTo>
                <a:cubicBezTo>
                  <a:pt x="6885440" y="1161145"/>
                  <a:pt x="6831200" y="1060665"/>
                  <a:pt x="6766560" y="1005625"/>
                </a:cubicBezTo>
                <a:cubicBezTo>
                  <a:pt x="6709920" y="957465"/>
                  <a:pt x="6559360" y="829625"/>
                  <a:pt x="6323520" y="740185"/>
                </a:cubicBezTo>
                <a:cubicBezTo>
                  <a:pt x="6113920" y="660665"/>
                  <a:pt x="5875200" y="587865"/>
                  <a:pt x="5551840" y="593785"/>
                </a:cubicBezTo>
                <a:cubicBezTo>
                  <a:pt x="5360320" y="597305"/>
                  <a:pt x="5110560" y="634745"/>
                  <a:pt x="4809280" y="705465"/>
                </a:cubicBezTo>
                <a:lnTo>
                  <a:pt x="4791680" y="709625"/>
                </a:lnTo>
                <a:cubicBezTo>
                  <a:pt x="4768320" y="715065"/>
                  <a:pt x="4730881" y="723865"/>
                  <a:pt x="4688320" y="733945"/>
                </a:cubicBezTo>
                <a:cubicBezTo>
                  <a:pt x="4599680" y="754905"/>
                  <a:pt x="4489441" y="780985"/>
                  <a:pt x="4436481" y="792185"/>
                </a:cubicBezTo>
                <a:cubicBezTo>
                  <a:pt x="4368960" y="806265"/>
                  <a:pt x="4275360" y="792025"/>
                  <a:pt x="4254240" y="788185"/>
                </a:cubicBezTo>
                <a:cubicBezTo>
                  <a:pt x="4248480" y="772825"/>
                  <a:pt x="4229440" y="721465"/>
                  <a:pt x="4214400" y="690425"/>
                </a:cubicBezTo>
                <a:cubicBezTo>
                  <a:pt x="4249600" y="697785"/>
                  <a:pt x="4331840" y="712665"/>
                  <a:pt x="4401441" y="706105"/>
                </a:cubicBezTo>
                <a:cubicBezTo>
                  <a:pt x="4459200" y="700665"/>
                  <a:pt x="4618720" y="662905"/>
                  <a:pt x="4759360" y="629625"/>
                </a:cubicBezTo>
                <a:cubicBezTo>
                  <a:pt x="4836640" y="611385"/>
                  <a:pt x="4903360" y="595545"/>
                  <a:pt x="4942080" y="587705"/>
                </a:cubicBezTo>
                <a:cubicBezTo>
                  <a:pt x="5097440" y="556505"/>
                  <a:pt x="5491200" y="489145"/>
                  <a:pt x="5793440" y="538265"/>
                </a:cubicBezTo>
                <a:cubicBezTo>
                  <a:pt x="6104480" y="588985"/>
                  <a:pt x="6275360" y="640825"/>
                  <a:pt x="6470881" y="743865"/>
                </a:cubicBezTo>
                <a:cubicBezTo>
                  <a:pt x="6658400" y="842745"/>
                  <a:pt x="6769760" y="943545"/>
                  <a:pt x="6790240" y="962745"/>
                </a:cubicBezTo>
                <a:cubicBezTo>
                  <a:pt x="6824800" y="995385"/>
                  <a:pt x="6925120" y="1104185"/>
                  <a:pt x="6931200" y="1174905"/>
                </a:cubicBezTo>
                <a:cubicBezTo>
                  <a:pt x="6931200" y="1175225"/>
                  <a:pt x="6931360" y="1175545"/>
                  <a:pt x="6931520" y="1176025"/>
                </a:cubicBezTo>
                <a:cubicBezTo>
                  <a:pt x="6916000" y="1210425"/>
                  <a:pt x="6897120" y="1244025"/>
                  <a:pt x="6877600" y="1276665"/>
                </a:cubicBezTo>
                <a:close/>
                <a:moveTo>
                  <a:pt x="6892000" y="1283865"/>
                </a:moveTo>
                <a:cubicBezTo>
                  <a:pt x="6930240" y="1219705"/>
                  <a:pt x="6966240" y="1152345"/>
                  <a:pt x="6979520" y="1082105"/>
                </a:cubicBezTo>
                <a:cubicBezTo>
                  <a:pt x="7004480" y="1069625"/>
                  <a:pt x="7112000" y="1010425"/>
                  <a:pt x="7172800" y="891225"/>
                </a:cubicBezTo>
                <a:cubicBezTo>
                  <a:pt x="7236640" y="765785"/>
                  <a:pt x="7450240" y="513305"/>
                  <a:pt x="7592640" y="439065"/>
                </a:cubicBezTo>
                <a:cubicBezTo>
                  <a:pt x="7607200" y="431385"/>
                  <a:pt x="7621760" y="423545"/>
                  <a:pt x="7636480" y="415705"/>
                </a:cubicBezTo>
                <a:cubicBezTo>
                  <a:pt x="7765920" y="346425"/>
                  <a:pt x="7899840" y="274585"/>
                  <a:pt x="8214081" y="247545"/>
                </a:cubicBezTo>
                <a:cubicBezTo>
                  <a:pt x="8568320" y="216985"/>
                  <a:pt x="8871040" y="238265"/>
                  <a:pt x="9004640" y="271065"/>
                </a:cubicBezTo>
                <a:cubicBezTo>
                  <a:pt x="9018560" y="276505"/>
                  <a:pt x="9031840" y="281785"/>
                  <a:pt x="9044480" y="286585"/>
                </a:cubicBezTo>
                <a:cubicBezTo>
                  <a:pt x="8942560" y="268505"/>
                  <a:pt x="8844320" y="258265"/>
                  <a:pt x="8786720" y="258265"/>
                </a:cubicBezTo>
                <a:cubicBezTo>
                  <a:pt x="8780960" y="258265"/>
                  <a:pt x="8775680" y="258425"/>
                  <a:pt x="8770720" y="258585"/>
                </a:cubicBezTo>
                <a:cubicBezTo>
                  <a:pt x="8751040" y="259385"/>
                  <a:pt x="8721920" y="260025"/>
                  <a:pt x="8685600" y="260825"/>
                </a:cubicBezTo>
                <a:cubicBezTo>
                  <a:pt x="8578400" y="263225"/>
                  <a:pt x="8399200" y="267065"/>
                  <a:pt x="8225440" y="282265"/>
                </a:cubicBezTo>
                <a:cubicBezTo>
                  <a:pt x="7874240" y="313145"/>
                  <a:pt x="7655040" y="483225"/>
                  <a:pt x="7487040" y="645625"/>
                </a:cubicBezTo>
                <a:cubicBezTo>
                  <a:pt x="7303040" y="823385"/>
                  <a:pt x="7240320" y="917945"/>
                  <a:pt x="7179680" y="1009465"/>
                </a:cubicBezTo>
                <a:cubicBezTo>
                  <a:pt x="7150720" y="1052985"/>
                  <a:pt x="7123520" y="1094265"/>
                  <a:pt x="7084000" y="1142425"/>
                </a:cubicBezTo>
                <a:cubicBezTo>
                  <a:pt x="7000800" y="1244025"/>
                  <a:pt x="6928000" y="1274585"/>
                  <a:pt x="6892000" y="1283865"/>
                </a:cubicBezTo>
                <a:close/>
                <a:moveTo>
                  <a:pt x="7485600" y="1336025"/>
                </a:moveTo>
                <a:cubicBezTo>
                  <a:pt x="7508480" y="1318425"/>
                  <a:pt x="7529440" y="1301625"/>
                  <a:pt x="7543840" y="1289945"/>
                </a:cubicBezTo>
                <a:cubicBezTo>
                  <a:pt x="7549120" y="1285785"/>
                  <a:pt x="7555520" y="1280345"/>
                  <a:pt x="7563200" y="1273785"/>
                </a:cubicBezTo>
                <a:cubicBezTo>
                  <a:pt x="7620480" y="1225145"/>
                  <a:pt x="7754400" y="1111545"/>
                  <a:pt x="7900160" y="1078265"/>
                </a:cubicBezTo>
                <a:cubicBezTo>
                  <a:pt x="8083200" y="1036505"/>
                  <a:pt x="8199840" y="991705"/>
                  <a:pt x="8238240" y="976985"/>
                </a:cubicBezTo>
                <a:cubicBezTo>
                  <a:pt x="8268320" y="965465"/>
                  <a:pt x="8312480" y="951385"/>
                  <a:pt x="8355360" y="937945"/>
                </a:cubicBezTo>
                <a:cubicBezTo>
                  <a:pt x="8396480" y="924985"/>
                  <a:pt x="8435360" y="912825"/>
                  <a:pt x="8461121" y="902905"/>
                </a:cubicBezTo>
                <a:cubicBezTo>
                  <a:pt x="8513121" y="883065"/>
                  <a:pt x="8661760" y="806745"/>
                  <a:pt x="8708000" y="774105"/>
                </a:cubicBezTo>
                <a:cubicBezTo>
                  <a:pt x="8744480" y="748345"/>
                  <a:pt x="8882400" y="677625"/>
                  <a:pt x="9080160" y="658905"/>
                </a:cubicBezTo>
                <a:cubicBezTo>
                  <a:pt x="9177920" y="649625"/>
                  <a:pt x="9250080" y="640185"/>
                  <a:pt x="9308160" y="632665"/>
                </a:cubicBezTo>
                <a:cubicBezTo>
                  <a:pt x="9364480" y="625305"/>
                  <a:pt x="9408960" y="619545"/>
                  <a:pt x="9456000" y="616345"/>
                </a:cubicBezTo>
                <a:cubicBezTo>
                  <a:pt x="9552320" y="609785"/>
                  <a:pt x="9696640" y="616665"/>
                  <a:pt x="9786240" y="658265"/>
                </a:cubicBezTo>
                <a:cubicBezTo>
                  <a:pt x="9786400" y="658265"/>
                  <a:pt x="9786400" y="658265"/>
                  <a:pt x="9786560" y="658265"/>
                </a:cubicBezTo>
                <a:cubicBezTo>
                  <a:pt x="9789600" y="663225"/>
                  <a:pt x="9792160" y="668185"/>
                  <a:pt x="9793600" y="673305"/>
                </a:cubicBezTo>
                <a:cubicBezTo>
                  <a:pt x="9767200" y="657465"/>
                  <a:pt x="9724160" y="646265"/>
                  <a:pt x="9700800" y="643065"/>
                </a:cubicBezTo>
                <a:cubicBezTo>
                  <a:pt x="9686880" y="641145"/>
                  <a:pt x="9648000" y="640025"/>
                  <a:pt x="9601440" y="640025"/>
                </a:cubicBezTo>
                <a:cubicBezTo>
                  <a:pt x="9537600" y="640025"/>
                  <a:pt x="9459040" y="642265"/>
                  <a:pt x="9409280" y="647545"/>
                </a:cubicBezTo>
                <a:cubicBezTo>
                  <a:pt x="9335680" y="655385"/>
                  <a:pt x="9095360" y="710265"/>
                  <a:pt x="8992640" y="733785"/>
                </a:cubicBezTo>
                <a:lnTo>
                  <a:pt x="8957280" y="741785"/>
                </a:lnTo>
                <a:cubicBezTo>
                  <a:pt x="8905121" y="753465"/>
                  <a:pt x="8797121" y="811225"/>
                  <a:pt x="8718240" y="853465"/>
                </a:cubicBezTo>
                <a:cubicBezTo>
                  <a:pt x="8690560" y="868345"/>
                  <a:pt x="8666720" y="880985"/>
                  <a:pt x="8652000" y="888185"/>
                </a:cubicBezTo>
                <a:cubicBezTo>
                  <a:pt x="8600160" y="913145"/>
                  <a:pt x="8445280" y="948665"/>
                  <a:pt x="8389440" y="959225"/>
                </a:cubicBezTo>
                <a:cubicBezTo>
                  <a:pt x="8359680" y="964985"/>
                  <a:pt x="8319680" y="979065"/>
                  <a:pt x="8280800" y="992825"/>
                </a:cubicBezTo>
                <a:cubicBezTo>
                  <a:pt x="8256480" y="1001465"/>
                  <a:pt x="8233440" y="1009625"/>
                  <a:pt x="8213280" y="1015545"/>
                </a:cubicBezTo>
                <a:cubicBezTo>
                  <a:pt x="8160800" y="1031065"/>
                  <a:pt x="8061760" y="1053305"/>
                  <a:pt x="8036000" y="1057945"/>
                </a:cubicBezTo>
                <a:lnTo>
                  <a:pt x="8024320" y="1059865"/>
                </a:lnTo>
                <a:cubicBezTo>
                  <a:pt x="7992640" y="1065145"/>
                  <a:pt x="7933760" y="1074905"/>
                  <a:pt x="7867680" y="1098585"/>
                </a:cubicBezTo>
                <a:cubicBezTo>
                  <a:pt x="7803040" y="1121785"/>
                  <a:pt x="7689920" y="1198265"/>
                  <a:pt x="7628160" y="1241785"/>
                </a:cubicBezTo>
                <a:lnTo>
                  <a:pt x="7626400" y="1243065"/>
                </a:lnTo>
                <a:cubicBezTo>
                  <a:pt x="7609600" y="1254905"/>
                  <a:pt x="7540640" y="1301305"/>
                  <a:pt x="7485600" y="1336025"/>
                </a:cubicBezTo>
                <a:close/>
                <a:moveTo>
                  <a:pt x="7302881" y="1383225"/>
                </a:moveTo>
                <a:cubicBezTo>
                  <a:pt x="7348800" y="1337945"/>
                  <a:pt x="7401920" y="1279705"/>
                  <a:pt x="7421440" y="1257785"/>
                </a:cubicBezTo>
                <a:lnTo>
                  <a:pt x="7429120" y="1248985"/>
                </a:lnTo>
                <a:cubicBezTo>
                  <a:pt x="7465280" y="1207225"/>
                  <a:pt x="7540800" y="1120185"/>
                  <a:pt x="7688480" y="1069785"/>
                </a:cubicBezTo>
                <a:cubicBezTo>
                  <a:pt x="7849280" y="1014905"/>
                  <a:pt x="8034560" y="881305"/>
                  <a:pt x="8095520" y="837465"/>
                </a:cubicBezTo>
                <a:lnTo>
                  <a:pt x="8097760" y="835865"/>
                </a:lnTo>
                <a:cubicBezTo>
                  <a:pt x="8110240" y="826905"/>
                  <a:pt x="8126881" y="812185"/>
                  <a:pt x="8147840" y="793625"/>
                </a:cubicBezTo>
                <a:cubicBezTo>
                  <a:pt x="8229760" y="721305"/>
                  <a:pt x="8367041" y="600185"/>
                  <a:pt x="8532960" y="566745"/>
                </a:cubicBezTo>
                <a:cubicBezTo>
                  <a:pt x="8734240" y="526265"/>
                  <a:pt x="8948800" y="497305"/>
                  <a:pt x="9106880" y="489305"/>
                </a:cubicBezTo>
                <a:cubicBezTo>
                  <a:pt x="9254560" y="481945"/>
                  <a:pt x="9440800" y="489305"/>
                  <a:pt x="9549760" y="506745"/>
                </a:cubicBezTo>
                <a:cubicBezTo>
                  <a:pt x="9552320" y="507705"/>
                  <a:pt x="9554560" y="508665"/>
                  <a:pt x="9557121" y="509785"/>
                </a:cubicBezTo>
                <a:cubicBezTo>
                  <a:pt x="9531520" y="508505"/>
                  <a:pt x="9504000" y="508025"/>
                  <a:pt x="9476000" y="508025"/>
                </a:cubicBezTo>
                <a:cubicBezTo>
                  <a:pt x="9354400" y="508025"/>
                  <a:pt x="9225600" y="517145"/>
                  <a:pt x="9223840" y="517305"/>
                </a:cubicBezTo>
                <a:cubicBezTo>
                  <a:pt x="9221280" y="517625"/>
                  <a:pt x="8962560" y="540025"/>
                  <a:pt x="8788960" y="564505"/>
                </a:cubicBezTo>
                <a:cubicBezTo>
                  <a:pt x="8621121" y="588185"/>
                  <a:pt x="8506400" y="660345"/>
                  <a:pt x="8430560" y="708185"/>
                </a:cubicBezTo>
                <a:lnTo>
                  <a:pt x="8418240" y="715865"/>
                </a:lnTo>
                <a:cubicBezTo>
                  <a:pt x="8344001" y="762425"/>
                  <a:pt x="8155680" y="876185"/>
                  <a:pt x="8153760" y="877305"/>
                </a:cubicBezTo>
                <a:cubicBezTo>
                  <a:pt x="8151360" y="878585"/>
                  <a:pt x="7866560" y="1023065"/>
                  <a:pt x="7743200" y="1064985"/>
                </a:cubicBezTo>
                <a:cubicBezTo>
                  <a:pt x="7621120" y="1106425"/>
                  <a:pt x="7477600" y="1236665"/>
                  <a:pt x="7408640" y="1299225"/>
                </a:cubicBezTo>
                <a:lnTo>
                  <a:pt x="7400640" y="1306585"/>
                </a:lnTo>
                <a:cubicBezTo>
                  <a:pt x="7374560" y="1330105"/>
                  <a:pt x="7339520" y="1357305"/>
                  <a:pt x="7302881" y="1383225"/>
                </a:cubicBezTo>
                <a:close/>
                <a:moveTo>
                  <a:pt x="7361760" y="1401145"/>
                </a:moveTo>
                <a:cubicBezTo>
                  <a:pt x="7397920" y="1374745"/>
                  <a:pt x="7435200" y="1340825"/>
                  <a:pt x="7463840" y="1314585"/>
                </a:cubicBezTo>
                <a:cubicBezTo>
                  <a:pt x="7480320" y="1299545"/>
                  <a:pt x="7494720" y="1286425"/>
                  <a:pt x="7502560" y="1280665"/>
                </a:cubicBezTo>
                <a:cubicBezTo>
                  <a:pt x="7508640" y="1276345"/>
                  <a:pt x="7519040" y="1267865"/>
                  <a:pt x="7532640" y="1256985"/>
                </a:cubicBezTo>
                <a:cubicBezTo>
                  <a:pt x="7585760" y="1214265"/>
                  <a:pt x="7696160" y="1125465"/>
                  <a:pt x="7762240" y="1102425"/>
                </a:cubicBezTo>
                <a:cubicBezTo>
                  <a:pt x="7789760" y="1092825"/>
                  <a:pt x="7833440" y="1078105"/>
                  <a:pt x="7881120" y="1061945"/>
                </a:cubicBezTo>
                <a:cubicBezTo>
                  <a:pt x="7979520" y="1028665"/>
                  <a:pt x="8090881" y="991065"/>
                  <a:pt x="8119200" y="978905"/>
                </a:cubicBezTo>
                <a:cubicBezTo>
                  <a:pt x="8160640" y="961145"/>
                  <a:pt x="8423040" y="833945"/>
                  <a:pt x="8434240" y="828505"/>
                </a:cubicBezTo>
                <a:cubicBezTo>
                  <a:pt x="8436800" y="826905"/>
                  <a:pt x="8604800" y="718265"/>
                  <a:pt x="8642880" y="700825"/>
                </a:cubicBezTo>
                <a:cubicBezTo>
                  <a:pt x="8684160" y="681785"/>
                  <a:pt x="8812320" y="638265"/>
                  <a:pt x="8943840" y="625305"/>
                </a:cubicBezTo>
                <a:cubicBezTo>
                  <a:pt x="9051200" y="614585"/>
                  <a:pt x="9186720" y="597305"/>
                  <a:pt x="9276480" y="585785"/>
                </a:cubicBezTo>
                <a:cubicBezTo>
                  <a:pt x="9300480" y="582745"/>
                  <a:pt x="9321121" y="580025"/>
                  <a:pt x="9336640" y="578105"/>
                </a:cubicBezTo>
                <a:cubicBezTo>
                  <a:pt x="9584640" y="547385"/>
                  <a:pt x="9703520" y="587065"/>
                  <a:pt x="9759520" y="625785"/>
                </a:cubicBezTo>
                <a:cubicBezTo>
                  <a:pt x="9761920" y="628185"/>
                  <a:pt x="9764160" y="630425"/>
                  <a:pt x="9766400" y="632825"/>
                </a:cubicBezTo>
                <a:cubicBezTo>
                  <a:pt x="9696000" y="607385"/>
                  <a:pt x="9604960" y="597945"/>
                  <a:pt x="9524160" y="597945"/>
                </a:cubicBezTo>
                <a:cubicBezTo>
                  <a:pt x="9499680" y="597945"/>
                  <a:pt x="9476320" y="598905"/>
                  <a:pt x="9454720" y="600345"/>
                </a:cubicBezTo>
                <a:cubicBezTo>
                  <a:pt x="9407200" y="603705"/>
                  <a:pt x="9362560" y="609465"/>
                  <a:pt x="9305920" y="616825"/>
                </a:cubicBezTo>
                <a:cubicBezTo>
                  <a:pt x="9248000" y="624345"/>
                  <a:pt x="9176000" y="633625"/>
                  <a:pt x="9078560" y="642905"/>
                </a:cubicBezTo>
                <a:cubicBezTo>
                  <a:pt x="8877280" y="662105"/>
                  <a:pt x="8736160" y="734585"/>
                  <a:pt x="8698720" y="760985"/>
                </a:cubicBezTo>
                <a:cubicBezTo>
                  <a:pt x="8653121" y="792985"/>
                  <a:pt x="8506560" y="868345"/>
                  <a:pt x="8455360" y="887865"/>
                </a:cubicBezTo>
                <a:cubicBezTo>
                  <a:pt x="8429920" y="897465"/>
                  <a:pt x="8391360" y="909625"/>
                  <a:pt x="8350560" y="922585"/>
                </a:cubicBezTo>
                <a:cubicBezTo>
                  <a:pt x="8307520" y="936185"/>
                  <a:pt x="8263041" y="950105"/>
                  <a:pt x="8232640" y="961785"/>
                </a:cubicBezTo>
                <a:cubicBezTo>
                  <a:pt x="8194560" y="976505"/>
                  <a:pt x="8078720" y="1020985"/>
                  <a:pt x="7896800" y="1062425"/>
                </a:cubicBezTo>
                <a:cubicBezTo>
                  <a:pt x="7747360" y="1096505"/>
                  <a:pt x="7611200" y="1212025"/>
                  <a:pt x="7553120" y="1261305"/>
                </a:cubicBezTo>
                <a:cubicBezTo>
                  <a:pt x="7545600" y="1267705"/>
                  <a:pt x="7539200" y="1273145"/>
                  <a:pt x="7534400" y="1276985"/>
                </a:cubicBezTo>
                <a:cubicBezTo>
                  <a:pt x="7496960" y="1307225"/>
                  <a:pt x="7400800" y="1384505"/>
                  <a:pt x="7361760" y="1401145"/>
                </a:cubicBezTo>
                <a:close/>
                <a:moveTo>
                  <a:pt x="6773280" y="1464985"/>
                </a:moveTo>
                <a:cubicBezTo>
                  <a:pt x="6797440" y="1435225"/>
                  <a:pt x="6820800" y="1402585"/>
                  <a:pt x="6841920" y="1366745"/>
                </a:cubicBezTo>
                <a:cubicBezTo>
                  <a:pt x="6847040" y="1358105"/>
                  <a:pt x="6852480" y="1349305"/>
                  <a:pt x="6857760" y="1340505"/>
                </a:cubicBezTo>
                <a:cubicBezTo>
                  <a:pt x="6860640" y="1339865"/>
                  <a:pt x="6863040" y="1337785"/>
                  <a:pt x="6863840" y="1334745"/>
                </a:cubicBezTo>
                <a:cubicBezTo>
                  <a:pt x="6864000" y="1334105"/>
                  <a:pt x="6864800" y="1331385"/>
                  <a:pt x="6865760" y="1327225"/>
                </a:cubicBezTo>
                <a:cubicBezTo>
                  <a:pt x="6866720" y="1325625"/>
                  <a:pt x="6867680" y="1324185"/>
                  <a:pt x="6868640" y="1322585"/>
                </a:cubicBezTo>
                <a:cubicBezTo>
                  <a:pt x="6872480" y="1316185"/>
                  <a:pt x="6876480" y="1309625"/>
                  <a:pt x="6880480" y="1303065"/>
                </a:cubicBezTo>
                <a:cubicBezTo>
                  <a:pt x="6911680" y="1298265"/>
                  <a:pt x="6997120" y="1273945"/>
                  <a:pt x="7096320" y="1152825"/>
                </a:cubicBezTo>
                <a:cubicBezTo>
                  <a:pt x="7136320" y="1104025"/>
                  <a:pt x="7163840" y="1062425"/>
                  <a:pt x="7192960" y="1018585"/>
                </a:cubicBezTo>
                <a:cubicBezTo>
                  <a:pt x="7253120" y="927705"/>
                  <a:pt x="7315360" y="833945"/>
                  <a:pt x="7498080" y="657305"/>
                </a:cubicBezTo>
                <a:cubicBezTo>
                  <a:pt x="7793920" y="371545"/>
                  <a:pt x="8032480" y="315545"/>
                  <a:pt x="8226720" y="298425"/>
                </a:cubicBezTo>
                <a:cubicBezTo>
                  <a:pt x="8399840" y="283065"/>
                  <a:pt x="8578880" y="279225"/>
                  <a:pt x="8685760" y="276985"/>
                </a:cubicBezTo>
                <a:cubicBezTo>
                  <a:pt x="8722080" y="276185"/>
                  <a:pt x="8751360" y="275545"/>
                  <a:pt x="8771200" y="274745"/>
                </a:cubicBezTo>
                <a:cubicBezTo>
                  <a:pt x="8840480" y="271705"/>
                  <a:pt x="8999200" y="290105"/>
                  <a:pt x="9141121" y="322585"/>
                </a:cubicBezTo>
                <a:cubicBezTo>
                  <a:pt x="9161600" y="331065"/>
                  <a:pt x="9181920" y="341945"/>
                  <a:pt x="9201280" y="353305"/>
                </a:cubicBezTo>
                <a:cubicBezTo>
                  <a:pt x="9048640" y="318585"/>
                  <a:pt x="8911360" y="311225"/>
                  <a:pt x="8773920" y="311225"/>
                </a:cubicBezTo>
                <a:cubicBezTo>
                  <a:pt x="8728480" y="311225"/>
                  <a:pt x="8683200" y="312025"/>
                  <a:pt x="8637121" y="312825"/>
                </a:cubicBezTo>
                <a:lnTo>
                  <a:pt x="8632480" y="312825"/>
                </a:lnTo>
                <a:cubicBezTo>
                  <a:pt x="8420000" y="316345"/>
                  <a:pt x="8202400" y="344985"/>
                  <a:pt x="8064480" y="387385"/>
                </a:cubicBezTo>
                <a:cubicBezTo>
                  <a:pt x="7924000" y="430585"/>
                  <a:pt x="7597760" y="636185"/>
                  <a:pt x="7498560" y="778585"/>
                </a:cubicBezTo>
                <a:cubicBezTo>
                  <a:pt x="7445120" y="855225"/>
                  <a:pt x="7348000" y="957305"/>
                  <a:pt x="7244960" y="1065625"/>
                </a:cubicBezTo>
                <a:cubicBezTo>
                  <a:pt x="7165120" y="1149465"/>
                  <a:pt x="7082560" y="1236345"/>
                  <a:pt x="7021120" y="1311225"/>
                </a:cubicBezTo>
                <a:cubicBezTo>
                  <a:pt x="6908960" y="1448185"/>
                  <a:pt x="6804960" y="1463705"/>
                  <a:pt x="6773280" y="1464985"/>
                </a:cubicBezTo>
                <a:close/>
                <a:moveTo>
                  <a:pt x="6733920" y="1486745"/>
                </a:moveTo>
                <a:cubicBezTo>
                  <a:pt x="6742240" y="1460185"/>
                  <a:pt x="6759520" y="1408505"/>
                  <a:pt x="6785440" y="1345785"/>
                </a:cubicBezTo>
                <a:cubicBezTo>
                  <a:pt x="6826560" y="1246265"/>
                  <a:pt x="6767840" y="1135385"/>
                  <a:pt x="6699200" y="1064665"/>
                </a:cubicBezTo>
                <a:cubicBezTo>
                  <a:pt x="6637120" y="1000825"/>
                  <a:pt x="6534400" y="940665"/>
                  <a:pt x="6459360" y="896665"/>
                </a:cubicBezTo>
                <a:cubicBezTo>
                  <a:pt x="6449760" y="890905"/>
                  <a:pt x="6440800" y="885625"/>
                  <a:pt x="6432320" y="880665"/>
                </a:cubicBezTo>
                <a:cubicBezTo>
                  <a:pt x="6353120" y="833625"/>
                  <a:pt x="6086080" y="706105"/>
                  <a:pt x="5806240" y="681465"/>
                </a:cubicBezTo>
                <a:cubicBezTo>
                  <a:pt x="5746400" y="676185"/>
                  <a:pt x="5690882" y="673945"/>
                  <a:pt x="5639200" y="673945"/>
                </a:cubicBezTo>
                <a:cubicBezTo>
                  <a:pt x="5493920" y="673945"/>
                  <a:pt x="5378080" y="691225"/>
                  <a:pt x="5280000" y="705785"/>
                </a:cubicBezTo>
                <a:cubicBezTo>
                  <a:pt x="5248320" y="710585"/>
                  <a:pt x="5218240" y="715065"/>
                  <a:pt x="5189600" y="718585"/>
                </a:cubicBezTo>
                <a:cubicBezTo>
                  <a:pt x="5047360" y="736345"/>
                  <a:pt x="4820800" y="787385"/>
                  <a:pt x="4638560" y="842745"/>
                </a:cubicBezTo>
                <a:cubicBezTo>
                  <a:pt x="4483200" y="889945"/>
                  <a:pt x="4361120" y="891545"/>
                  <a:pt x="4340320" y="891385"/>
                </a:cubicBezTo>
                <a:lnTo>
                  <a:pt x="4268321" y="807065"/>
                </a:lnTo>
                <a:cubicBezTo>
                  <a:pt x="4304960" y="812345"/>
                  <a:pt x="4380640" y="820505"/>
                  <a:pt x="4439680" y="808025"/>
                </a:cubicBezTo>
                <a:cubicBezTo>
                  <a:pt x="4492801" y="796985"/>
                  <a:pt x="4603361" y="770745"/>
                  <a:pt x="4692000" y="749785"/>
                </a:cubicBezTo>
                <a:cubicBezTo>
                  <a:pt x="4734560" y="739705"/>
                  <a:pt x="4771840" y="730745"/>
                  <a:pt x="4795201" y="725465"/>
                </a:cubicBezTo>
                <a:lnTo>
                  <a:pt x="4812800" y="721305"/>
                </a:lnTo>
                <a:cubicBezTo>
                  <a:pt x="5112960" y="650905"/>
                  <a:pt x="5361761" y="613465"/>
                  <a:pt x="5552000" y="610105"/>
                </a:cubicBezTo>
                <a:cubicBezTo>
                  <a:pt x="5873120" y="603865"/>
                  <a:pt x="6109600" y="676505"/>
                  <a:pt x="6317760" y="755385"/>
                </a:cubicBezTo>
                <a:cubicBezTo>
                  <a:pt x="6551040" y="843865"/>
                  <a:pt x="6700000" y="970425"/>
                  <a:pt x="6756160" y="1018105"/>
                </a:cubicBezTo>
                <a:cubicBezTo>
                  <a:pt x="6814881" y="1068025"/>
                  <a:pt x="6869760" y="1165625"/>
                  <a:pt x="6872960" y="1194425"/>
                </a:cubicBezTo>
                <a:cubicBezTo>
                  <a:pt x="6875360" y="1215865"/>
                  <a:pt x="6859680" y="1285785"/>
                  <a:pt x="6850881" y="1320825"/>
                </a:cubicBezTo>
                <a:cubicBezTo>
                  <a:pt x="6843200" y="1333465"/>
                  <a:pt x="6835680" y="1346105"/>
                  <a:pt x="6828320" y="1358425"/>
                </a:cubicBezTo>
                <a:cubicBezTo>
                  <a:pt x="6800000" y="1406745"/>
                  <a:pt x="6767200" y="1449465"/>
                  <a:pt x="6733920" y="1486745"/>
                </a:cubicBezTo>
                <a:close/>
                <a:moveTo>
                  <a:pt x="15840" y="1488825"/>
                </a:moveTo>
                <a:cubicBezTo>
                  <a:pt x="21280" y="1486265"/>
                  <a:pt x="150240" y="1421305"/>
                  <a:pt x="318240" y="1114585"/>
                </a:cubicBezTo>
                <a:cubicBezTo>
                  <a:pt x="508640" y="768985"/>
                  <a:pt x="687200" y="537625"/>
                  <a:pt x="915360" y="341145"/>
                </a:cubicBezTo>
                <a:cubicBezTo>
                  <a:pt x="1032480" y="240345"/>
                  <a:pt x="1155760" y="154545"/>
                  <a:pt x="1284300" y="84205"/>
                </a:cubicBezTo>
                <a:lnTo>
                  <a:pt x="1460720" y="0"/>
                </a:lnTo>
                <a:lnTo>
                  <a:pt x="1424515" y="0"/>
                </a:lnTo>
                <a:lnTo>
                  <a:pt x="1277180" y="70325"/>
                </a:lnTo>
                <a:cubicBezTo>
                  <a:pt x="1147640" y="141225"/>
                  <a:pt x="1023440" y="227705"/>
                  <a:pt x="905440" y="329305"/>
                </a:cubicBezTo>
                <a:cubicBezTo>
                  <a:pt x="675680" y="527065"/>
                  <a:pt x="496000" y="759705"/>
                  <a:pt x="304640" y="1107225"/>
                </a:cubicBezTo>
                <a:cubicBezTo>
                  <a:pt x="139200" y="1408025"/>
                  <a:pt x="10080" y="1473625"/>
                  <a:pt x="8800" y="1474265"/>
                </a:cubicBezTo>
                <a:cubicBezTo>
                  <a:pt x="4800" y="1476185"/>
                  <a:pt x="3200" y="1480985"/>
                  <a:pt x="5120" y="1484985"/>
                </a:cubicBezTo>
                <a:cubicBezTo>
                  <a:pt x="7040" y="1488985"/>
                  <a:pt x="11840" y="1490745"/>
                  <a:pt x="15840" y="1488825"/>
                </a:cubicBezTo>
                <a:close/>
                <a:moveTo>
                  <a:pt x="6745600" y="1497465"/>
                </a:moveTo>
                <a:cubicBezTo>
                  <a:pt x="6750560" y="1491865"/>
                  <a:pt x="6755360" y="1486105"/>
                  <a:pt x="6760320" y="1480345"/>
                </a:cubicBezTo>
                <a:cubicBezTo>
                  <a:pt x="6760800" y="1480505"/>
                  <a:pt x="6761280" y="1480825"/>
                  <a:pt x="6761760" y="1480825"/>
                </a:cubicBezTo>
                <a:cubicBezTo>
                  <a:pt x="6767200" y="1481305"/>
                  <a:pt x="6893920" y="1491545"/>
                  <a:pt x="7033600" y="1321625"/>
                </a:cubicBezTo>
                <a:cubicBezTo>
                  <a:pt x="7094560" y="1247065"/>
                  <a:pt x="7176960" y="1160505"/>
                  <a:pt x="7256640" y="1076825"/>
                </a:cubicBezTo>
                <a:cubicBezTo>
                  <a:pt x="7360160" y="968185"/>
                  <a:pt x="7457760" y="865465"/>
                  <a:pt x="7511840" y="787865"/>
                </a:cubicBezTo>
                <a:cubicBezTo>
                  <a:pt x="7609440" y="647705"/>
                  <a:pt x="7930720" y="445305"/>
                  <a:pt x="8069280" y="402745"/>
                </a:cubicBezTo>
                <a:cubicBezTo>
                  <a:pt x="8205921" y="360665"/>
                  <a:pt x="8421920" y="332345"/>
                  <a:pt x="8632960" y="328825"/>
                </a:cubicBezTo>
                <a:lnTo>
                  <a:pt x="8637600" y="328825"/>
                </a:lnTo>
                <a:cubicBezTo>
                  <a:pt x="8797280" y="326105"/>
                  <a:pt x="8949920" y="323545"/>
                  <a:pt x="9118720" y="352825"/>
                </a:cubicBezTo>
                <a:cubicBezTo>
                  <a:pt x="9044640" y="348825"/>
                  <a:pt x="8951680" y="344825"/>
                  <a:pt x="8875840" y="344825"/>
                </a:cubicBezTo>
                <a:cubicBezTo>
                  <a:pt x="8854880" y="344825"/>
                  <a:pt x="8835360" y="345145"/>
                  <a:pt x="8817920" y="345785"/>
                </a:cubicBezTo>
                <a:lnTo>
                  <a:pt x="8808160" y="346105"/>
                </a:lnTo>
                <a:cubicBezTo>
                  <a:pt x="8654400" y="352025"/>
                  <a:pt x="8334560" y="364665"/>
                  <a:pt x="8129280" y="443065"/>
                </a:cubicBezTo>
                <a:cubicBezTo>
                  <a:pt x="7990240" y="496185"/>
                  <a:pt x="7831200" y="607705"/>
                  <a:pt x="7656640" y="774585"/>
                </a:cubicBezTo>
                <a:cubicBezTo>
                  <a:pt x="7633120" y="797145"/>
                  <a:pt x="7578881" y="853305"/>
                  <a:pt x="7521600" y="912825"/>
                </a:cubicBezTo>
                <a:cubicBezTo>
                  <a:pt x="7437280" y="1000185"/>
                  <a:pt x="7341920" y="1099225"/>
                  <a:pt x="7317120" y="1119225"/>
                </a:cubicBezTo>
                <a:cubicBezTo>
                  <a:pt x="7293280" y="1138425"/>
                  <a:pt x="7167840" y="1241625"/>
                  <a:pt x="7036640" y="1390745"/>
                </a:cubicBezTo>
                <a:cubicBezTo>
                  <a:pt x="6944800" y="1495065"/>
                  <a:pt x="6802080" y="1500025"/>
                  <a:pt x="6745600" y="1497465"/>
                </a:cubicBezTo>
                <a:close/>
                <a:moveTo>
                  <a:pt x="6720480" y="1524345"/>
                </a:moveTo>
                <a:cubicBezTo>
                  <a:pt x="6724320" y="1520505"/>
                  <a:pt x="6728000" y="1516505"/>
                  <a:pt x="6731680" y="1512505"/>
                </a:cubicBezTo>
                <a:cubicBezTo>
                  <a:pt x="6777920" y="1516185"/>
                  <a:pt x="6944160" y="1519865"/>
                  <a:pt x="7048640" y="1401145"/>
                </a:cubicBezTo>
                <a:cubicBezTo>
                  <a:pt x="7178881" y="1252985"/>
                  <a:pt x="7303360" y="1150585"/>
                  <a:pt x="7327040" y="1131545"/>
                </a:cubicBezTo>
                <a:cubicBezTo>
                  <a:pt x="7352640" y="1110905"/>
                  <a:pt x="7448480" y="1011545"/>
                  <a:pt x="7532960" y="923865"/>
                </a:cubicBezTo>
                <a:cubicBezTo>
                  <a:pt x="7590080" y="864505"/>
                  <a:pt x="7644160" y="808505"/>
                  <a:pt x="7667040" y="786585"/>
                </a:cubicBezTo>
                <a:cubicBezTo>
                  <a:pt x="7840480" y="620825"/>
                  <a:pt x="7997600" y="510265"/>
                  <a:pt x="8134720" y="457945"/>
                </a:cubicBezTo>
                <a:cubicBezTo>
                  <a:pt x="8337600" y="380345"/>
                  <a:pt x="8655840" y="367865"/>
                  <a:pt x="8808640" y="361945"/>
                </a:cubicBezTo>
                <a:lnTo>
                  <a:pt x="8818400" y="361625"/>
                </a:lnTo>
                <a:cubicBezTo>
                  <a:pt x="8938560" y="356825"/>
                  <a:pt x="9156800" y="370425"/>
                  <a:pt x="9225280" y="375065"/>
                </a:cubicBezTo>
                <a:cubicBezTo>
                  <a:pt x="9230080" y="376345"/>
                  <a:pt x="9235040" y="377465"/>
                  <a:pt x="9240000" y="378745"/>
                </a:cubicBezTo>
                <a:cubicBezTo>
                  <a:pt x="9241280" y="379065"/>
                  <a:pt x="9242560" y="379065"/>
                  <a:pt x="9243840" y="378745"/>
                </a:cubicBezTo>
                <a:cubicBezTo>
                  <a:pt x="9244480" y="379065"/>
                  <a:pt x="9244960" y="379385"/>
                  <a:pt x="9245760" y="379385"/>
                </a:cubicBezTo>
                <a:cubicBezTo>
                  <a:pt x="9185600" y="381625"/>
                  <a:pt x="9021920" y="387705"/>
                  <a:pt x="8764960" y="396505"/>
                </a:cubicBezTo>
                <a:cubicBezTo>
                  <a:pt x="8427680" y="408185"/>
                  <a:pt x="8264800" y="472185"/>
                  <a:pt x="8114560" y="542585"/>
                </a:cubicBezTo>
                <a:cubicBezTo>
                  <a:pt x="7988320" y="601625"/>
                  <a:pt x="7828000" y="752345"/>
                  <a:pt x="7750881" y="824825"/>
                </a:cubicBezTo>
                <a:cubicBezTo>
                  <a:pt x="7734080" y="840505"/>
                  <a:pt x="7721120" y="852825"/>
                  <a:pt x="7712960" y="859865"/>
                </a:cubicBezTo>
                <a:cubicBezTo>
                  <a:pt x="7663840" y="902585"/>
                  <a:pt x="7418560" y="1105465"/>
                  <a:pt x="7338720" y="1161305"/>
                </a:cubicBezTo>
                <a:cubicBezTo>
                  <a:pt x="7298400" y="1189625"/>
                  <a:pt x="7258240" y="1237465"/>
                  <a:pt x="7215680" y="1288185"/>
                </a:cubicBezTo>
                <a:cubicBezTo>
                  <a:pt x="7169600" y="1343225"/>
                  <a:pt x="7121920" y="1400025"/>
                  <a:pt x="7066080" y="1443545"/>
                </a:cubicBezTo>
                <a:cubicBezTo>
                  <a:pt x="6974881" y="1514585"/>
                  <a:pt x="6776320" y="1523385"/>
                  <a:pt x="6720480" y="1524345"/>
                </a:cubicBezTo>
                <a:close/>
                <a:moveTo>
                  <a:pt x="6653280" y="1566905"/>
                </a:moveTo>
                <a:cubicBezTo>
                  <a:pt x="6655680" y="1526265"/>
                  <a:pt x="6660800" y="1445785"/>
                  <a:pt x="6663520" y="1432825"/>
                </a:cubicBezTo>
                <a:cubicBezTo>
                  <a:pt x="6664480" y="1428665"/>
                  <a:pt x="6668640" y="1420345"/>
                  <a:pt x="6673600" y="1410745"/>
                </a:cubicBezTo>
                <a:cubicBezTo>
                  <a:pt x="6687360" y="1384025"/>
                  <a:pt x="6708000" y="1343545"/>
                  <a:pt x="6708000" y="1297465"/>
                </a:cubicBezTo>
                <a:cubicBezTo>
                  <a:pt x="6708000" y="1230585"/>
                  <a:pt x="6650400" y="1110745"/>
                  <a:pt x="6598080" y="1068505"/>
                </a:cubicBezTo>
                <a:cubicBezTo>
                  <a:pt x="6594080" y="1065305"/>
                  <a:pt x="6589120" y="1060985"/>
                  <a:pt x="6583040" y="1055865"/>
                </a:cubicBezTo>
                <a:cubicBezTo>
                  <a:pt x="6512800" y="995385"/>
                  <a:pt x="6298881" y="811385"/>
                  <a:pt x="5837921" y="772825"/>
                </a:cubicBezTo>
                <a:cubicBezTo>
                  <a:pt x="5618720" y="754425"/>
                  <a:pt x="5288321" y="752665"/>
                  <a:pt x="4958400" y="847865"/>
                </a:cubicBezTo>
                <a:lnTo>
                  <a:pt x="4950240" y="850265"/>
                </a:lnTo>
                <a:cubicBezTo>
                  <a:pt x="4936000" y="854265"/>
                  <a:pt x="4912480" y="861305"/>
                  <a:pt x="4883201" y="870105"/>
                </a:cubicBezTo>
                <a:cubicBezTo>
                  <a:pt x="4783520" y="900025"/>
                  <a:pt x="4616640" y="949945"/>
                  <a:pt x="4534240" y="965945"/>
                </a:cubicBezTo>
                <a:cubicBezTo>
                  <a:pt x="4456960" y="980825"/>
                  <a:pt x="4386881" y="932025"/>
                  <a:pt x="4357280" y="907385"/>
                </a:cubicBezTo>
                <a:cubicBezTo>
                  <a:pt x="4401120" y="906105"/>
                  <a:pt x="4510400" y="898585"/>
                  <a:pt x="4643040" y="858265"/>
                </a:cubicBezTo>
                <a:cubicBezTo>
                  <a:pt x="4824480" y="803065"/>
                  <a:pt x="5049920" y="752185"/>
                  <a:pt x="5191361" y="734745"/>
                </a:cubicBezTo>
                <a:cubicBezTo>
                  <a:pt x="5220320" y="731225"/>
                  <a:pt x="5250400" y="726745"/>
                  <a:pt x="5282240" y="721945"/>
                </a:cubicBezTo>
                <a:cubicBezTo>
                  <a:pt x="5414400" y="702265"/>
                  <a:pt x="5578881" y="677785"/>
                  <a:pt x="5804640" y="697625"/>
                </a:cubicBezTo>
                <a:cubicBezTo>
                  <a:pt x="6081600" y="721945"/>
                  <a:pt x="6345600" y="848025"/>
                  <a:pt x="6424000" y="894585"/>
                </a:cubicBezTo>
                <a:cubicBezTo>
                  <a:pt x="6432480" y="899545"/>
                  <a:pt x="6441600" y="904985"/>
                  <a:pt x="6451200" y="910585"/>
                </a:cubicBezTo>
                <a:cubicBezTo>
                  <a:pt x="6525440" y="954105"/>
                  <a:pt x="6627040" y="1013625"/>
                  <a:pt x="6687520" y="1075865"/>
                </a:cubicBezTo>
                <a:cubicBezTo>
                  <a:pt x="6749600" y="1139865"/>
                  <a:pt x="6808640" y="1247225"/>
                  <a:pt x="6770400" y="1339545"/>
                </a:cubicBezTo>
                <a:cubicBezTo>
                  <a:pt x="6732320" y="1431865"/>
                  <a:pt x="6712640" y="1500825"/>
                  <a:pt x="6712480" y="1501465"/>
                </a:cubicBezTo>
                <a:cubicBezTo>
                  <a:pt x="6712480" y="1501625"/>
                  <a:pt x="6712480" y="1501785"/>
                  <a:pt x="6712480" y="1501945"/>
                </a:cubicBezTo>
                <a:cubicBezTo>
                  <a:pt x="6712480" y="1502105"/>
                  <a:pt x="6712320" y="1502265"/>
                  <a:pt x="6712320" y="1502425"/>
                </a:cubicBezTo>
                <a:cubicBezTo>
                  <a:pt x="6712160" y="1502745"/>
                  <a:pt x="6712320" y="1503065"/>
                  <a:pt x="6712320" y="1503385"/>
                </a:cubicBezTo>
                <a:cubicBezTo>
                  <a:pt x="6712320" y="1503865"/>
                  <a:pt x="6712320" y="1504505"/>
                  <a:pt x="6712480" y="1504985"/>
                </a:cubicBezTo>
                <a:cubicBezTo>
                  <a:pt x="6712640" y="1505465"/>
                  <a:pt x="6712800" y="1505945"/>
                  <a:pt x="6712960" y="1506425"/>
                </a:cubicBezTo>
                <a:cubicBezTo>
                  <a:pt x="6713120" y="1506905"/>
                  <a:pt x="6713280" y="1507385"/>
                  <a:pt x="6713600" y="1507865"/>
                </a:cubicBezTo>
                <a:cubicBezTo>
                  <a:pt x="6713600" y="1507865"/>
                  <a:pt x="6713600" y="1508025"/>
                  <a:pt x="6713760" y="1508185"/>
                </a:cubicBezTo>
                <a:cubicBezTo>
                  <a:pt x="6693280" y="1529785"/>
                  <a:pt x="6672960" y="1549305"/>
                  <a:pt x="6653280" y="1566905"/>
                </a:cubicBezTo>
                <a:close/>
                <a:moveTo>
                  <a:pt x="6674720" y="1568825"/>
                </a:moveTo>
                <a:cubicBezTo>
                  <a:pt x="6684480" y="1559865"/>
                  <a:pt x="6694400" y="1550585"/>
                  <a:pt x="6704320" y="1540665"/>
                </a:cubicBezTo>
                <a:cubicBezTo>
                  <a:pt x="6704640" y="1540665"/>
                  <a:pt x="6704800" y="1540825"/>
                  <a:pt x="6704960" y="1540825"/>
                </a:cubicBezTo>
                <a:cubicBezTo>
                  <a:pt x="6715520" y="1540665"/>
                  <a:pt x="6964960" y="1542905"/>
                  <a:pt x="7075520" y="1456665"/>
                </a:cubicBezTo>
                <a:cubicBezTo>
                  <a:pt x="7132800" y="1412025"/>
                  <a:pt x="7183200" y="1351865"/>
                  <a:pt x="7227680" y="1298905"/>
                </a:cubicBezTo>
                <a:cubicBezTo>
                  <a:pt x="7269600" y="1248985"/>
                  <a:pt x="7309120" y="1201945"/>
                  <a:pt x="7347680" y="1174905"/>
                </a:cubicBezTo>
                <a:cubicBezTo>
                  <a:pt x="7427840" y="1118745"/>
                  <a:pt x="7673920" y="915225"/>
                  <a:pt x="7723200" y="872505"/>
                </a:cubicBezTo>
                <a:cubicBezTo>
                  <a:pt x="7731520" y="865305"/>
                  <a:pt x="7744640" y="852985"/>
                  <a:pt x="7761600" y="836985"/>
                </a:cubicBezTo>
                <a:cubicBezTo>
                  <a:pt x="7838080" y="764985"/>
                  <a:pt x="7997280" y="615545"/>
                  <a:pt x="8121120" y="557465"/>
                </a:cubicBezTo>
                <a:cubicBezTo>
                  <a:pt x="8269760" y="487865"/>
                  <a:pt x="8431040" y="424505"/>
                  <a:pt x="8765280" y="412985"/>
                </a:cubicBezTo>
                <a:cubicBezTo>
                  <a:pt x="9079680" y="402265"/>
                  <a:pt x="9254400" y="395545"/>
                  <a:pt x="9270560" y="394905"/>
                </a:cubicBezTo>
                <a:cubicBezTo>
                  <a:pt x="9279360" y="400025"/>
                  <a:pt x="9287200" y="404345"/>
                  <a:pt x="9293600" y="407385"/>
                </a:cubicBezTo>
                <a:cubicBezTo>
                  <a:pt x="9302720" y="411385"/>
                  <a:pt x="9312160" y="414265"/>
                  <a:pt x="9325280" y="418425"/>
                </a:cubicBezTo>
                <a:cubicBezTo>
                  <a:pt x="9337280" y="422265"/>
                  <a:pt x="9352800" y="427065"/>
                  <a:pt x="9374240" y="434745"/>
                </a:cubicBezTo>
                <a:lnTo>
                  <a:pt x="9277920" y="425465"/>
                </a:lnTo>
                <a:cubicBezTo>
                  <a:pt x="9276160" y="425465"/>
                  <a:pt x="9128640" y="431385"/>
                  <a:pt x="8838080" y="443225"/>
                </a:cubicBezTo>
                <a:cubicBezTo>
                  <a:pt x="8588960" y="453305"/>
                  <a:pt x="8510080" y="480345"/>
                  <a:pt x="8410400" y="514585"/>
                </a:cubicBezTo>
                <a:cubicBezTo>
                  <a:pt x="8393440" y="520505"/>
                  <a:pt x="8375840" y="526425"/>
                  <a:pt x="8356640" y="532665"/>
                </a:cubicBezTo>
                <a:cubicBezTo>
                  <a:pt x="8227680" y="574265"/>
                  <a:pt x="7959840" y="789145"/>
                  <a:pt x="7948480" y="798265"/>
                </a:cubicBezTo>
                <a:cubicBezTo>
                  <a:pt x="7945600" y="800505"/>
                  <a:pt x="7649120" y="1032825"/>
                  <a:pt x="7515040" y="1094105"/>
                </a:cubicBezTo>
                <a:cubicBezTo>
                  <a:pt x="7378400" y="1156505"/>
                  <a:pt x="7276960" y="1288185"/>
                  <a:pt x="7276000" y="1289465"/>
                </a:cubicBezTo>
                <a:cubicBezTo>
                  <a:pt x="7275200" y="1290265"/>
                  <a:pt x="7147520" y="1428345"/>
                  <a:pt x="7118881" y="1451385"/>
                </a:cubicBezTo>
                <a:cubicBezTo>
                  <a:pt x="7089920" y="1474585"/>
                  <a:pt x="6989280" y="1516025"/>
                  <a:pt x="6871200" y="1544825"/>
                </a:cubicBezTo>
                <a:cubicBezTo>
                  <a:pt x="6789920" y="1564665"/>
                  <a:pt x="6714560" y="1568505"/>
                  <a:pt x="6674720" y="1568825"/>
                </a:cubicBezTo>
                <a:close/>
                <a:moveTo>
                  <a:pt x="6591360" y="1618265"/>
                </a:moveTo>
                <a:cubicBezTo>
                  <a:pt x="6594881" y="1588505"/>
                  <a:pt x="6607040" y="1478905"/>
                  <a:pt x="6609760" y="1366425"/>
                </a:cubicBezTo>
                <a:cubicBezTo>
                  <a:pt x="6613600" y="1206905"/>
                  <a:pt x="6425440" y="1080665"/>
                  <a:pt x="6367680" y="1045785"/>
                </a:cubicBezTo>
                <a:cubicBezTo>
                  <a:pt x="6272320" y="988185"/>
                  <a:pt x="6096640" y="909785"/>
                  <a:pt x="5801600" y="863385"/>
                </a:cubicBezTo>
                <a:cubicBezTo>
                  <a:pt x="5575041" y="827705"/>
                  <a:pt x="5368960" y="851385"/>
                  <a:pt x="5245760" y="865625"/>
                </a:cubicBezTo>
                <a:cubicBezTo>
                  <a:pt x="5215520" y="869145"/>
                  <a:pt x="5189440" y="872185"/>
                  <a:pt x="5168960" y="873625"/>
                </a:cubicBezTo>
                <a:cubicBezTo>
                  <a:pt x="5070881" y="880825"/>
                  <a:pt x="4797441" y="959545"/>
                  <a:pt x="4684480" y="993145"/>
                </a:cubicBezTo>
                <a:cubicBezTo>
                  <a:pt x="4624960" y="1010745"/>
                  <a:pt x="4478560" y="997785"/>
                  <a:pt x="4442240" y="980665"/>
                </a:cubicBezTo>
                <a:cubicBezTo>
                  <a:pt x="4434882" y="977145"/>
                  <a:pt x="4424960" y="970905"/>
                  <a:pt x="4413921" y="963065"/>
                </a:cubicBezTo>
                <a:cubicBezTo>
                  <a:pt x="4448480" y="979385"/>
                  <a:pt x="4491200" y="990745"/>
                  <a:pt x="4537120" y="981785"/>
                </a:cubicBezTo>
                <a:cubicBezTo>
                  <a:pt x="4620321" y="965625"/>
                  <a:pt x="4787680" y="915545"/>
                  <a:pt x="4887680" y="885625"/>
                </a:cubicBezTo>
                <a:cubicBezTo>
                  <a:pt x="4916960" y="876825"/>
                  <a:pt x="4940480" y="869785"/>
                  <a:pt x="4954560" y="865785"/>
                </a:cubicBezTo>
                <a:lnTo>
                  <a:pt x="4962720" y="863385"/>
                </a:lnTo>
                <a:cubicBezTo>
                  <a:pt x="5290240" y="768825"/>
                  <a:pt x="5618720" y="770585"/>
                  <a:pt x="5836640" y="788825"/>
                </a:cubicBezTo>
                <a:cubicBezTo>
                  <a:pt x="6292480" y="826905"/>
                  <a:pt x="6503520" y="1008345"/>
                  <a:pt x="6572800" y="1068025"/>
                </a:cubicBezTo>
                <a:cubicBezTo>
                  <a:pt x="6578881" y="1073305"/>
                  <a:pt x="6584000" y="1077625"/>
                  <a:pt x="6588160" y="1080985"/>
                </a:cubicBezTo>
                <a:cubicBezTo>
                  <a:pt x="6636800" y="1120025"/>
                  <a:pt x="6692160" y="1235225"/>
                  <a:pt x="6692160" y="1297305"/>
                </a:cubicBezTo>
                <a:cubicBezTo>
                  <a:pt x="6692160" y="1339385"/>
                  <a:pt x="6672480" y="1377785"/>
                  <a:pt x="6659520" y="1403065"/>
                </a:cubicBezTo>
                <a:cubicBezTo>
                  <a:pt x="6653600" y="1414585"/>
                  <a:pt x="6649280" y="1422905"/>
                  <a:pt x="6648000" y="1429145"/>
                </a:cubicBezTo>
                <a:cubicBezTo>
                  <a:pt x="6644320" y="1447385"/>
                  <a:pt x="6637120" y="1570585"/>
                  <a:pt x="6636800" y="1575865"/>
                </a:cubicBezTo>
                <a:cubicBezTo>
                  <a:pt x="6636800" y="1577465"/>
                  <a:pt x="6637280" y="1578905"/>
                  <a:pt x="6637920" y="1580185"/>
                </a:cubicBezTo>
                <a:cubicBezTo>
                  <a:pt x="6621280" y="1594425"/>
                  <a:pt x="6605600" y="1607065"/>
                  <a:pt x="6591360" y="1618265"/>
                </a:cubicBezTo>
                <a:close/>
                <a:moveTo>
                  <a:pt x="1515520" y="1645945"/>
                </a:moveTo>
                <a:cubicBezTo>
                  <a:pt x="1583360" y="1613465"/>
                  <a:pt x="1677280" y="1555705"/>
                  <a:pt x="1740000" y="1465145"/>
                </a:cubicBezTo>
                <a:cubicBezTo>
                  <a:pt x="1784480" y="1400825"/>
                  <a:pt x="1813120" y="1346905"/>
                  <a:pt x="1838240" y="1299385"/>
                </a:cubicBezTo>
                <a:cubicBezTo>
                  <a:pt x="1873440" y="1232985"/>
                  <a:pt x="1901280" y="1180505"/>
                  <a:pt x="1956320" y="1131065"/>
                </a:cubicBezTo>
                <a:cubicBezTo>
                  <a:pt x="2052160" y="1045145"/>
                  <a:pt x="2149280" y="872185"/>
                  <a:pt x="2153440" y="864825"/>
                </a:cubicBezTo>
                <a:cubicBezTo>
                  <a:pt x="2154400" y="863225"/>
                  <a:pt x="2286560" y="664505"/>
                  <a:pt x="2444640" y="595065"/>
                </a:cubicBezTo>
                <a:cubicBezTo>
                  <a:pt x="2554080" y="546905"/>
                  <a:pt x="2697600" y="511545"/>
                  <a:pt x="2802240" y="485785"/>
                </a:cubicBezTo>
                <a:cubicBezTo>
                  <a:pt x="2853120" y="473305"/>
                  <a:pt x="2897120" y="462425"/>
                  <a:pt x="2926880" y="452825"/>
                </a:cubicBezTo>
                <a:cubicBezTo>
                  <a:pt x="2954400" y="443865"/>
                  <a:pt x="3205120" y="365945"/>
                  <a:pt x="3492000" y="372985"/>
                </a:cubicBezTo>
                <a:cubicBezTo>
                  <a:pt x="3724480" y="378745"/>
                  <a:pt x="3954720" y="516185"/>
                  <a:pt x="4044000" y="588025"/>
                </a:cubicBezTo>
                <a:cubicBezTo>
                  <a:pt x="4123520" y="652025"/>
                  <a:pt x="4240640" y="799065"/>
                  <a:pt x="4241760" y="800345"/>
                </a:cubicBezTo>
                <a:lnTo>
                  <a:pt x="4304640" y="874105"/>
                </a:lnTo>
                <a:cubicBezTo>
                  <a:pt x="4289761" y="859865"/>
                  <a:pt x="4121920" y="699545"/>
                  <a:pt x="4002400" y="618105"/>
                </a:cubicBezTo>
                <a:cubicBezTo>
                  <a:pt x="3864320" y="524025"/>
                  <a:pt x="3659360" y="469145"/>
                  <a:pt x="3525920" y="450905"/>
                </a:cubicBezTo>
                <a:cubicBezTo>
                  <a:pt x="3497120" y="446905"/>
                  <a:pt x="3463680" y="445305"/>
                  <a:pt x="3428640" y="445305"/>
                </a:cubicBezTo>
                <a:cubicBezTo>
                  <a:pt x="3280320" y="445305"/>
                  <a:pt x="3100960" y="473945"/>
                  <a:pt x="3098720" y="474265"/>
                </a:cubicBezTo>
                <a:cubicBezTo>
                  <a:pt x="3095520" y="475065"/>
                  <a:pt x="2825120" y="537305"/>
                  <a:pt x="2595840" y="598905"/>
                </a:cubicBezTo>
                <a:cubicBezTo>
                  <a:pt x="2370720" y="659385"/>
                  <a:pt x="2274560" y="792345"/>
                  <a:pt x="2238400" y="842425"/>
                </a:cubicBezTo>
                <a:lnTo>
                  <a:pt x="2234240" y="848185"/>
                </a:lnTo>
                <a:cubicBezTo>
                  <a:pt x="2143200" y="972825"/>
                  <a:pt x="2078880" y="1048025"/>
                  <a:pt x="2043200" y="1071705"/>
                </a:cubicBezTo>
                <a:cubicBezTo>
                  <a:pt x="2003840" y="1097945"/>
                  <a:pt x="1973280" y="1160825"/>
                  <a:pt x="1946240" y="1216185"/>
                </a:cubicBezTo>
                <a:cubicBezTo>
                  <a:pt x="1934400" y="1240825"/>
                  <a:pt x="1923040" y="1264025"/>
                  <a:pt x="1912160" y="1281465"/>
                </a:cubicBezTo>
                <a:cubicBezTo>
                  <a:pt x="1900800" y="1299865"/>
                  <a:pt x="1893760" y="1319705"/>
                  <a:pt x="1886400" y="1340825"/>
                </a:cubicBezTo>
                <a:cubicBezTo>
                  <a:pt x="1870400" y="1386745"/>
                  <a:pt x="1850400" y="1443705"/>
                  <a:pt x="1771840" y="1520985"/>
                </a:cubicBezTo>
                <a:cubicBezTo>
                  <a:pt x="1703520" y="1588185"/>
                  <a:pt x="1592640" y="1626265"/>
                  <a:pt x="1515520" y="1645945"/>
                </a:cubicBezTo>
                <a:close/>
                <a:moveTo>
                  <a:pt x="6543200" y="1653785"/>
                </a:moveTo>
                <a:cubicBezTo>
                  <a:pt x="6538080" y="1624985"/>
                  <a:pt x="6525760" y="1551545"/>
                  <a:pt x="6528160" y="1505305"/>
                </a:cubicBezTo>
                <a:cubicBezTo>
                  <a:pt x="6531680" y="1438105"/>
                  <a:pt x="6513920" y="1304505"/>
                  <a:pt x="6451680" y="1231705"/>
                </a:cubicBezTo>
                <a:cubicBezTo>
                  <a:pt x="6385920" y="1154905"/>
                  <a:pt x="6192160" y="1059065"/>
                  <a:pt x="6034720" y="1004025"/>
                </a:cubicBezTo>
                <a:cubicBezTo>
                  <a:pt x="5860000" y="943065"/>
                  <a:pt x="5659360" y="910905"/>
                  <a:pt x="5438400" y="908505"/>
                </a:cubicBezTo>
                <a:cubicBezTo>
                  <a:pt x="5255200" y="906585"/>
                  <a:pt x="5120960" y="935545"/>
                  <a:pt x="5040800" y="952825"/>
                </a:cubicBezTo>
                <a:cubicBezTo>
                  <a:pt x="5018240" y="957625"/>
                  <a:pt x="5000320" y="961625"/>
                  <a:pt x="4986400" y="963705"/>
                </a:cubicBezTo>
                <a:cubicBezTo>
                  <a:pt x="4958720" y="968025"/>
                  <a:pt x="4920000" y="981305"/>
                  <a:pt x="4875040" y="996825"/>
                </a:cubicBezTo>
                <a:cubicBezTo>
                  <a:pt x="4812320" y="1018585"/>
                  <a:pt x="4741440" y="1043065"/>
                  <a:pt x="4682080" y="1048825"/>
                </a:cubicBezTo>
                <a:cubicBezTo>
                  <a:pt x="4588160" y="1058105"/>
                  <a:pt x="4490240" y="1023865"/>
                  <a:pt x="4478560" y="1019705"/>
                </a:cubicBezTo>
                <a:cubicBezTo>
                  <a:pt x="4475520" y="1017465"/>
                  <a:pt x="4467040" y="1010585"/>
                  <a:pt x="4455200" y="1001465"/>
                </a:cubicBezTo>
                <a:cubicBezTo>
                  <a:pt x="4511360" y="1016185"/>
                  <a:pt x="4633440" y="1024665"/>
                  <a:pt x="4688960" y="1008185"/>
                </a:cubicBezTo>
                <a:cubicBezTo>
                  <a:pt x="4801600" y="974745"/>
                  <a:pt x="5073600" y="896345"/>
                  <a:pt x="5170080" y="889305"/>
                </a:cubicBezTo>
                <a:cubicBezTo>
                  <a:pt x="5191040" y="887865"/>
                  <a:pt x="5217120" y="884825"/>
                  <a:pt x="5247520" y="881305"/>
                </a:cubicBezTo>
                <a:cubicBezTo>
                  <a:pt x="5369920" y="867225"/>
                  <a:pt x="5574720" y="843545"/>
                  <a:pt x="5799040" y="878905"/>
                </a:cubicBezTo>
                <a:cubicBezTo>
                  <a:pt x="6091520" y="924825"/>
                  <a:pt x="6265120" y="1002425"/>
                  <a:pt x="6359360" y="1059225"/>
                </a:cubicBezTo>
                <a:cubicBezTo>
                  <a:pt x="6474560" y="1128665"/>
                  <a:pt x="6596480" y="1245785"/>
                  <a:pt x="6593600" y="1365625"/>
                </a:cubicBezTo>
                <a:cubicBezTo>
                  <a:pt x="6590400" y="1495865"/>
                  <a:pt x="6574560" y="1622745"/>
                  <a:pt x="6574400" y="1624025"/>
                </a:cubicBezTo>
                <a:cubicBezTo>
                  <a:pt x="6574080" y="1626265"/>
                  <a:pt x="6574720" y="1628185"/>
                  <a:pt x="6575840" y="1629785"/>
                </a:cubicBezTo>
                <a:cubicBezTo>
                  <a:pt x="6563520" y="1639065"/>
                  <a:pt x="6552480" y="1647065"/>
                  <a:pt x="6543200" y="1653785"/>
                </a:cubicBezTo>
                <a:close/>
                <a:moveTo>
                  <a:pt x="6593060" y="1670205"/>
                </a:moveTo>
                <a:cubicBezTo>
                  <a:pt x="6575040" y="1669785"/>
                  <a:pt x="6562560" y="1667705"/>
                  <a:pt x="6554400" y="1665625"/>
                </a:cubicBezTo>
                <a:cubicBezTo>
                  <a:pt x="6579520" y="1647545"/>
                  <a:pt x="6616000" y="1620665"/>
                  <a:pt x="6656960" y="1584825"/>
                </a:cubicBezTo>
                <a:cubicBezTo>
                  <a:pt x="6689120" y="1585305"/>
                  <a:pt x="6777920" y="1584185"/>
                  <a:pt x="6875200" y="1560505"/>
                </a:cubicBezTo>
                <a:cubicBezTo>
                  <a:pt x="7000000" y="1530105"/>
                  <a:pt x="7099040" y="1488025"/>
                  <a:pt x="7128960" y="1464025"/>
                </a:cubicBezTo>
                <a:cubicBezTo>
                  <a:pt x="7158560" y="1440185"/>
                  <a:pt x="7283040" y="1305625"/>
                  <a:pt x="7288320" y="1299865"/>
                </a:cubicBezTo>
                <a:cubicBezTo>
                  <a:pt x="7289760" y="1297945"/>
                  <a:pt x="7388800" y="1169465"/>
                  <a:pt x="7521760" y="1108665"/>
                </a:cubicBezTo>
                <a:cubicBezTo>
                  <a:pt x="7657440" y="1046585"/>
                  <a:pt x="7946240" y="820345"/>
                  <a:pt x="7958400" y="810745"/>
                </a:cubicBezTo>
                <a:cubicBezTo>
                  <a:pt x="7961120" y="808505"/>
                  <a:pt x="8235200" y="588505"/>
                  <a:pt x="8361440" y="547865"/>
                </a:cubicBezTo>
                <a:cubicBezTo>
                  <a:pt x="8380640" y="541785"/>
                  <a:pt x="8398400" y="535705"/>
                  <a:pt x="8415520" y="529785"/>
                </a:cubicBezTo>
                <a:cubicBezTo>
                  <a:pt x="8514080" y="496025"/>
                  <a:pt x="8592000" y="469305"/>
                  <a:pt x="8838720" y="459225"/>
                </a:cubicBezTo>
                <a:cubicBezTo>
                  <a:pt x="9129920" y="447385"/>
                  <a:pt x="9277440" y="441465"/>
                  <a:pt x="9277440" y="441465"/>
                </a:cubicBezTo>
                <a:lnTo>
                  <a:pt x="9426080" y="456025"/>
                </a:lnTo>
                <a:cubicBezTo>
                  <a:pt x="9427200" y="456025"/>
                  <a:pt x="9428320" y="455865"/>
                  <a:pt x="9429280" y="455545"/>
                </a:cubicBezTo>
                <a:cubicBezTo>
                  <a:pt x="9448480" y="463225"/>
                  <a:pt x="9470720" y="472345"/>
                  <a:pt x="9496640" y="483545"/>
                </a:cubicBezTo>
                <a:cubicBezTo>
                  <a:pt x="9420480" y="475065"/>
                  <a:pt x="9323360" y="470425"/>
                  <a:pt x="9228800" y="470425"/>
                </a:cubicBezTo>
                <a:cubicBezTo>
                  <a:pt x="9186560" y="470425"/>
                  <a:pt x="9144960" y="471385"/>
                  <a:pt x="9105920" y="473305"/>
                </a:cubicBezTo>
                <a:cubicBezTo>
                  <a:pt x="8947040" y="481305"/>
                  <a:pt x="8731680" y="510425"/>
                  <a:pt x="8529600" y="551065"/>
                </a:cubicBezTo>
                <a:cubicBezTo>
                  <a:pt x="8359360" y="585305"/>
                  <a:pt x="8220160" y="708185"/>
                  <a:pt x="8136960" y="781625"/>
                </a:cubicBezTo>
                <a:cubicBezTo>
                  <a:pt x="8116320" y="799865"/>
                  <a:pt x="8100000" y="814265"/>
                  <a:pt x="8088160" y="822745"/>
                </a:cubicBezTo>
                <a:lnTo>
                  <a:pt x="8085920" y="824345"/>
                </a:lnTo>
                <a:cubicBezTo>
                  <a:pt x="8025440" y="867865"/>
                  <a:pt x="7841600" y="1000345"/>
                  <a:pt x="7683040" y="1054425"/>
                </a:cubicBezTo>
                <a:cubicBezTo>
                  <a:pt x="7531200" y="1106105"/>
                  <a:pt x="7451040" y="1198745"/>
                  <a:pt x="7416800" y="1238265"/>
                </a:cubicBezTo>
                <a:lnTo>
                  <a:pt x="7409280" y="1246905"/>
                </a:lnTo>
                <a:cubicBezTo>
                  <a:pt x="7383680" y="1275705"/>
                  <a:pt x="7299840" y="1367225"/>
                  <a:pt x="7251520" y="1408825"/>
                </a:cubicBezTo>
                <a:cubicBezTo>
                  <a:pt x="7212480" y="1442425"/>
                  <a:pt x="7057600" y="1506425"/>
                  <a:pt x="6974400" y="1540825"/>
                </a:cubicBezTo>
                <a:cubicBezTo>
                  <a:pt x="6960640" y="1546425"/>
                  <a:pt x="6948800" y="1551385"/>
                  <a:pt x="6939680" y="1555225"/>
                </a:cubicBezTo>
                <a:cubicBezTo>
                  <a:pt x="6921920" y="1562745"/>
                  <a:pt x="6900320" y="1573305"/>
                  <a:pt x="6877600" y="1584505"/>
                </a:cubicBezTo>
                <a:cubicBezTo>
                  <a:pt x="6814720" y="1615545"/>
                  <a:pt x="6736480" y="1653945"/>
                  <a:pt x="6664960" y="1664825"/>
                </a:cubicBezTo>
                <a:cubicBezTo>
                  <a:pt x="6634640" y="1669385"/>
                  <a:pt x="6611080" y="1670625"/>
                  <a:pt x="6593060" y="1670205"/>
                </a:cubicBezTo>
                <a:close/>
                <a:moveTo>
                  <a:pt x="6492480" y="1704505"/>
                </a:moveTo>
                <a:cubicBezTo>
                  <a:pt x="6482400" y="1669305"/>
                  <a:pt x="6479200" y="1585465"/>
                  <a:pt x="6476640" y="1517465"/>
                </a:cubicBezTo>
                <a:lnTo>
                  <a:pt x="6476160" y="1504985"/>
                </a:lnTo>
                <a:cubicBezTo>
                  <a:pt x="6472480" y="1408985"/>
                  <a:pt x="6393600" y="1298745"/>
                  <a:pt x="6265120" y="1209785"/>
                </a:cubicBezTo>
                <a:cubicBezTo>
                  <a:pt x="6126560" y="1113945"/>
                  <a:pt x="5978881" y="1047065"/>
                  <a:pt x="5633280" y="988825"/>
                </a:cubicBezTo>
                <a:cubicBezTo>
                  <a:pt x="5331840" y="938105"/>
                  <a:pt x="5072000" y="1003865"/>
                  <a:pt x="4974240" y="1034425"/>
                </a:cubicBezTo>
                <a:cubicBezTo>
                  <a:pt x="4966881" y="1036825"/>
                  <a:pt x="4957440" y="1039865"/>
                  <a:pt x="4946720" y="1043385"/>
                </a:cubicBezTo>
                <a:cubicBezTo>
                  <a:pt x="4880480" y="1065145"/>
                  <a:pt x="4757280" y="1105625"/>
                  <a:pt x="4674240" y="1105625"/>
                </a:cubicBezTo>
                <a:cubicBezTo>
                  <a:pt x="4588640" y="1105625"/>
                  <a:pt x="4537280" y="1084985"/>
                  <a:pt x="4528000" y="1080825"/>
                </a:cubicBezTo>
                <a:cubicBezTo>
                  <a:pt x="4506401" y="1056185"/>
                  <a:pt x="4370560" y="983705"/>
                  <a:pt x="4354720" y="975225"/>
                </a:cubicBezTo>
                <a:cubicBezTo>
                  <a:pt x="4353120" y="974585"/>
                  <a:pt x="4220480" y="907705"/>
                  <a:pt x="4115520" y="830265"/>
                </a:cubicBezTo>
                <a:cubicBezTo>
                  <a:pt x="4008800" y="751545"/>
                  <a:pt x="3934240" y="718905"/>
                  <a:pt x="3775840" y="652665"/>
                </a:cubicBezTo>
                <a:cubicBezTo>
                  <a:pt x="3675520" y="610745"/>
                  <a:pt x="3530560" y="599865"/>
                  <a:pt x="3417280" y="599865"/>
                </a:cubicBezTo>
                <a:cubicBezTo>
                  <a:pt x="3352320" y="599865"/>
                  <a:pt x="3297760" y="603385"/>
                  <a:pt x="3268000" y="606745"/>
                </a:cubicBezTo>
                <a:cubicBezTo>
                  <a:pt x="3227520" y="611225"/>
                  <a:pt x="3177920" y="616345"/>
                  <a:pt x="3115840" y="622585"/>
                </a:cubicBezTo>
                <a:cubicBezTo>
                  <a:pt x="3045760" y="629625"/>
                  <a:pt x="2959840" y="638425"/>
                  <a:pt x="2852960" y="649785"/>
                </a:cubicBezTo>
                <a:cubicBezTo>
                  <a:pt x="2674720" y="668825"/>
                  <a:pt x="2563040" y="732185"/>
                  <a:pt x="2496160" y="770105"/>
                </a:cubicBezTo>
                <a:cubicBezTo>
                  <a:pt x="2486720" y="775545"/>
                  <a:pt x="2478240" y="780345"/>
                  <a:pt x="2470560" y="784505"/>
                </a:cubicBezTo>
                <a:cubicBezTo>
                  <a:pt x="2428160" y="807225"/>
                  <a:pt x="2388960" y="858425"/>
                  <a:pt x="2351040" y="908025"/>
                </a:cubicBezTo>
                <a:cubicBezTo>
                  <a:pt x="2331680" y="933145"/>
                  <a:pt x="2313600" y="956985"/>
                  <a:pt x="2296480" y="974745"/>
                </a:cubicBezTo>
                <a:cubicBezTo>
                  <a:pt x="2284480" y="987225"/>
                  <a:pt x="2271200" y="996665"/>
                  <a:pt x="2255680" y="1007705"/>
                </a:cubicBezTo>
                <a:cubicBezTo>
                  <a:pt x="2208480" y="1041305"/>
                  <a:pt x="2143520" y="1087385"/>
                  <a:pt x="2049120" y="1270265"/>
                </a:cubicBezTo>
                <a:cubicBezTo>
                  <a:pt x="2009120" y="1347705"/>
                  <a:pt x="1954880" y="1413945"/>
                  <a:pt x="1894560" y="1469945"/>
                </a:cubicBezTo>
                <a:cubicBezTo>
                  <a:pt x="1906880" y="1441785"/>
                  <a:pt x="1964960" y="1311065"/>
                  <a:pt x="2024800" y="1232185"/>
                </a:cubicBezTo>
                <a:cubicBezTo>
                  <a:pt x="2046560" y="1203545"/>
                  <a:pt x="2066240" y="1175225"/>
                  <a:pt x="2085440" y="1147865"/>
                </a:cubicBezTo>
                <a:cubicBezTo>
                  <a:pt x="2125600" y="1090585"/>
                  <a:pt x="2160160" y="1040985"/>
                  <a:pt x="2190720" y="1021305"/>
                </a:cubicBezTo>
                <a:cubicBezTo>
                  <a:pt x="2220960" y="1001785"/>
                  <a:pt x="2259200" y="956985"/>
                  <a:pt x="2292800" y="917465"/>
                </a:cubicBezTo>
                <a:cubicBezTo>
                  <a:pt x="2312160" y="894585"/>
                  <a:pt x="2330560" y="872985"/>
                  <a:pt x="2344160" y="860185"/>
                </a:cubicBezTo>
                <a:cubicBezTo>
                  <a:pt x="2349760" y="854905"/>
                  <a:pt x="2356800" y="847545"/>
                  <a:pt x="2365120" y="838905"/>
                </a:cubicBezTo>
                <a:cubicBezTo>
                  <a:pt x="2412480" y="789465"/>
                  <a:pt x="2500640" y="697465"/>
                  <a:pt x="2636000" y="661785"/>
                </a:cubicBezTo>
                <a:cubicBezTo>
                  <a:pt x="2804800" y="617465"/>
                  <a:pt x="2891520" y="604025"/>
                  <a:pt x="2976640" y="596985"/>
                </a:cubicBezTo>
                <a:cubicBezTo>
                  <a:pt x="3031360" y="592345"/>
                  <a:pt x="3105120" y="579385"/>
                  <a:pt x="3170080" y="568025"/>
                </a:cubicBezTo>
                <a:cubicBezTo>
                  <a:pt x="3213280" y="560505"/>
                  <a:pt x="3254080" y="553305"/>
                  <a:pt x="3284800" y="549305"/>
                </a:cubicBezTo>
                <a:cubicBezTo>
                  <a:pt x="3368320" y="538585"/>
                  <a:pt x="3611680" y="539225"/>
                  <a:pt x="3790720" y="611385"/>
                </a:cubicBezTo>
                <a:cubicBezTo>
                  <a:pt x="3969120" y="683225"/>
                  <a:pt x="4031680" y="731065"/>
                  <a:pt x="4087040" y="773145"/>
                </a:cubicBezTo>
                <a:lnTo>
                  <a:pt x="4099200" y="782425"/>
                </a:lnTo>
                <a:cubicBezTo>
                  <a:pt x="4157760" y="826905"/>
                  <a:pt x="4279521" y="919545"/>
                  <a:pt x="4331521" y="941785"/>
                </a:cubicBezTo>
                <a:cubicBezTo>
                  <a:pt x="4382720" y="963545"/>
                  <a:pt x="4468640" y="1032505"/>
                  <a:pt x="4469280" y="1033305"/>
                </a:cubicBezTo>
                <a:cubicBezTo>
                  <a:pt x="4469920" y="1033945"/>
                  <a:pt x="4470720" y="1034265"/>
                  <a:pt x="4471520" y="1034585"/>
                </a:cubicBezTo>
                <a:cubicBezTo>
                  <a:pt x="4475841" y="1036345"/>
                  <a:pt x="4580000" y="1075225"/>
                  <a:pt x="4683360" y="1065145"/>
                </a:cubicBezTo>
                <a:cubicBezTo>
                  <a:pt x="4744640" y="1059065"/>
                  <a:pt x="4816480" y="1034265"/>
                  <a:pt x="4880000" y="1012345"/>
                </a:cubicBezTo>
                <a:cubicBezTo>
                  <a:pt x="4924160" y="996985"/>
                  <a:pt x="4962241" y="983865"/>
                  <a:pt x="4988480" y="979865"/>
                </a:cubicBezTo>
                <a:cubicBezTo>
                  <a:pt x="5002881" y="977625"/>
                  <a:pt x="5020961" y="973785"/>
                  <a:pt x="5043840" y="968825"/>
                </a:cubicBezTo>
                <a:cubicBezTo>
                  <a:pt x="5123200" y="951545"/>
                  <a:pt x="5256320" y="922905"/>
                  <a:pt x="5437920" y="924825"/>
                </a:cubicBezTo>
                <a:cubicBezTo>
                  <a:pt x="5657120" y="927225"/>
                  <a:pt x="5856001" y="959065"/>
                  <a:pt x="6029120" y="1019545"/>
                </a:cubicBezTo>
                <a:cubicBezTo>
                  <a:pt x="6184480" y="1073785"/>
                  <a:pt x="6375360" y="1167865"/>
                  <a:pt x="6439200" y="1242425"/>
                </a:cubicBezTo>
                <a:cubicBezTo>
                  <a:pt x="6500640" y="1314105"/>
                  <a:pt x="6514720" y="1449945"/>
                  <a:pt x="6511840" y="1504505"/>
                </a:cubicBezTo>
                <a:cubicBezTo>
                  <a:pt x="6509120" y="1558265"/>
                  <a:pt x="6524640" y="1643385"/>
                  <a:pt x="6528640" y="1664505"/>
                </a:cubicBezTo>
                <a:cubicBezTo>
                  <a:pt x="6517600" y="1673465"/>
                  <a:pt x="6504640" y="1687385"/>
                  <a:pt x="6492480" y="1704505"/>
                </a:cubicBezTo>
                <a:close/>
                <a:moveTo>
                  <a:pt x="7377280" y="1704825"/>
                </a:moveTo>
                <a:cubicBezTo>
                  <a:pt x="7458240" y="1645625"/>
                  <a:pt x="7616000" y="1528985"/>
                  <a:pt x="7663360" y="1484505"/>
                </a:cubicBezTo>
                <a:cubicBezTo>
                  <a:pt x="7689440" y="1460185"/>
                  <a:pt x="7721440" y="1424505"/>
                  <a:pt x="7755360" y="1386905"/>
                </a:cubicBezTo>
                <a:cubicBezTo>
                  <a:pt x="7803200" y="1333625"/>
                  <a:pt x="7852800" y="1278585"/>
                  <a:pt x="7881440" y="1260505"/>
                </a:cubicBezTo>
                <a:cubicBezTo>
                  <a:pt x="7886720" y="1257145"/>
                  <a:pt x="7892480" y="1253465"/>
                  <a:pt x="7898560" y="1249465"/>
                </a:cubicBezTo>
                <a:cubicBezTo>
                  <a:pt x="7946560" y="1218425"/>
                  <a:pt x="8011520" y="1176825"/>
                  <a:pt x="8089600" y="1166585"/>
                </a:cubicBezTo>
                <a:cubicBezTo>
                  <a:pt x="8113440" y="1165305"/>
                  <a:pt x="8143840" y="1163385"/>
                  <a:pt x="8177600" y="1161145"/>
                </a:cubicBezTo>
                <a:cubicBezTo>
                  <a:pt x="8197600" y="1160505"/>
                  <a:pt x="8219680" y="1160025"/>
                  <a:pt x="8243041" y="1159705"/>
                </a:cubicBezTo>
                <a:cubicBezTo>
                  <a:pt x="8173440" y="1176185"/>
                  <a:pt x="8086560" y="1218105"/>
                  <a:pt x="7988000" y="1283545"/>
                </a:cubicBezTo>
                <a:cubicBezTo>
                  <a:pt x="7962400" y="1300665"/>
                  <a:pt x="7926881" y="1332185"/>
                  <a:pt x="7892640" y="1362745"/>
                </a:cubicBezTo>
                <a:cubicBezTo>
                  <a:pt x="7859680" y="1392185"/>
                  <a:pt x="7825440" y="1422585"/>
                  <a:pt x="7802560" y="1437625"/>
                </a:cubicBezTo>
                <a:cubicBezTo>
                  <a:pt x="7792320" y="1444345"/>
                  <a:pt x="7781120" y="1451545"/>
                  <a:pt x="7768480" y="1459705"/>
                </a:cubicBezTo>
                <a:cubicBezTo>
                  <a:pt x="7723680" y="1488825"/>
                  <a:pt x="7655840" y="1532665"/>
                  <a:pt x="7540320" y="1610745"/>
                </a:cubicBezTo>
                <a:cubicBezTo>
                  <a:pt x="7468160" y="1659545"/>
                  <a:pt x="7413760" y="1688345"/>
                  <a:pt x="7377280" y="1704825"/>
                </a:cubicBezTo>
                <a:close/>
                <a:moveTo>
                  <a:pt x="13440" y="1716185"/>
                </a:moveTo>
                <a:cubicBezTo>
                  <a:pt x="16960" y="1715545"/>
                  <a:pt x="366240" y="1652985"/>
                  <a:pt x="500960" y="1390425"/>
                </a:cubicBezTo>
                <a:cubicBezTo>
                  <a:pt x="623680" y="1151385"/>
                  <a:pt x="734080" y="930585"/>
                  <a:pt x="796160" y="799705"/>
                </a:cubicBezTo>
                <a:cubicBezTo>
                  <a:pt x="851040" y="684185"/>
                  <a:pt x="1075360" y="352345"/>
                  <a:pt x="1305120" y="216185"/>
                </a:cubicBezTo>
                <a:cubicBezTo>
                  <a:pt x="1344960" y="192665"/>
                  <a:pt x="1380160" y="170905"/>
                  <a:pt x="1414080" y="149945"/>
                </a:cubicBezTo>
                <a:cubicBezTo>
                  <a:pt x="1494400" y="100345"/>
                  <a:pt x="1561080" y="59145"/>
                  <a:pt x="1640700" y="23525"/>
                </a:cubicBezTo>
                <a:lnTo>
                  <a:pt x="1703527" y="0"/>
                </a:lnTo>
                <a:lnTo>
                  <a:pt x="1657276" y="0"/>
                </a:lnTo>
                <a:lnTo>
                  <a:pt x="1634140" y="8665"/>
                </a:lnTo>
                <a:cubicBezTo>
                  <a:pt x="1553760" y="44625"/>
                  <a:pt x="1486480" y="86185"/>
                  <a:pt x="1405440" y="136185"/>
                </a:cubicBezTo>
                <a:cubicBezTo>
                  <a:pt x="1371520" y="157145"/>
                  <a:pt x="1336480" y="178745"/>
                  <a:pt x="1296800" y="202265"/>
                </a:cubicBezTo>
                <a:cubicBezTo>
                  <a:pt x="1064160" y="340185"/>
                  <a:pt x="837120" y="676025"/>
                  <a:pt x="781600" y="792825"/>
                </a:cubicBezTo>
                <a:cubicBezTo>
                  <a:pt x="719520" y="923545"/>
                  <a:pt x="609120" y="1144185"/>
                  <a:pt x="486560" y="1383065"/>
                </a:cubicBezTo>
                <a:cubicBezTo>
                  <a:pt x="355520" y="1638745"/>
                  <a:pt x="14080" y="1699705"/>
                  <a:pt x="10720" y="1700345"/>
                </a:cubicBezTo>
                <a:cubicBezTo>
                  <a:pt x="6400" y="1701145"/>
                  <a:pt x="3360" y="1705305"/>
                  <a:pt x="4160" y="1709625"/>
                </a:cubicBezTo>
                <a:cubicBezTo>
                  <a:pt x="4960" y="1713945"/>
                  <a:pt x="9120" y="1716985"/>
                  <a:pt x="13440" y="1716185"/>
                </a:cubicBezTo>
                <a:close/>
                <a:moveTo>
                  <a:pt x="6475040" y="1732825"/>
                </a:moveTo>
                <a:cubicBezTo>
                  <a:pt x="6451040" y="1714585"/>
                  <a:pt x="6444800" y="1657465"/>
                  <a:pt x="6439680" y="1611065"/>
                </a:cubicBezTo>
                <a:cubicBezTo>
                  <a:pt x="6437440" y="1590585"/>
                  <a:pt x="6435360" y="1571225"/>
                  <a:pt x="6431840" y="1557305"/>
                </a:cubicBezTo>
                <a:cubicBezTo>
                  <a:pt x="6419200" y="1506425"/>
                  <a:pt x="6383360" y="1407865"/>
                  <a:pt x="6329280" y="1361305"/>
                </a:cubicBezTo>
                <a:cubicBezTo>
                  <a:pt x="6297280" y="1333785"/>
                  <a:pt x="6205600" y="1260345"/>
                  <a:pt x="6043360" y="1174585"/>
                </a:cubicBezTo>
                <a:cubicBezTo>
                  <a:pt x="5901120" y="1099385"/>
                  <a:pt x="5718720" y="1061785"/>
                  <a:pt x="5451840" y="1052985"/>
                </a:cubicBezTo>
                <a:cubicBezTo>
                  <a:pt x="5226240" y="1045625"/>
                  <a:pt x="5111680" y="1081785"/>
                  <a:pt x="5019680" y="1110905"/>
                </a:cubicBezTo>
                <a:cubicBezTo>
                  <a:pt x="4996800" y="1118265"/>
                  <a:pt x="4975200" y="1124985"/>
                  <a:pt x="4953760" y="1130585"/>
                </a:cubicBezTo>
                <a:cubicBezTo>
                  <a:pt x="4851040" y="1157145"/>
                  <a:pt x="4676801" y="1155705"/>
                  <a:pt x="4610560" y="1148985"/>
                </a:cubicBezTo>
                <a:cubicBezTo>
                  <a:pt x="4563040" y="1144185"/>
                  <a:pt x="4494560" y="1091705"/>
                  <a:pt x="4457761" y="1063385"/>
                </a:cubicBezTo>
                <a:cubicBezTo>
                  <a:pt x="4448960" y="1056505"/>
                  <a:pt x="4441920" y="1051225"/>
                  <a:pt x="4437441" y="1048185"/>
                </a:cubicBezTo>
                <a:cubicBezTo>
                  <a:pt x="4412480" y="1031385"/>
                  <a:pt x="4276800" y="975705"/>
                  <a:pt x="4223840" y="960505"/>
                </a:cubicBezTo>
                <a:cubicBezTo>
                  <a:pt x="4191840" y="951225"/>
                  <a:pt x="4114880" y="906425"/>
                  <a:pt x="4040480" y="863225"/>
                </a:cubicBezTo>
                <a:cubicBezTo>
                  <a:pt x="3992800" y="835545"/>
                  <a:pt x="3943680" y="807065"/>
                  <a:pt x="3906240" y="787705"/>
                </a:cubicBezTo>
                <a:cubicBezTo>
                  <a:pt x="3808160" y="737145"/>
                  <a:pt x="3651040" y="694105"/>
                  <a:pt x="3496160" y="675385"/>
                </a:cubicBezTo>
                <a:cubicBezTo>
                  <a:pt x="3467360" y="671865"/>
                  <a:pt x="3433440" y="670425"/>
                  <a:pt x="3397440" y="670425"/>
                </a:cubicBezTo>
                <a:cubicBezTo>
                  <a:pt x="3242240" y="670425"/>
                  <a:pt x="3046880" y="696665"/>
                  <a:pt x="3044480" y="696985"/>
                </a:cubicBezTo>
                <a:cubicBezTo>
                  <a:pt x="3043040" y="697145"/>
                  <a:pt x="2854240" y="712825"/>
                  <a:pt x="2697920" y="746585"/>
                </a:cubicBezTo>
                <a:cubicBezTo>
                  <a:pt x="2574240" y="773305"/>
                  <a:pt x="2502240" y="849785"/>
                  <a:pt x="2459200" y="895545"/>
                </a:cubicBezTo>
                <a:cubicBezTo>
                  <a:pt x="2446880" y="908665"/>
                  <a:pt x="2437120" y="919065"/>
                  <a:pt x="2429760" y="924345"/>
                </a:cubicBezTo>
                <a:cubicBezTo>
                  <a:pt x="2417440" y="933305"/>
                  <a:pt x="2398880" y="948665"/>
                  <a:pt x="2377440" y="966425"/>
                </a:cubicBezTo>
                <a:cubicBezTo>
                  <a:pt x="2340160" y="997465"/>
                  <a:pt x="2293600" y="1035865"/>
                  <a:pt x="2269600" y="1047545"/>
                </a:cubicBezTo>
                <a:cubicBezTo>
                  <a:pt x="2229600" y="1066745"/>
                  <a:pt x="2148640" y="1188665"/>
                  <a:pt x="2145280" y="1193785"/>
                </a:cubicBezTo>
                <a:cubicBezTo>
                  <a:pt x="2144320" y="1195225"/>
                  <a:pt x="2144000" y="1196825"/>
                  <a:pt x="2144160" y="1198105"/>
                </a:cubicBezTo>
                <a:cubicBezTo>
                  <a:pt x="2115040" y="1227385"/>
                  <a:pt x="2083360" y="1261145"/>
                  <a:pt x="2053280" y="1295545"/>
                </a:cubicBezTo>
                <a:cubicBezTo>
                  <a:pt x="2056640" y="1289465"/>
                  <a:pt x="2060320" y="1283705"/>
                  <a:pt x="2063520" y="1277465"/>
                </a:cubicBezTo>
                <a:cubicBezTo>
                  <a:pt x="2156160" y="1098105"/>
                  <a:pt x="2219040" y="1053305"/>
                  <a:pt x="2265120" y="1020665"/>
                </a:cubicBezTo>
                <a:cubicBezTo>
                  <a:pt x="2281120" y="1009305"/>
                  <a:pt x="2295040" y="999385"/>
                  <a:pt x="2308160" y="985785"/>
                </a:cubicBezTo>
                <a:cubicBezTo>
                  <a:pt x="2325920" y="967385"/>
                  <a:pt x="2344320" y="943225"/>
                  <a:pt x="2363840" y="917785"/>
                </a:cubicBezTo>
                <a:cubicBezTo>
                  <a:pt x="2398880" y="871865"/>
                  <a:pt x="2438880" y="819865"/>
                  <a:pt x="2478080" y="798745"/>
                </a:cubicBezTo>
                <a:cubicBezTo>
                  <a:pt x="2485760" y="794425"/>
                  <a:pt x="2494400" y="789625"/>
                  <a:pt x="2504000" y="784185"/>
                </a:cubicBezTo>
                <a:cubicBezTo>
                  <a:pt x="2569600" y="747065"/>
                  <a:pt x="2679680" y="684505"/>
                  <a:pt x="2854560" y="665945"/>
                </a:cubicBezTo>
                <a:cubicBezTo>
                  <a:pt x="2961440" y="654585"/>
                  <a:pt x="3047360" y="645785"/>
                  <a:pt x="3117440" y="638745"/>
                </a:cubicBezTo>
                <a:cubicBezTo>
                  <a:pt x="3179680" y="632345"/>
                  <a:pt x="3229280" y="627385"/>
                  <a:pt x="3269760" y="622905"/>
                </a:cubicBezTo>
                <a:cubicBezTo>
                  <a:pt x="3350400" y="613945"/>
                  <a:pt x="3615040" y="602905"/>
                  <a:pt x="3769920" y="667705"/>
                </a:cubicBezTo>
                <a:cubicBezTo>
                  <a:pt x="3927040" y="733305"/>
                  <a:pt x="4000960" y="765625"/>
                  <a:pt x="4106240" y="843385"/>
                </a:cubicBezTo>
                <a:cubicBezTo>
                  <a:pt x="4212320" y="921785"/>
                  <a:pt x="4346240" y="989145"/>
                  <a:pt x="4347520" y="989785"/>
                </a:cubicBezTo>
                <a:cubicBezTo>
                  <a:pt x="4407360" y="1021625"/>
                  <a:pt x="4506560" y="1077785"/>
                  <a:pt x="4516481" y="1092185"/>
                </a:cubicBezTo>
                <a:cubicBezTo>
                  <a:pt x="4517280" y="1093465"/>
                  <a:pt x="4518240" y="1094265"/>
                  <a:pt x="4519520" y="1094905"/>
                </a:cubicBezTo>
                <a:cubicBezTo>
                  <a:pt x="4521760" y="1096025"/>
                  <a:pt x="4575680" y="1121945"/>
                  <a:pt x="4674240" y="1121945"/>
                </a:cubicBezTo>
                <a:cubicBezTo>
                  <a:pt x="4759680" y="1121945"/>
                  <a:pt x="4884640" y="1080985"/>
                  <a:pt x="4951680" y="1058905"/>
                </a:cubicBezTo>
                <a:cubicBezTo>
                  <a:pt x="4962400" y="1055385"/>
                  <a:pt x="4971680" y="1052345"/>
                  <a:pt x="4979040" y="1050105"/>
                </a:cubicBezTo>
                <a:cubicBezTo>
                  <a:pt x="5075680" y="1019865"/>
                  <a:pt x="5332640" y="954905"/>
                  <a:pt x="5630560" y="1004985"/>
                </a:cubicBezTo>
                <a:cubicBezTo>
                  <a:pt x="5973280" y="1062745"/>
                  <a:pt x="6119360" y="1128825"/>
                  <a:pt x="6256000" y="1223385"/>
                </a:cubicBezTo>
                <a:cubicBezTo>
                  <a:pt x="6380320" y="1309465"/>
                  <a:pt x="6456640" y="1415065"/>
                  <a:pt x="6460160" y="1505945"/>
                </a:cubicBezTo>
                <a:lnTo>
                  <a:pt x="6460640" y="1518425"/>
                </a:lnTo>
                <a:cubicBezTo>
                  <a:pt x="6463520" y="1593465"/>
                  <a:pt x="6466881" y="1678425"/>
                  <a:pt x="6478400" y="1713465"/>
                </a:cubicBezTo>
                <a:cubicBezTo>
                  <a:pt x="6479200" y="1715865"/>
                  <a:pt x="6481120" y="1717625"/>
                  <a:pt x="6483360" y="1718425"/>
                </a:cubicBezTo>
                <a:cubicBezTo>
                  <a:pt x="6480480" y="1723065"/>
                  <a:pt x="6477760" y="1727865"/>
                  <a:pt x="6475040" y="1732825"/>
                </a:cubicBezTo>
                <a:close/>
                <a:moveTo>
                  <a:pt x="7281600" y="1745145"/>
                </a:moveTo>
                <a:cubicBezTo>
                  <a:pt x="7361120" y="1686585"/>
                  <a:pt x="7511680" y="1569945"/>
                  <a:pt x="7568960" y="1486105"/>
                </a:cubicBezTo>
                <a:lnTo>
                  <a:pt x="7586080" y="1460985"/>
                </a:lnTo>
                <a:cubicBezTo>
                  <a:pt x="7659680" y="1352665"/>
                  <a:pt x="7743040" y="1229945"/>
                  <a:pt x="7816000" y="1204345"/>
                </a:cubicBezTo>
                <a:cubicBezTo>
                  <a:pt x="7845920" y="1196345"/>
                  <a:pt x="7879520" y="1187705"/>
                  <a:pt x="7915360" y="1179065"/>
                </a:cubicBezTo>
                <a:cubicBezTo>
                  <a:pt x="7952640" y="1172665"/>
                  <a:pt x="7987360" y="1169785"/>
                  <a:pt x="8015360" y="1168505"/>
                </a:cubicBezTo>
                <a:cubicBezTo>
                  <a:pt x="7964960" y="1187385"/>
                  <a:pt x="7921920" y="1215065"/>
                  <a:pt x="7889920" y="1235865"/>
                </a:cubicBezTo>
                <a:cubicBezTo>
                  <a:pt x="7884000" y="1239865"/>
                  <a:pt x="7878240" y="1243545"/>
                  <a:pt x="7872960" y="1246905"/>
                </a:cubicBezTo>
                <a:cubicBezTo>
                  <a:pt x="7842560" y="1266265"/>
                  <a:pt x="7792160" y="1322105"/>
                  <a:pt x="7743520" y="1376185"/>
                </a:cubicBezTo>
                <a:cubicBezTo>
                  <a:pt x="7711200" y="1411865"/>
                  <a:pt x="7677920" y="1448825"/>
                  <a:pt x="7652480" y="1472825"/>
                </a:cubicBezTo>
                <a:cubicBezTo>
                  <a:pt x="7591040" y="1530585"/>
                  <a:pt x="7331840" y="1717945"/>
                  <a:pt x="7319840" y="1726745"/>
                </a:cubicBezTo>
                <a:cubicBezTo>
                  <a:pt x="7316960" y="1728185"/>
                  <a:pt x="7302080" y="1735385"/>
                  <a:pt x="7281600" y="1745145"/>
                </a:cubicBezTo>
                <a:close/>
                <a:moveTo>
                  <a:pt x="8000" y="1747865"/>
                </a:moveTo>
                <a:cubicBezTo>
                  <a:pt x="23840" y="1748025"/>
                  <a:pt x="398400" y="1750105"/>
                  <a:pt x="542080" y="1648505"/>
                </a:cubicBezTo>
                <a:cubicBezTo>
                  <a:pt x="697120" y="1538905"/>
                  <a:pt x="837440" y="1389465"/>
                  <a:pt x="883360" y="1285305"/>
                </a:cubicBezTo>
                <a:cubicBezTo>
                  <a:pt x="902560" y="1241785"/>
                  <a:pt x="927520" y="1200345"/>
                  <a:pt x="951680" y="1160345"/>
                </a:cubicBezTo>
                <a:cubicBezTo>
                  <a:pt x="987360" y="1101305"/>
                  <a:pt x="1020960" y="1045465"/>
                  <a:pt x="1031520" y="990105"/>
                </a:cubicBezTo>
                <a:cubicBezTo>
                  <a:pt x="1048640" y="900185"/>
                  <a:pt x="1175680" y="618265"/>
                  <a:pt x="1191360" y="586905"/>
                </a:cubicBezTo>
                <a:cubicBezTo>
                  <a:pt x="1192960" y="583865"/>
                  <a:pt x="1361760" y="272185"/>
                  <a:pt x="1769120" y="80505"/>
                </a:cubicBezTo>
                <a:cubicBezTo>
                  <a:pt x="1834760" y="49625"/>
                  <a:pt x="1903650" y="23075"/>
                  <a:pt x="1974883" y="1008"/>
                </a:cubicBezTo>
                <a:lnTo>
                  <a:pt x="1979093" y="0"/>
                </a:lnTo>
                <a:lnTo>
                  <a:pt x="1925025" y="0"/>
                </a:lnTo>
                <a:lnTo>
                  <a:pt x="1924083" y="268"/>
                </a:lnTo>
                <a:cubicBezTo>
                  <a:pt x="1868350" y="19295"/>
                  <a:pt x="1814200" y="41105"/>
                  <a:pt x="1762080" y="65625"/>
                </a:cubicBezTo>
                <a:cubicBezTo>
                  <a:pt x="1349920" y="259545"/>
                  <a:pt x="1178400" y="576505"/>
                  <a:pt x="1176800" y="579545"/>
                </a:cubicBezTo>
                <a:cubicBezTo>
                  <a:pt x="1160480" y="612345"/>
                  <a:pt x="1033280" y="893625"/>
                  <a:pt x="1015520" y="986905"/>
                </a:cubicBezTo>
                <a:cubicBezTo>
                  <a:pt x="1005600" y="1039385"/>
                  <a:pt x="972640" y="1094105"/>
                  <a:pt x="937760" y="1151865"/>
                </a:cubicBezTo>
                <a:cubicBezTo>
                  <a:pt x="913440" y="1192345"/>
                  <a:pt x="888320" y="1234265"/>
                  <a:pt x="868640" y="1278745"/>
                </a:cubicBezTo>
                <a:cubicBezTo>
                  <a:pt x="824480" y="1378905"/>
                  <a:pt x="683200" y="1528985"/>
                  <a:pt x="532800" y="1635385"/>
                </a:cubicBezTo>
                <a:cubicBezTo>
                  <a:pt x="393280" y="1733945"/>
                  <a:pt x="12000" y="1731705"/>
                  <a:pt x="8000" y="1731705"/>
                </a:cubicBezTo>
                <a:cubicBezTo>
                  <a:pt x="3680" y="1731705"/>
                  <a:pt x="0" y="1735225"/>
                  <a:pt x="0" y="1739705"/>
                </a:cubicBezTo>
                <a:cubicBezTo>
                  <a:pt x="0" y="1744185"/>
                  <a:pt x="3520" y="1747865"/>
                  <a:pt x="8000" y="1747865"/>
                </a:cubicBezTo>
                <a:close/>
                <a:moveTo>
                  <a:pt x="6459200" y="1768025"/>
                </a:moveTo>
                <a:cubicBezTo>
                  <a:pt x="6424000" y="1736665"/>
                  <a:pt x="6406881" y="1680345"/>
                  <a:pt x="6391840" y="1630265"/>
                </a:cubicBezTo>
                <a:cubicBezTo>
                  <a:pt x="6385600" y="1609785"/>
                  <a:pt x="6379840" y="1590585"/>
                  <a:pt x="6373280" y="1574585"/>
                </a:cubicBezTo>
                <a:cubicBezTo>
                  <a:pt x="6348960" y="1516025"/>
                  <a:pt x="6328960" y="1474425"/>
                  <a:pt x="6256800" y="1390745"/>
                </a:cubicBezTo>
                <a:cubicBezTo>
                  <a:pt x="6179680" y="1301465"/>
                  <a:pt x="5973440" y="1205945"/>
                  <a:pt x="5755360" y="1158425"/>
                </a:cubicBezTo>
                <a:cubicBezTo>
                  <a:pt x="5663041" y="1138265"/>
                  <a:pt x="5565600" y="1131545"/>
                  <a:pt x="5477120" y="1131545"/>
                </a:cubicBezTo>
                <a:cubicBezTo>
                  <a:pt x="5360000" y="1131545"/>
                  <a:pt x="5258560" y="1143385"/>
                  <a:pt x="5204961" y="1150905"/>
                </a:cubicBezTo>
                <a:cubicBezTo>
                  <a:pt x="5181920" y="1154105"/>
                  <a:pt x="5156160" y="1159225"/>
                  <a:pt x="5126400" y="1165145"/>
                </a:cubicBezTo>
                <a:cubicBezTo>
                  <a:pt x="5056160" y="1179225"/>
                  <a:pt x="4968800" y="1196505"/>
                  <a:pt x="4865281" y="1199065"/>
                </a:cubicBezTo>
                <a:cubicBezTo>
                  <a:pt x="4730400" y="1202425"/>
                  <a:pt x="4609280" y="1184825"/>
                  <a:pt x="4592480" y="1182105"/>
                </a:cubicBezTo>
                <a:cubicBezTo>
                  <a:pt x="4584640" y="1175705"/>
                  <a:pt x="4557600" y="1153145"/>
                  <a:pt x="4532321" y="1134745"/>
                </a:cubicBezTo>
                <a:cubicBezTo>
                  <a:pt x="4558720" y="1150105"/>
                  <a:pt x="4585920" y="1162425"/>
                  <a:pt x="4609280" y="1164825"/>
                </a:cubicBezTo>
                <a:cubicBezTo>
                  <a:pt x="4662400" y="1170265"/>
                  <a:pt x="4843680" y="1175705"/>
                  <a:pt x="4958080" y="1146105"/>
                </a:cubicBezTo>
                <a:cubicBezTo>
                  <a:pt x="4979840" y="1140505"/>
                  <a:pt x="5001761" y="1133625"/>
                  <a:pt x="5024800" y="1126265"/>
                </a:cubicBezTo>
                <a:cubicBezTo>
                  <a:pt x="5115681" y="1097465"/>
                  <a:pt x="5228800" y="1061465"/>
                  <a:pt x="5451520" y="1068985"/>
                </a:cubicBezTo>
                <a:cubicBezTo>
                  <a:pt x="5715840" y="1077785"/>
                  <a:pt x="5896160" y="1114745"/>
                  <a:pt x="6036160" y="1188825"/>
                </a:cubicBezTo>
                <a:cubicBezTo>
                  <a:pt x="6196800" y="1273785"/>
                  <a:pt x="6287520" y="1346265"/>
                  <a:pt x="6319040" y="1373465"/>
                </a:cubicBezTo>
                <a:cubicBezTo>
                  <a:pt x="6370080" y="1417465"/>
                  <a:pt x="6404320" y="1512185"/>
                  <a:pt x="6416480" y="1561145"/>
                </a:cubicBezTo>
                <a:cubicBezTo>
                  <a:pt x="6419680" y="1573945"/>
                  <a:pt x="6421600" y="1592825"/>
                  <a:pt x="6423840" y="1612665"/>
                </a:cubicBezTo>
                <a:cubicBezTo>
                  <a:pt x="6429600" y="1665945"/>
                  <a:pt x="6436320" y="1726105"/>
                  <a:pt x="6467840" y="1747225"/>
                </a:cubicBezTo>
                <a:cubicBezTo>
                  <a:pt x="6464640" y="1754105"/>
                  <a:pt x="6461760" y="1760985"/>
                  <a:pt x="6459200" y="1768025"/>
                </a:cubicBezTo>
                <a:close/>
                <a:moveTo>
                  <a:pt x="6475360" y="1770745"/>
                </a:moveTo>
                <a:cubicBezTo>
                  <a:pt x="6490240" y="1730265"/>
                  <a:pt x="6518400" y="1693945"/>
                  <a:pt x="6538560" y="1677305"/>
                </a:cubicBezTo>
                <a:cubicBezTo>
                  <a:pt x="6551200" y="1682905"/>
                  <a:pt x="6587040" y="1692825"/>
                  <a:pt x="6667360" y="1680665"/>
                </a:cubicBezTo>
                <a:cubicBezTo>
                  <a:pt x="6741280" y="1669465"/>
                  <a:pt x="6820800" y="1630425"/>
                  <a:pt x="6884640" y="1598905"/>
                </a:cubicBezTo>
                <a:cubicBezTo>
                  <a:pt x="6907200" y="1587705"/>
                  <a:pt x="6928640" y="1577305"/>
                  <a:pt x="6945920" y="1569945"/>
                </a:cubicBezTo>
                <a:cubicBezTo>
                  <a:pt x="6955040" y="1566105"/>
                  <a:pt x="6966881" y="1561145"/>
                  <a:pt x="6980480" y="1555545"/>
                </a:cubicBezTo>
                <a:cubicBezTo>
                  <a:pt x="6998240" y="1548185"/>
                  <a:pt x="7019360" y="1539545"/>
                  <a:pt x="7041760" y="1530105"/>
                </a:cubicBezTo>
                <a:cubicBezTo>
                  <a:pt x="6973120" y="1571385"/>
                  <a:pt x="6886080" y="1630105"/>
                  <a:pt x="6799840" y="1689145"/>
                </a:cubicBezTo>
                <a:cubicBezTo>
                  <a:pt x="6680640" y="1770585"/>
                  <a:pt x="6525760" y="1772505"/>
                  <a:pt x="6475360" y="1770745"/>
                </a:cubicBezTo>
                <a:close/>
                <a:moveTo>
                  <a:pt x="6451040" y="1801305"/>
                </a:moveTo>
                <a:cubicBezTo>
                  <a:pt x="6411360" y="1783065"/>
                  <a:pt x="6363840" y="1679705"/>
                  <a:pt x="6341280" y="1619225"/>
                </a:cubicBezTo>
                <a:cubicBezTo>
                  <a:pt x="6329600" y="1588185"/>
                  <a:pt x="6311680" y="1566745"/>
                  <a:pt x="6272320" y="1520025"/>
                </a:cubicBezTo>
                <a:cubicBezTo>
                  <a:pt x="6262560" y="1508345"/>
                  <a:pt x="6251360" y="1495065"/>
                  <a:pt x="6238560" y="1479705"/>
                </a:cubicBezTo>
                <a:cubicBezTo>
                  <a:pt x="6170560" y="1397625"/>
                  <a:pt x="6003360" y="1308665"/>
                  <a:pt x="5802080" y="1247385"/>
                </a:cubicBezTo>
                <a:cubicBezTo>
                  <a:pt x="5684800" y="1211865"/>
                  <a:pt x="5556480" y="1203225"/>
                  <a:pt x="5446560" y="1203225"/>
                </a:cubicBezTo>
                <a:cubicBezTo>
                  <a:pt x="5385760" y="1203225"/>
                  <a:pt x="5330560" y="1205945"/>
                  <a:pt x="5286081" y="1208025"/>
                </a:cubicBezTo>
                <a:cubicBezTo>
                  <a:pt x="5268161" y="1208825"/>
                  <a:pt x="5252000" y="1209625"/>
                  <a:pt x="5237920" y="1210105"/>
                </a:cubicBezTo>
                <a:cubicBezTo>
                  <a:pt x="5183360" y="1212025"/>
                  <a:pt x="5130240" y="1220985"/>
                  <a:pt x="5078720" y="1229625"/>
                </a:cubicBezTo>
                <a:cubicBezTo>
                  <a:pt x="5024960" y="1238745"/>
                  <a:pt x="4974080" y="1247225"/>
                  <a:pt x="4925280" y="1247225"/>
                </a:cubicBezTo>
                <a:cubicBezTo>
                  <a:pt x="4845600" y="1247225"/>
                  <a:pt x="4697600" y="1236825"/>
                  <a:pt x="4650721" y="1233465"/>
                </a:cubicBezTo>
                <a:cubicBezTo>
                  <a:pt x="4640160" y="1222745"/>
                  <a:pt x="4628640" y="1211705"/>
                  <a:pt x="4616961" y="1201625"/>
                </a:cubicBezTo>
                <a:cubicBezTo>
                  <a:pt x="4663680" y="1207545"/>
                  <a:pt x="4760321" y="1217625"/>
                  <a:pt x="4865440" y="1214905"/>
                </a:cubicBezTo>
                <a:cubicBezTo>
                  <a:pt x="4970241" y="1212345"/>
                  <a:pt x="5058400" y="1194905"/>
                  <a:pt x="5129281" y="1180825"/>
                </a:cubicBezTo>
                <a:cubicBezTo>
                  <a:pt x="5158881" y="1175065"/>
                  <a:pt x="5184320" y="1169945"/>
                  <a:pt x="5207040" y="1166745"/>
                </a:cubicBezTo>
                <a:cubicBezTo>
                  <a:pt x="5300160" y="1153625"/>
                  <a:pt x="5539680" y="1127865"/>
                  <a:pt x="5752000" y="1174105"/>
                </a:cubicBezTo>
                <a:cubicBezTo>
                  <a:pt x="5963680" y="1220185"/>
                  <a:pt x="6170881" y="1315865"/>
                  <a:pt x="6244800" y="1401305"/>
                </a:cubicBezTo>
                <a:cubicBezTo>
                  <a:pt x="6316960" y="1484665"/>
                  <a:pt x="6335040" y="1523705"/>
                  <a:pt x="6358560" y="1580665"/>
                </a:cubicBezTo>
                <a:cubicBezTo>
                  <a:pt x="6364800" y="1595705"/>
                  <a:pt x="6370400" y="1614745"/>
                  <a:pt x="6376480" y="1634745"/>
                </a:cubicBezTo>
                <a:cubicBezTo>
                  <a:pt x="6392800" y="1688985"/>
                  <a:pt x="6411200" y="1750425"/>
                  <a:pt x="6452960" y="1784025"/>
                </a:cubicBezTo>
                <a:cubicBezTo>
                  <a:pt x="6453120" y="1784185"/>
                  <a:pt x="6453440" y="1784185"/>
                  <a:pt x="6453600" y="1784345"/>
                </a:cubicBezTo>
                <a:cubicBezTo>
                  <a:pt x="6453760" y="1784505"/>
                  <a:pt x="6453920" y="1784665"/>
                  <a:pt x="6454240" y="1784825"/>
                </a:cubicBezTo>
                <a:cubicBezTo>
                  <a:pt x="6452960" y="1790265"/>
                  <a:pt x="6451840" y="1795865"/>
                  <a:pt x="6451040" y="1801305"/>
                </a:cubicBezTo>
                <a:close/>
                <a:moveTo>
                  <a:pt x="7118400" y="1815385"/>
                </a:moveTo>
                <a:cubicBezTo>
                  <a:pt x="7176960" y="1778745"/>
                  <a:pt x="7309920" y="1689145"/>
                  <a:pt x="7398881" y="1580665"/>
                </a:cubicBezTo>
                <a:cubicBezTo>
                  <a:pt x="7453760" y="1513625"/>
                  <a:pt x="7492000" y="1460185"/>
                  <a:pt x="7522720" y="1417305"/>
                </a:cubicBezTo>
                <a:cubicBezTo>
                  <a:pt x="7556480" y="1370105"/>
                  <a:pt x="7580960" y="1336025"/>
                  <a:pt x="7606560" y="1313945"/>
                </a:cubicBezTo>
                <a:cubicBezTo>
                  <a:pt x="7650240" y="1276185"/>
                  <a:pt x="7698400" y="1247225"/>
                  <a:pt x="7752000" y="1225785"/>
                </a:cubicBezTo>
                <a:cubicBezTo>
                  <a:pt x="7691520" y="1277465"/>
                  <a:pt x="7629440" y="1368825"/>
                  <a:pt x="7572960" y="1451865"/>
                </a:cubicBezTo>
                <a:lnTo>
                  <a:pt x="7555840" y="1476985"/>
                </a:lnTo>
                <a:cubicBezTo>
                  <a:pt x="7479840" y="1588345"/>
                  <a:pt x="7224480" y="1766425"/>
                  <a:pt x="7221920" y="1768185"/>
                </a:cubicBezTo>
                <a:cubicBezTo>
                  <a:pt x="7219680" y="1769625"/>
                  <a:pt x="7218720" y="1772025"/>
                  <a:pt x="7218560" y="1774425"/>
                </a:cubicBezTo>
                <a:cubicBezTo>
                  <a:pt x="7178400" y="1792665"/>
                  <a:pt x="7137440" y="1810265"/>
                  <a:pt x="7118400" y="1815385"/>
                </a:cubicBezTo>
                <a:close/>
                <a:moveTo>
                  <a:pt x="770560" y="1817785"/>
                </a:moveTo>
                <a:cubicBezTo>
                  <a:pt x="793120" y="1809785"/>
                  <a:pt x="812000" y="1801785"/>
                  <a:pt x="825280" y="1793945"/>
                </a:cubicBezTo>
                <a:cubicBezTo>
                  <a:pt x="852480" y="1777785"/>
                  <a:pt x="889120" y="1751225"/>
                  <a:pt x="927840" y="1723065"/>
                </a:cubicBezTo>
                <a:cubicBezTo>
                  <a:pt x="981440" y="1684185"/>
                  <a:pt x="1036960" y="1644025"/>
                  <a:pt x="1072320" y="1627545"/>
                </a:cubicBezTo>
                <a:cubicBezTo>
                  <a:pt x="1134560" y="1598585"/>
                  <a:pt x="1358720" y="1476185"/>
                  <a:pt x="1418240" y="1443065"/>
                </a:cubicBezTo>
                <a:cubicBezTo>
                  <a:pt x="1482400" y="1407225"/>
                  <a:pt x="1544480" y="1326425"/>
                  <a:pt x="1597920" y="1209145"/>
                </a:cubicBezTo>
                <a:lnTo>
                  <a:pt x="1602720" y="1198425"/>
                </a:lnTo>
                <a:cubicBezTo>
                  <a:pt x="1654720" y="1084345"/>
                  <a:pt x="1741600" y="893305"/>
                  <a:pt x="1776000" y="839865"/>
                </a:cubicBezTo>
                <a:cubicBezTo>
                  <a:pt x="1778720" y="835705"/>
                  <a:pt x="1782240" y="829945"/>
                  <a:pt x="1786560" y="822905"/>
                </a:cubicBezTo>
                <a:cubicBezTo>
                  <a:pt x="1839040" y="737625"/>
                  <a:pt x="1998720" y="477785"/>
                  <a:pt x="2257920" y="386585"/>
                </a:cubicBezTo>
                <a:cubicBezTo>
                  <a:pt x="2260320" y="385625"/>
                  <a:pt x="2447360" y="307385"/>
                  <a:pt x="2506400" y="280825"/>
                </a:cubicBezTo>
                <a:cubicBezTo>
                  <a:pt x="2516160" y="276345"/>
                  <a:pt x="2529120" y="270105"/>
                  <a:pt x="2544800" y="262425"/>
                </a:cubicBezTo>
                <a:cubicBezTo>
                  <a:pt x="2624000" y="223865"/>
                  <a:pt x="2771200" y="151865"/>
                  <a:pt x="2899520" y="137625"/>
                </a:cubicBezTo>
                <a:cubicBezTo>
                  <a:pt x="3066400" y="118905"/>
                  <a:pt x="3331360" y="122425"/>
                  <a:pt x="3468320" y="160345"/>
                </a:cubicBezTo>
                <a:cubicBezTo>
                  <a:pt x="3612960" y="200505"/>
                  <a:pt x="3812480" y="290585"/>
                  <a:pt x="3866080" y="328025"/>
                </a:cubicBezTo>
                <a:cubicBezTo>
                  <a:pt x="3887040" y="342745"/>
                  <a:pt x="3916160" y="367705"/>
                  <a:pt x="3944160" y="392985"/>
                </a:cubicBezTo>
                <a:cubicBezTo>
                  <a:pt x="3932640" y="384345"/>
                  <a:pt x="3921120" y="375705"/>
                  <a:pt x="3909600" y="367065"/>
                </a:cubicBezTo>
                <a:cubicBezTo>
                  <a:pt x="3815360" y="296665"/>
                  <a:pt x="3555040" y="208345"/>
                  <a:pt x="3451520" y="194905"/>
                </a:cubicBezTo>
                <a:cubicBezTo>
                  <a:pt x="3410560" y="189625"/>
                  <a:pt x="3338240" y="186745"/>
                  <a:pt x="3258560" y="186745"/>
                </a:cubicBezTo>
                <a:cubicBezTo>
                  <a:pt x="3137440" y="186745"/>
                  <a:pt x="2999520" y="193465"/>
                  <a:pt x="2929600" y="208825"/>
                </a:cubicBezTo>
                <a:cubicBezTo>
                  <a:pt x="2817280" y="233625"/>
                  <a:pt x="2608800" y="331865"/>
                  <a:pt x="2600000" y="336025"/>
                </a:cubicBezTo>
                <a:cubicBezTo>
                  <a:pt x="2597600" y="336985"/>
                  <a:pt x="2324320" y="450105"/>
                  <a:pt x="2144800" y="559225"/>
                </a:cubicBezTo>
                <a:cubicBezTo>
                  <a:pt x="1928960" y="690425"/>
                  <a:pt x="1797120" y="1040985"/>
                  <a:pt x="1782720" y="1080505"/>
                </a:cubicBezTo>
                <a:cubicBezTo>
                  <a:pt x="1737760" y="1204665"/>
                  <a:pt x="1628320" y="1335545"/>
                  <a:pt x="1566720" y="1382265"/>
                </a:cubicBezTo>
                <a:cubicBezTo>
                  <a:pt x="1540000" y="1402425"/>
                  <a:pt x="1472320" y="1448665"/>
                  <a:pt x="1400800" y="1497625"/>
                </a:cubicBezTo>
                <a:cubicBezTo>
                  <a:pt x="1318720" y="1553785"/>
                  <a:pt x="1233760" y="1611865"/>
                  <a:pt x="1207840" y="1632665"/>
                </a:cubicBezTo>
                <a:cubicBezTo>
                  <a:pt x="1160320" y="1670905"/>
                  <a:pt x="1044960" y="1739225"/>
                  <a:pt x="991200" y="1760825"/>
                </a:cubicBezTo>
                <a:cubicBezTo>
                  <a:pt x="991040" y="1760825"/>
                  <a:pt x="991040" y="1760985"/>
                  <a:pt x="990880" y="1760985"/>
                </a:cubicBezTo>
                <a:cubicBezTo>
                  <a:pt x="990720" y="1760985"/>
                  <a:pt x="990720" y="1760985"/>
                  <a:pt x="990720" y="1760985"/>
                </a:cubicBezTo>
                <a:cubicBezTo>
                  <a:pt x="990240" y="1761145"/>
                  <a:pt x="966560" y="1772345"/>
                  <a:pt x="933760" y="1790905"/>
                </a:cubicBezTo>
                <a:cubicBezTo>
                  <a:pt x="932320" y="1789465"/>
                  <a:pt x="930400" y="1788665"/>
                  <a:pt x="928320" y="1788665"/>
                </a:cubicBezTo>
                <a:cubicBezTo>
                  <a:pt x="928000" y="1788665"/>
                  <a:pt x="927520" y="1788825"/>
                  <a:pt x="927040" y="1788825"/>
                </a:cubicBezTo>
                <a:cubicBezTo>
                  <a:pt x="907520" y="1792185"/>
                  <a:pt x="889600" y="1797305"/>
                  <a:pt x="872480" y="1803225"/>
                </a:cubicBezTo>
                <a:cubicBezTo>
                  <a:pt x="870880" y="1801305"/>
                  <a:pt x="868800" y="1800185"/>
                  <a:pt x="866400" y="1800185"/>
                </a:cubicBezTo>
                <a:cubicBezTo>
                  <a:pt x="865920" y="1800185"/>
                  <a:pt x="865440" y="1800345"/>
                  <a:pt x="864960" y="1800345"/>
                </a:cubicBezTo>
                <a:cubicBezTo>
                  <a:pt x="847680" y="1803705"/>
                  <a:pt x="829760" y="1808665"/>
                  <a:pt x="811200" y="1815225"/>
                </a:cubicBezTo>
                <a:cubicBezTo>
                  <a:pt x="809760" y="1812985"/>
                  <a:pt x="807360" y="1811545"/>
                  <a:pt x="804640" y="1811545"/>
                </a:cubicBezTo>
                <a:cubicBezTo>
                  <a:pt x="804320" y="1811545"/>
                  <a:pt x="804160" y="1811545"/>
                  <a:pt x="803840" y="1811545"/>
                </a:cubicBezTo>
                <a:cubicBezTo>
                  <a:pt x="793120" y="1812505"/>
                  <a:pt x="781920" y="1814905"/>
                  <a:pt x="770560" y="1817785"/>
                </a:cubicBezTo>
                <a:close/>
                <a:moveTo>
                  <a:pt x="6449280" y="1822105"/>
                </a:moveTo>
                <a:cubicBezTo>
                  <a:pt x="6389120" y="1796345"/>
                  <a:pt x="6355200" y="1727225"/>
                  <a:pt x="6332320" y="1680665"/>
                </a:cubicBezTo>
                <a:cubicBezTo>
                  <a:pt x="6325600" y="1667065"/>
                  <a:pt x="6319840" y="1655225"/>
                  <a:pt x="6314400" y="1646425"/>
                </a:cubicBezTo>
                <a:cubicBezTo>
                  <a:pt x="6290560" y="1608025"/>
                  <a:pt x="6175040" y="1474905"/>
                  <a:pt x="6033440" y="1408825"/>
                </a:cubicBezTo>
                <a:cubicBezTo>
                  <a:pt x="5894080" y="1343705"/>
                  <a:pt x="5682881" y="1296345"/>
                  <a:pt x="5567040" y="1289625"/>
                </a:cubicBezTo>
                <a:cubicBezTo>
                  <a:pt x="5484801" y="1284825"/>
                  <a:pt x="5322400" y="1286745"/>
                  <a:pt x="5192000" y="1288345"/>
                </a:cubicBezTo>
                <a:cubicBezTo>
                  <a:pt x="5136640" y="1288985"/>
                  <a:pt x="5086720" y="1289625"/>
                  <a:pt x="5050400" y="1289625"/>
                </a:cubicBezTo>
                <a:cubicBezTo>
                  <a:pt x="4948320" y="1289625"/>
                  <a:pt x="4740001" y="1268825"/>
                  <a:pt x="4677921" y="1262425"/>
                </a:cubicBezTo>
                <a:cubicBezTo>
                  <a:pt x="4674720" y="1258745"/>
                  <a:pt x="4671201" y="1254905"/>
                  <a:pt x="4667520" y="1250585"/>
                </a:cubicBezTo>
                <a:cubicBezTo>
                  <a:pt x="4727040" y="1254745"/>
                  <a:pt x="4853440" y="1263065"/>
                  <a:pt x="4925440" y="1263065"/>
                </a:cubicBezTo>
                <a:cubicBezTo>
                  <a:pt x="4975520" y="1263065"/>
                  <a:pt x="5027040" y="1254425"/>
                  <a:pt x="5081600" y="1245305"/>
                </a:cubicBezTo>
                <a:cubicBezTo>
                  <a:pt x="5132480" y="1236825"/>
                  <a:pt x="5185280" y="1227865"/>
                  <a:pt x="5238721" y="1226105"/>
                </a:cubicBezTo>
                <a:cubicBezTo>
                  <a:pt x="5252800" y="1225625"/>
                  <a:pt x="5268960" y="1224825"/>
                  <a:pt x="5287040" y="1224025"/>
                </a:cubicBezTo>
                <a:cubicBezTo>
                  <a:pt x="5410881" y="1218105"/>
                  <a:pt x="5618080" y="1208345"/>
                  <a:pt x="5797600" y="1262905"/>
                </a:cubicBezTo>
                <a:cubicBezTo>
                  <a:pt x="5996000" y="1323225"/>
                  <a:pt x="6160320" y="1410265"/>
                  <a:pt x="6226400" y="1490105"/>
                </a:cubicBezTo>
                <a:cubicBezTo>
                  <a:pt x="6239200" y="1505625"/>
                  <a:pt x="6250400" y="1518905"/>
                  <a:pt x="6260160" y="1530585"/>
                </a:cubicBezTo>
                <a:cubicBezTo>
                  <a:pt x="6299360" y="1577305"/>
                  <a:pt x="6315680" y="1596665"/>
                  <a:pt x="6326240" y="1624985"/>
                </a:cubicBezTo>
                <a:cubicBezTo>
                  <a:pt x="6341440" y="1666105"/>
                  <a:pt x="6395200" y="1799865"/>
                  <a:pt x="6449440" y="1818265"/>
                </a:cubicBezTo>
                <a:cubicBezTo>
                  <a:pt x="6449440" y="1819545"/>
                  <a:pt x="6449280" y="1820825"/>
                  <a:pt x="6449280" y="1822105"/>
                </a:cubicBezTo>
                <a:close/>
                <a:moveTo>
                  <a:pt x="7041120" y="1841305"/>
                </a:moveTo>
                <a:cubicBezTo>
                  <a:pt x="7110400" y="1800345"/>
                  <a:pt x="7208160" y="1731225"/>
                  <a:pt x="7281280" y="1633145"/>
                </a:cubicBezTo>
                <a:cubicBezTo>
                  <a:pt x="7322240" y="1578105"/>
                  <a:pt x="7356000" y="1531065"/>
                  <a:pt x="7383040" y="1493305"/>
                </a:cubicBezTo>
                <a:cubicBezTo>
                  <a:pt x="7437600" y="1417305"/>
                  <a:pt x="7470400" y="1371385"/>
                  <a:pt x="7493440" y="1357145"/>
                </a:cubicBezTo>
                <a:cubicBezTo>
                  <a:pt x="7508160" y="1348025"/>
                  <a:pt x="7558881" y="1318105"/>
                  <a:pt x="7616160" y="1284985"/>
                </a:cubicBezTo>
                <a:cubicBezTo>
                  <a:pt x="7609440" y="1290265"/>
                  <a:pt x="7602560" y="1295705"/>
                  <a:pt x="7596000" y="1301465"/>
                </a:cubicBezTo>
                <a:cubicBezTo>
                  <a:pt x="7568960" y="1324825"/>
                  <a:pt x="7544000" y="1359545"/>
                  <a:pt x="7509600" y="1407705"/>
                </a:cubicBezTo>
                <a:cubicBezTo>
                  <a:pt x="7479040" y="1450425"/>
                  <a:pt x="7440960" y="1503705"/>
                  <a:pt x="7386400" y="1570265"/>
                </a:cubicBezTo>
                <a:cubicBezTo>
                  <a:pt x="7272000" y="1709945"/>
                  <a:pt x="7082881" y="1817945"/>
                  <a:pt x="7080960" y="1819065"/>
                </a:cubicBezTo>
                <a:cubicBezTo>
                  <a:pt x="7077760" y="1820825"/>
                  <a:pt x="7076480" y="1824505"/>
                  <a:pt x="7077280" y="1828025"/>
                </a:cubicBezTo>
                <a:cubicBezTo>
                  <a:pt x="7066720" y="1831865"/>
                  <a:pt x="7055520" y="1836185"/>
                  <a:pt x="7043840" y="1840345"/>
                </a:cubicBezTo>
                <a:cubicBezTo>
                  <a:pt x="7042881" y="1840665"/>
                  <a:pt x="7042080" y="1840985"/>
                  <a:pt x="7041120" y="1841305"/>
                </a:cubicBezTo>
                <a:close/>
                <a:moveTo>
                  <a:pt x="6417280" y="1862745"/>
                </a:moveTo>
                <a:cubicBezTo>
                  <a:pt x="6351040" y="1828505"/>
                  <a:pt x="6291040" y="1765785"/>
                  <a:pt x="6257600" y="1730905"/>
                </a:cubicBezTo>
                <a:cubicBezTo>
                  <a:pt x="6251040" y="1724185"/>
                  <a:pt x="6245600" y="1718265"/>
                  <a:pt x="6241120" y="1713945"/>
                </a:cubicBezTo>
                <a:cubicBezTo>
                  <a:pt x="6204960" y="1678105"/>
                  <a:pt x="6118080" y="1612665"/>
                  <a:pt x="6056160" y="1578585"/>
                </a:cubicBezTo>
                <a:cubicBezTo>
                  <a:pt x="5994400" y="1544665"/>
                  <a:pt x="5796161" y="1472825"/>
                  <a:pt x="5740320" y="1461625"/>
                </a:cubicBezTo>
                <a:cubicBezTo>
                  <a:pt x="5683361" y="1450265"/>
                  <a:pt x="5434240" y="1423545"/>
                  <a:pt x="5342240" y="1419065"/>
                </a:cubicBezTo>
                <a:cubicBezTo>
                  <a:pt x="5277920" y="1416025"/>
                  <a:pt x="5209280" y="1398265"/>
                  <a:pt x="5129760" y="1377785"/>
                </a:cubicBezTo>
                <a:cubicBezTo>
                  <a:pt x="5097280" y="1369465"/>
                  <a:pt x="5063520" y="1360825"/>
                  <a:pt x="5027360" y="1352345"/>
                </a:cubicBezTo>
                <a:cubicBezTo>
                  <a:pt x="4918400" y="1326905"/>
                  <a:pt x="4783040" y="1321945"/>
                  <a:pt x="4750081" y="1320985"/>
                </a:cubicBezTo>
                <a:cubicBezTo>
                  <a:pt x="4746881" y="1318905"/>
                  <a:pt x="4743520" y="1316825"/>
                  <a:pt x="4740480" y="1314585"/>
                </a:cubicBezTo>
                <a:cubicBezTo>
                  <a:pt x="4796640" y="1315225"/>
                  <a:pt x="4918560" y="1318585"/>
                  <a:pt x="5024321" y="1336665"/>
                </a:cubicBezTo>
                <a:cubicBezTo>
                  <a:pt x="5173440" y="1361945"/>
                  <a:pt x="5246240" y="1365625"/>
                  <a:pt x="5328320" y="1363545"/>
                </a:cubicBezTo>
                <a:cubicBezTo>
                  <a:pt x="5416640" y="1361465"/>
                  <a:pt x="5656480" y="1379865"/>
                  <a:pt x="5800320" y="1423545"/>
                </a:cubicBezTo>
                <a:cubicBezTo>
                  <a:pt x="5948960" y="1468665"/>
                  <a:pt x="6062400" y="1522585"/>
                  <a:pt x="6104320" y="1543705"/>
                </a:cubicBezTo>
                <a:cubicBezTo>
                  <a:pt x="6146240" y="1564825"/>
                  <a:pt x="6211520" y="1629465"/>
                  <a:pt x="6254400" y="1682425"/>
                </a:cubicBezTo>
                <a:cubicBezTo>
                  <a:pt x="6262560" y="1692505"/>
                  <a:pt x="6271520" y="1705305"/>
                  <a:pt x="6281920" y="1720345"/>
                </a:cubicBezTo>
                <a:cubicBezTo>
                  <a:pt x="6315040" y="1767865"/>
                  <a:pt x="6357760" y="1829145"/>
                  <a:pt x="6417280" y="1862745"/>
                </a:cubicBezTo>
                <a:close/>
                <a:moveTo>
                  <a:pt x="6457440" y="1863225"/>
                </a:moveTo>
                <a:cubicBezTo>
                  <a:pt x="6384160" y="1838905"/>
                  <a:pt x="6333120" y="1765785"/>
                  <a:pt x="6295200" y="1711225"/>
                </a:cubicBezTo>
                <a:cubicBezTo>
                  <a:pt x="6284640" y="1696025"/>
                  <a:pt x="6275360" y="1682905"/>
                  <a:pt x="6266881" y="1672345"/>
                </a:cubicBezTo>
                <a:cubicBezTo>
                  <a:pt x="6224320" y="1619705"/>
                  <a:pt x="6157440" y="1552505"/>
                  <a:pt x="6111680" y="1529465"/>
                </a:cubicBezTo>
                <a:cubicBezTo>
                  <a:pt x="6069440" y="1508185"/>
                  <a:pt x="5955040" y="1453945"/>
                  <a:pt x="5805120" y="1408345"/>
                </a:cubicBezTo>
                <a:cubicBezTo>
                  <a:pt x="5659520" y="1364185"/>
                  <a:pt x="5417121" y="1345465"/>
                  <a:pt x="5328001" y="1347705"/>
                </a:cubicBezTo>
                <a:cubicBezTo>
                  <a:pt x="5246881" y="1349785"/>
                  <a:pt x="5174881" y="1346105"/>
                  <a:pt x="5027040" y="1320985"/>
                </a:cubicBezTo>
                <a:cubicBezTo>
                  <a:pt x="4904000" y="1300025"/>
                  <a:pt x="4759201" y="1298425"/>
                  <a:pt x="4719681" y="1298425"/>
                </a:cubicBezTo>
                <a:cubicBezTo>
                  <a:pt x="4718720" y="1298425"/>
                  <a:pt x="4717760" y="1298425"/>
                  <a:pt x="4716960" y="1298425"/>
                </a:cubicBezTo>
                <a:cubicBezTo>
                  <a:pt x="4706081" y="1290585"/>
                  <a:pt x="4698241" y="1284665"/>
                  <a:pt x="4696800" y="1283545"/>
                </a:cubicBezTo>
                <a:cubicBezTo>
                  <a:pt x="4696480" y="1283225"/>
                  <a:pt x="4695520" y="1282105"/>
                  <a:pt x="4693920" y="1280185"/>
                </a:cubicBezTo>
                <a:cubicBezTo>
                  <a:pt x="4771360" y="1288025"/>
                  <a:pt x="4956000" y="1305625"/>
                  <a:pt x="5050720" y="1305625"/>
                </a:cubicBezTo>
                <a:cubicBezTo>
                  <a:pt x="5086881" y="1305625"/>
                  <a:pt x="5136960" y="1304985"/>
                  <a:pt x="5192481" y="1304345"/>
                </a:cubicBezTo>
                <a:cubicBezTo>
                  <a:pt x="5322720" y="1302905"/>
                  <a:pt x="5484801" y="1300985"/>
                  <a:pt x="5566400" y="1305625"/>
                </a:cubicBezTo>
                <a:cubicBezTo>
                  <a:pt x="5680640" y="1312185"/>
                  <a:pt x="5889280" y="1359065"/>
                  <a:pt x="6026881" y="1423385"/>
                </a:cubicBezTo>
                <a:cubicBezTo>
                  <a:pt x="6165280" y="1487865"/>
                  <a:pt x="6277760" y="1617465"/>
                  <a:pt x="6300960" y="1654905"/>
                </a:cubicBezTo>
                <a:cubicBezTo>
                  <a:pt x="6305920" y="1662905"/>
                  <a:pt x="6311520" y="1674425"/>
                  <a:pt x="6318080" y="1687705"/>
                </a:cubicBezTo>
                <a:cubicBezTo>
                  <a:pt x="6342881" y="1738425"/>
                  <a:pt x="6380160" y="1814265"/>
                  <a:pt x="6450881" y="1839865"/>
                </a:cubicBezTo>
                <a:cubicBezTo>
                  <a:pt x="6452160" y="1848025"/>
                  <a:pt x="6454080" y="1855865"/>
                  <a:pt x="6457440" y="1863225"/>
                </a:cubicBezTo>
                <a:close/>
                <a:moveTo>
                  <a:pt x="6477440" y="1868025"/>
                </a:moveTo>
                <a:cubicBezTo>
                  <a:pt x="6471040" y="1857465"/>
                  <a:pt x="6467200" y="1845785"/>
                  <a:pt x="6465920" y="1832665"/>
                </a:cubicBezTo>
                <a:cubicBezTo>
                  <a:pt x="6464320" y="1817785"/>
                  <a:pt x="6466240" y="1802105"/>
                  <a:pt x="6470400" y="1786905"/>
                </a:cubicBezTo>
                <a:cubicBezTo>
                  <a:pt x="6517440" y="1789305"/>
                  <a:pt x="6680640" y="1790425"/>
                  <a:pt x="6808960" y="1702745"/>
                </a:cubicBezTo>
                <a:cubicBezTo>
                  <a:pt x="6944320" y="1610105"/>
                  <a:pt x="7081600" y="1517945"/>
                  <a:pt x="7144160" y="1495065"/>
                </a:cubicBezTo>
                <a:cubicBezTo>
                  <a:pt x="7208480" y="1471545"/>
                  <a:pt x="7347200" y="1376825"/>
                  <a:pt x="7411360" y="1318585"/>
                </a:cubicBezTo>
                <a:lnTo>
                  <a:pt x="7419360" y="1311225"/>
                </a:lnTo>
                <a:cubicBezTo>
                  <a:pt x="7487520" y="1249305"/>
                  <a:pt x="7629440" y="1120665"/>
                  <a:pt x="7748320" y="1080185"/>
                </a:cubicBezTo>
                <a:cubicBezTo>
                  <a:pt x="7872640" y="1037945"/>
                  <a:pt x="8158560" y="892825"/>
                  <a:pt x="8161440" y="891385"/>
                </a:cubicBezTo>
                <a:cubicBezTo>
                  <a:pt x="8163840" y="889945"/>
                  <a:pt x="8352160" y="776185"/>
                  <a:pt x="8426560" y="729625"/>
                </a:cubicBezTo>
                <a:lnTo>
                  <a:pt x="8438880" y="721785"/>
                </a:lnTo>
                <a:cubicBezTo>
                  <a:pt x="8513760" y="674745"/>
                  <a:pt x="8626560" y="603545"/>
                  <a:pt x="8791040" y="580505"/>
                </a:cubicBezTo>
                <a:cubicBezTo>
                  <a:pt x="8964320" y="556185"/>
                  <a:pt x="9222560" y="533625"/>
                  <a:pt x="9225121" y="533465"/>
                </a:cubicBezTo>
                <a:cubicBezTo>
                  <a:pt x="9227360" y="533305"/>
                  <a:pt x="9456800" y="516985"/>
                  <a:pt x="9591040" y="528025"/>
                </a:cubicBezTo>
                <a:cubicBezTo>
                  <a:pt x="9592640" y="528025"/>
                  <a:pt x="9593920" y="527705"/>
                  <a:pt x="9595200" y="527065"/>
                </a:cubicBezTo>
                <a:cubicBezTo>
                  <a:pt x="9603680" y="530905"/>
                  <a:pt x="9612000" y="534745"/>
                  <a:pt x="9620960" y="538905"/>
                </a:cubicBezTo>
                <a:cubicBezTo>
                  <a:pt x="9647360" y="551065"/>
                  <a:pt x="9671040" y="563385"/>
                  <a:pt x="9691680" y="575705"/>
                </a:cubicBezTo>
                <a:cubicBezTo>
                  <a:pt x="9640320" y="559225"/>
                  <a:pt x="9577121" y="550905"/>
                  <a:pt x="9502080" y="550905"/>
                </a:cubicBezTo>
                <a:cubicBezTo>
                  <a:pt x="9451520" y="550905"/>
                  <a:pt x="9395840" y="554745"/>
                  <a:pt x="9334880" y="562265"/>
                </a:cubicBezTo>
                <a:cubicBezTo>
                  <a:pt x="9319360" y="564185"/>
                  <a:pt x="9298720" y="566905"/>
                  <a:pt x="9274560" y="569945"/>
                </a:cubicBezTo>
                <a:cubicBezTo>
                  <a:pt x="9184960" y="581465"/>
                  <a:pt x="9049600" y="598745"/>
                  <a:pt x="8942400" y="609305"/>
                </a:cubicBezTo>
                <a:cubicBezTo>
                  <a:pt x="8798080" y="623545"/>
                  <a:pt x="8669920" y="670905"/>
                  <a:pt x="8636320" y="686265"/>
                </a:cubicBezTo>
                <a:cubicBezTo>
                  <a:pt x="8597121" y="704185"/>
                  <a:pt x="8433280" y="810105"/>
                  <a:pt x="8426400" y="814585"/>
                </a:cubicBezTo>
                <a:cubicBezTo>
                  <a:pt x="8424640" y="815385"/>
                  <a:pt x="8154080" y="946585"/>
                  <a:pt x="8112960" y="964185"/>
                </a:cubicBezTo>
                <a:cubicBezTo>
                  <a:pt x="8085280" y="976025"/>
                  <a:pt x="7974080" y="1013625"/>
                  <a:pt x="7876000" y="1046745"/>
                </a:cubicBezTo>
                <a:cubicBezTo>
                  <a:pt x="7828320" y="1062745"/>
                  <a:pt x="7784640" y="1077625"/>
                  <a:pt x="7756960" y="1087225"/>
                </a:cubicBezTo>
                <a:cubicBezTo>
                  <a:pt x="7688320" y="1111225"/>
                  <a:pt x="7580480" y="1197945"/>
                  <a:pt x="7522560" y="1244505"/>
                </a:cubicBezTo>
                <a:cubicBezTo>
                  <a:pt x="7509280" y="1255225"/>
                  <a:pt x="7499040" y="1263385"/>
                  <a:pt x="7493120" y="1267705"/>
                </a:cubicBezTo>
                <a:cubicBezTo>
                  <a:pt x="7484640" y="1273945"/>
                  <a:pt x="7470720" y="1286745"/>
                  <a:pt x="7453120" y="1302745"/>
                </a:cubicBezTo>
                <a:cubicBezTo>
                  <a:pt x="7406881" y="1345145"/>
                  <a:pt x="7336640" y="1409145"/>
                  <a:pt x="7289600" y="1423385"/>
                </a:cubicBezTo>
                <a:cubicBezTo>
                  <a:pt x="7221920" y="1443865"/>
                  <a:pt x="7064960" y="1582905"/>
                  <a:pt x="7058240" y="1588825"/>
                </a:cubicBezTo>
                <a:cubicBezTo>
                  <a:pt x="7056320" y="1590905"/>
                  <a:pt x="6926240" y="1732665"/>
                  <a:pt x="6795520" y="1796185"/>
                </a:cubicBezTo>
                <a:cubicBezTo>
                  <a:pt x="6674400" y="1855065"/>
                  <a:pt x="6503520" y="1866585"/>
                  <a:pt x="6477440" y="1868025"/>
                </a:cubicBezTo>
                <a:close/>
                <a:moveTo>
                  <a:pt x="460160" y="1881305"/>
                </a:moveTo>
                <a:cubicBezTo>
                  <a:pt x="528320" y="1857625"/>
                  <a:pt x="598880" y="1817305"/>
                  <a:pt x="653280" y="1786105"/>
                </a:cubicBezTo>
                <a:cubicBezTo>
                  <a:pt x="678560" y="1771545"/>
                  <a:pt x="700640" y="1758905"/>
                  <a:pt x="715520" y="1752025"/>
                </a:cubicBezTo>
                <a:cubicBezTo>
                  <a:pt x="730880" y="1744985"/>
                  <a:pt x="752960" y="1731385"/>
                  <a:pt x="780800" y="1714265"/>
                </a:cubicBezTo>
                <a:cubicBezTo>
                  <a:pt x="850400" y="1671545"/>
                  <a:pt x="955680" y="1606745"/>
                  <a:pt x="1059840" y="1582425"/>
                </a:cubicBezTo>
                <a:cubicBezTo>
                  <a:pt x="1213280" y="1546585"/>
                  <a:pt x="1374080" y="1377145"/>
                  <a:pt x="1399520" y="1327545"/>
                </a:cubicBezTo>
                <a:cubicBezTo>
                  <a:pt x="1417280" y="1292825"/>
                  <a:pt x="1472000" y="1176665"/>
                  <a:pt x="1520160" y="1074105"/>
                </a:cubicBezTo>
                <a:cubicBezTo>
                  <a:pt x="1544800" y="1021625"/>
                  <a:pt x="1567040" y="974265"/>
                  <a:pt x="1580320" y="946585"/>
                </a:cubicBezTo>
                <a:cubicBezTo>
                  <a:pt x="1646880" y="807545"/>
                  <a:pt x="1832320" y="468665"/>
                  <a:pt x="2118720" y="325145"/>
                </a:cubicBezTo>
                <a:cubicBezTo>
                  <a:pt x="2153760" y="307705"/>
                  <a:pt x="2186240" y="291225"/>
                  <a:pt x="2216800" y="275865"/>
                </a:cubicBezTo>
                <a:cubicBezTo>
                  <a:pt x="2463840" y="151225"/>
                  <a:pt x="2576640" y="94265"/>
                  <a:pt x="2742720" y="75225"/>
                </a:cubicBezTo>
                <a:cubicBezTo>
                  <a:pt x="2826080" y="65625"/>
                  <a:pt x="3254720" y="23225"/>
                  <a:pt x="3507520" y="130425"/>
                </a:cubicBezTo>
                <a:cubicBezTo>
                  <a:pt x="3624640" y="180025"/>
                  <a:pt x="3705440" y="222745"/>
                  <a:pt x="3755200" y="251545"/>
                </a:cubicBezTo>
                <a:cubicBezTo>
                  <a:pt x="3670720" y="212825"/>
                  <a:pt x="3561440" y="169465"/>
                  <a:pt x="3472640" y="144825"/>
                </a:cubicBezTo>
                <a:cubicBezTo>
                  <a:pt x="3382400" y="119865"/>
                  <a:pt x="3247840" y="110745"/>
                  <a:pt x="3123680" y="110745"/>
                </a:cubicBezTo>
                <a:cubicBezTo>
                  <a:pt x="3037280" y="110745"/>
                  <a:pt x="2955840" y="115225"/>
                  <a:pt x="2897920" y="121625"/>
                </a:cubicBezTo>
                <a:cubicBezTo>
                  <a:pt x="2766880" y="136185"/>
                  <a:pt x="2617920" y="208985"/>
                  <a:pt x="2537920" y="248025"/>
                </a:cubicBezTo>
                <a:cubicBezTo>
                  <a:pt x="2522560" y="255545"/>
                  <a:pt x="2509600" y="261945"/>
                  <a:pt x="2500000" y="266265"/>
                </a:cubicBezTo>
                <a:cubicBezTo>
                  <a:pt x="2441280" y="292825"/>
                  <a:pt x="2254400" y="370905"/>
                  <a:pt x="2252480" y="371705"/>
                </a:cubicBezTo>
                <a:cubicBezTo>
                  <a:pt x="1988480" y="464665"/>
                  <a:pt x="1826560" y="728025"/>
                  <a:pt x="1773280" y="814585"/>
                </a:cubicBezTo>
                <a:cubicBezTo>
                  <a:pt x="1769120" y="821465"/>
                  <a:pt x="1765600" y="827225"/>
                  <a:pt x="1762880" y="831385"/>
                </a:cubicBezTo>
                <a:cubicBezTo>
                  <a:pt x="1727840" y="885945"/>
                  <a:pt x="1640640" y="1077465"/>
                  <a:pt x="1588480" y="1192025"/>
                </a:cubicBezTo>
                <a:lnTo>
                  <a:pt x="1583680" y="1202745"/>
                </a:lnTo>
                <a:cubicBezTo>
                  <a:pt x="1532480" y="1315225"/>
                  <a:pt x="1471040" y="1395705"/>
                  <a:pt x="1410720" y="1429305"/>
                </a:cubicBezTo>
                <a:cubicBezTo>
                  <a:pt x="1351360" y="1462265"/>
                  <a:pt x="1127840" y="1584345"/>
                  <a:pt x="1065760" y="1613145"/>
                </a:cubicBezTo>
                <a:cubicBezTo>
                  <a:pt x="1028960" y="1630265"/>
                  <a:pt x="972800" y="1670905"/>
                  <a:pt x="918560" y="1710265"/>
                </a:cubicBezTo>
                <a:cubicBezTo>
                  <a:pt x="880000" y="1738105"/>
                  <a:pt x="843680" y="1764505"/>
                  <a:pt x="817120" y="1780345"/>
                </a:cubicBezTo>
                <a:cubicBezTo>
                  <a:pt x="765120" y="1811385"/>
                  <a:pt x="614400" y="1846105"/>
                  <a:pt x="504320" y="1871065"/>
                </a:cubicBezTo>
                <a:cubicBezTo>
                  <a:pt x="488800" y="1874585"/>
                  <a:pt x="474080" y="1878105"/>
                  <a:pt x="460160" y="1881305"/>
                </a:cubicBezTo>
                <a:close/>
                <a:moveTo>
                  <a:pt x="6860960" y="1899705"/>
                </a:moveTo>
                <a:cubicBezTo>
                  <a:pt x="6933120" y="1858745"/>
                  <a:pt x="7059680" y="1785305"/>
                  <a:pt x="7112800" y="1742425"/>
                </a:cubicBezTo>
                <a:cubicBezTo>
                  <a:pt x="7168320" y="1697785"/>
                  <a:pt x="7214400" y="1624825"/>
                  <a:pt x="7242080" y="1581305"/>
                </a:cubicBezTo>
                <a:cubicBezTo>
                  <a:pt x="7252000" y="1565625"/>
                  <a:pt x="7259840" y="1553305"/>
                  <a:pt x="7264000" y="1548825"/>
                </a:cubicBezTo>
                <a:cubicBezTo>
                  <a:pt x="7266240" y="1546425"/>
                  <a:pt x="7270240" y="1542105"/>
                  <a:pt x="7275520" y="1536185"/>
                </a:cubicBezTo>
                <a:cubicBezTo>
                  <a:pt x="7305760" y="1502585"/>
                  <a:pt x="7398240" y="1400345"/>
                  <a:pt x="7425440" y="1389305"/>
                </a:cubicBezTo>
                <a:cubicBezTo>
                  <a:pt x="7431040" y="1387065"/>
                  <a:pt x="7440000" y="1382425"/>
                  <a:pt x="7450720" y="1376185"/>
                </a:cubicBezTo>
                <a:cubicBezTo>
                  <a:pt x="7430400" y="1400185"/>
                  <a:pt x="7404960" y="1435385"/>
                  <a:pt x="7370080" y="1484185"/>
                </a:cubicBezTo>
                <a:cubicBezTo>
                  <a:pt x="7343040" y="1521785"/>
                  <a:pt x="7309440" y="1568825"/>
                  <a:pt x="7268480" y="1623705"/>
                </a:cubicBezTo>
                <a:cubicBezTo>
                  <a:pt x="7149600" y="1783225"/>
                  <a:pt x="6963520" y="1864985"/>
                  <a:pt x="6950560" y="1870585"/>
                </a:cubicBezTo>
                <a:cubicBezTo>
                  <a:pt x="6921120" y="1875545"/>
                  <a:pt x="6883680" y="1890105"/>
                  <a:pt x="6860960" y="1899705"/>
                </a:cubicBezTo>
                <a:close/>
                <a:moveTo>
                  <a:pt x="6487680" y="1903865"/>
                </a:moveTo>
                <a:lnTo>
                  <a:pt x="6450625" y="1894215"/>
                </a:lnTo>
                <a:lnTo>
                  <a:pt x="6449382" y="1893942"/>
                </a:lnTo>
                <a:lnTo>
                  <a:pt x="6449053" y="1893806"/>
                </a:lnTo>
                <a:lnTo>
                  <a:pt x="6409113" y="1883405"/>
                </a:lnTo>
                <a:cubicBezTo>
                  <a:pt x="6329381" y="1856165"/>
                  <a:pt x="6251560" y="1812905"/>
                  <a:pt x="6224320" y="1792505"/>
                </a:cubicBezTo>
                <a:cubicBezTo>
                  <a:pt x="6206240" y="1779065"/>
                  <a:pt x="6175520" y="1753945"/>
                  <a:pt x="6142881" y="1727385"/>
                </a:cubicBezTo>
                <a:cubicBezTo>
                  <a:pt x="6096960" y="1689945"/>
                  <a:pt x="6044800" y="1647545"/>
                  <a:pt x="6010400" y="1622745"/>
                </a:cubicBezTo>
                <a:cubicBezTo>
                  <a:pt x="5948640" y="1578265"/>
                  <a:pt x="5796000" y="1542905"/>
                  <a:pt x="5715680" y="1528985"/>
                </a:cubicBezTo>
                <a:cubicBezTo>
                  <a:pt x="5618400" y="1512185"/>
                  <a:pt x="5442080" y="1486265"/>
                  <a:pt x="5354881" y="1483865"/>
                </a:cubicBezTo>
                <a:cubicBezTo>
                  <a:pt x="5267520" y="1481465"/>
                  <a:pt x="5117440" y="1415225"/>
                  <a:pt x="5116000" y="1414585"/>
                </a:cubicBezTo>
                <a:cubicBezTo>
                  <a:pt x="5110081" y="1412505"/>
                  <a:pt x="4986560" y="1371545"/>
                  <a:pt x="4936480" y="1368985"/>
                </a:cubicBezTo>
                <a:cubicBezTo>
                  <a:pt x="4888000" y="1366585"/>
                  <a:pt x="4820161" y="1351705"/>
                  <a:pt x="4789760" y="1341945"/>
                </a:cubicBezTo>
                <a:cubicBezTo>
                  <a:pt x="4787040" y="1340985"/>
                  <a:pt x="4784001" y="1339705"/>
                  <a:pt x="4780800" y="1338265"/>
                </a:cubicBezTo>
                <a:cubicBezTo>
                  <a:pt x="4835360" y="1340825"/>
                  <a:pt x="4937920" y="1348025"/>
                  <a:pt x="5023680" y="1368025"/>
                </a:cubicBezTo>
                <a:cubicBezTo>
                  <a:pt x="5059680" y="1376345"/>
                  <a:pt x="5093280" y="1385145"/>
                  <a:pt x="5125760" y="1393465"/>
                </a:cubicBezTo>
                <a:cubicBezTo>
                  <a:pt x="5206081" y="1414105"/>
                  <a:pt x="5275520" y="1432025"/>
                  <a:pt x="5341441" y="1435225"/>
                </a:cubicBezTo>
                <a:cubicBezTo>
                  <a:pt x="5430720" y="1439545"/>
                  <a:pt x="5682080" y="1466425"/>
                  <a:pt x="5737120" y="1477465"/>
                </a:cubicBezTo>
                <a:cubicBezTo>
                  <a:pt x="5792160" y="1488505"/>
                  <a:pt x="5987520" y="1559385"/>
                  <a:pt x="6048480" y="1592825"/>
                </a:cubicBezTo>
                <a:cubicBezTo>
                  <a:pt x="6109440" y="1626265"/>
                  <a:pt x="6194560" y="1690585"/>
                  <a:pt x="6229920" y="1725625"/>
                </a:cubicBezTo>
                <a:cubicBezTo>
                  <a:pt x="6234240" y="1729945"/>
                  <a:pt x="6239680" y="1735545"/>
                  <a:pt x="6246080" y="1742265"/>
                </a:cubicBezTo>
                <a:cubicBezTo>
                  <a:pt x="6280760" y="1778505"/>
                  <a:pt x="6343430" y="1844085"/>
                  <a:pt x="6413705" y="1879200"/>
                </a:cubicBezTo>
                <a:lnTo>
                  <a:pt x="6449053" y="1893806"/>
                </a:lnTo>
                <a:lnTo>
                  <a:pt x="6450625" y="1894215"/>
                </a:lnTo>
                <a:lnTo>
                  <a:pt x="6485760" y="1901945"/>
                </a:lnTo>
                <a:cubicBezTo>
                  <a:pt x="6486560" y="1902585"/>
                  <a:pt x="6487200" y="1903225"/>
                  <a:pt x="6487680" y="1903865"/>
                </a:cubicBezTo>
                <a:close/>
                <a:moveTo>
                  <a:pt x="6440000" y="1909785"/>
                </a:moveTo>
                <a:cubicBezTo>
                  <a:pt x="6264480" y="1874585"/>
                  <a:pt x="6107840" y="1780665"/>
                  <a:pt x="6053920" y="1740185"/>
                </a:cubicBezTo>
                <a:lnTo>
                  <a:pt x="6044640" y="1733145"/>
                </a:lnTo>
                <a:cubicBezTo>
                  <a:pt x="5995520" y="1696025"/>
                  <a:pt x="5921440" y="1640025"/>
                  <a:pt x="5815520" y="1611545"/>
                </a:cubicBezTo>
                <a:cubicBezTo>
                  <a:pt x="5709760" y="1583225"/>
                  <a:pt x="5543680" y="1570425"/>
                  <a:pt x="5444480" y="1562745"/>
                </a:cubicBezTo>
                <a:lnTo>
                  <a:pt x="5426560" y="1561305"/>
                </a:lnTo>
                <a:cubicBezTo>
                  <a:pt x="5336320" y="1554265"/>
                  <a:pt x="5220160" y="1499865"/>
                  <a:pt x="5126720" y="1456025"/>
                </a:cubicBezTo>
                <a:lnTo>
                  <a:pt x="5113120" y="1449625"/>
                </a:lnTo>
                <a:cubicBezTo>
                  <a:pt x="5022560" y="1407225"/>
                  <a:pt x="4922560" y="1393305"/>
                  <a:pt x="4910401" y="1391705"/>
                </a:cubicBezTo>
                <a:cubicBezTo>
                  <a:pt x="4907041" y="1390105"/>
                  <a:pt x="4895681" y="1385465"/>
                  <a:pt x="4872800" y="1377625"/>
                </a:cubicBezTo>
                <a:cubicBezTo>
                  <a:pt x="4894240" y="1381305"/>
                  <a:pt x="4916320" y="1384185"/>
                  <a:pt x="4935520" y="1385305"/>
                </a:cubicBezTo>
                <a:cubicBezTo>
                  <a:pt x="4983360" y="1387705"/>
                  <a:pt x="5108800" y="1429305"/>
                  <a:pt x="5110081" y="1429785"/>
                </a:cubicBezTo>
                <a:cubicBezTo>
                  <a:pt x="5115681" y="1432185"/>
                  <a:pt x="5263840" y="1497465"/>
                  <a:pt x="5354240" y="1500025"/>
                </a:cubicBezTo>
                <a:cubicBezTo>
                  <a:pt x="5440640" y="1502425"/>
                  <a:pt x="5616000" y="1528185"/>
                  <a:pt x="5712801" y="1544825"/>
                </a:cubicBezTo>
                <a:cubicBezTo>
                  <a:pt x="5791840" y="1558585"/>
                  <a:pt x="5941440" y="1592985"/>
                  <a:pt x="6000960" y="1635865"/>
                </a:cubicBezTo>
                <a:cubicBezTo>
                  <a:pt x="6035040" y="1660345"/>
                  <a:pt x="6086881" y="1702745"/>
                  <a:pt x="6132800" y="1740025"/>
                </a:cubicBezTo>
                <a:cubicBezTo>
                  <a:pt x="6165600" y="1766745"/>
                  <a:pt x="6196480" y="1791865"/>
                  <a:pt x="6214881" y="1805625"/>
                </a:cubicBezTo>
                <a:cubicBezTo>
                  <a:pt x="6246881" y="1829465"/>
                  <a:pt x="6346720" y="1884025"/>
                  <a:pt x="6440000" y="1909785"/>
                </a:cubicBezTo>
                <a:close/>
                <a:moveTo>
                  <a:pt x="6411840" y="1920185"/>
                </a:moveTo>
                <a:cubicBezTo>
                  <a:pt x="6330080" y="1908505"/>
                  <a:pt x="6244320" y="1891705"/>
                  <a:pt x="6200800" y="1878745"/>
                </a:cubicBezTo>
                <a:cubicBezTo>
                  <a:pt x="6149440" y="1863385"/>
                  <a:pt x="6079520" y="1825945"/>
                  <a:pt x="6011840" y="1789785"/>
                </a:cubicBezTo>
                <a:cubicBezTo>
                  <a:pt x="5970400" y="1767545"/>
                  <a:pt x="5927520" y="1744665"/>
                  <a:pt x="5888800" y="1726745"/>
                </a:cubicBezTo>
                <a:cubicBezTo>
                  <a:pt x="5781760" y="1677145"/>
                  <a:pt x="5612321" y="1648345"/>
                  <a:pt x="5526240" y="1643705"/>
                </a:cubicBezTo>
                <a:cubicBezTo>
                  <a:pt x="5433120" y="1638745"/>
                  <a:pt x="5375520" y="1628665"/>
                  <a:pt x="5327200" y="1609305"/>
                </a:cubicBezTo>
                <a:cubicBezTo>
                  <a:pt x="5298881" y="1597945"/>
                  <a:pt x="5233600" y="1555225"/>
                  <a:pt x="5176000" y="1517465"/>
                </a:cubicBezTo>
                <a:cubicBezTo>
                  <a:pt x="5133600" y="1489625"/>
                  <a:pt x="5096960" y="1465625"/>
                  <a:pt x="5079681" y="1457145"/>
                </a:cubicBezTo>
                <a:cubicBezTo>
                  <a:pt x="5066560" y="1450585"/>
                  <a:pt x="5043840" y="1441305"/>
                  <a:pt x="5016800" y="1430905"/>
                </a:cubicBezTo>
                <a:cubicBezTo>
                  <a:pt x="5045440" y="1439225"/>
                  <a:pt x="5076640" y="1450105"/>
                  <a:pt x="5106881" y="1464185"/>
                </a:cubicBezTo>
                <a:lnTo>
                  <a:pt x="5120480" y="1470585"/>
                </a:lnTo>
                <a:cubicBezTo>
                  <a:pt x="5215041" y="1514905"/>
                  <a:pt x="5332640" y="1570105"/>
                  <a:pt x="5425760" y="1577305"/>
                </a:cubicBezTo>
                <a:lnTo>
                  <a:pt x="5443680" y="1578745"/>
                </a:lnTo>
                <a:cubicBezTo>
                  <a:pt x="5542401" y="1586425"/>
                  <a:pt x="5707520" y="1599065"/>
                  <a:pt x="5811840" y="1627065"/>
                </a:cubicBezTo>
                <a:cubicBezTo>
                  <a:pt x="5914720" y="1654585"/>
                  <a:pt x="5987360" y="1709625"/>
                  <a:pt x="6035360" y="1745945"/>
                </a:cubicBezTo>
                <a:lnTo>
                  <a:pt x="6044640" y="1752985"/>
                </a:lnTo>
                <a:cubicBezTo>
                  <a:pt x="6096640" y="1792185"/>
                  <a:pt x="6243360" y="1880665"/>
                  <a:pt x="6411840" y="1920185"/>
                </a:cubicBezTo>
                <a:close/>
                <a:moveTo>
                  <a:pt x="6564160" y="1921625"/>
                </a:moveTo>
                <a:cubicBezTo>
                  <a:pt x="6550881" y="1918105"/>
                  <a:pt x="6537920" y="1913785"/>
                  <a:pt x="6525600" y="1908185"/>
                </a:cubicBezTo>
                <a:cubicBezTo>
                  <a:pt x="6510720" y="1901465"/>
                  <a:pt x="6498720" y="1893145"/>
                  <a:pt x="6489120" y="1883225"/>
                </a:cubicBezTo>
                <a:cubicBezTo>
                  <a:pt x="6536800" y="1879865"/>
                  <a:pt x="6690080" y="1865145"/>
                  <a:pt x="6802080" y="1810585"/>
                </a:cubicBezTo>
                <a:cubicBezTo>
                  <a:pt x="6935680" y="1745625"/>
                  <a:pt x="7067840" y="1601625"/>
                  <a:pt x="7069120" y="1600185"/>
                </a:cubicBezTo>
                <a:cubicBezTo>
                  <a:pt x="7070240" y="1599385"/>
                  <a:pt x="7229600" y="1458265"/>
                  <a:pt x="7293920" y="1438745"/>
                </a:cubicBezTo>
                <a:cubicBezTo>
                  <a:pt x="7298400" y="1437465"/>
                  <a:pt x="7303040" y="1435545"/>
                  <a:pt x="7307840" y="1433465"/>
                </a:cubicBezTo>
                <a:cubicBezTo>
                  <a:pt x="7290720" y="1447865"/>
                  <a:pt x="7272800" y="1465145"/>
                  <a:pt x="7256000" y="1481305"/>
                </a:cubicBezTo>
                <a:cubicBezTo>
                  <a:pt x="7244800" y="1492345"/>
                  <a:pt x="7234080" y="1502585"/>
                  <a:pt x="7225280" y="1510265"/>
                </a:cubicBezTo>
                <a:cubicBezTo>
                  <a:pt x="7205600" y="1527385"/>
                  <a:pt x="7182560" y="1558265"/>
                  <a:pt x="7160320" y="1588185"/>
                </a:cubicBezTo>
                <a:cubicBezTo>
                  <a:pt x="7143360" y="1610905"/>
                  <a:pt x="7127360" y="1632345"/>
                  <a:pt x="7113280" y="1647545"/>
                </a:cubicBezTo>
                <a:cubicBezTo>
                  <a:pt x="7080640" y="1682745"/>
                  <a:pt x="6979040" y="1762425"/>
                  <a:pt x="6892160" y="1816665"/>
                </a:cubicBezTo>
                <a:cubicBezTo>
                  <a:pt x="6816480" y="1864025"/>
                  <a:pt x="6607200" y="1912025"/>
                  <a:pt x="6564160" y="1921625"/>
                </a:cubicBezTo>
                <a:close/>
                <a:moveTo>
                  <a:pt x="6657083" y="1933330"/>
                </a:moveTo>
                <a:cubicBezTo>
                  <a:pt x="6639180" y="1933145"/>
                  <a:pt x="6621040" y="1932025"/>
                  <a:pt x="6603200" y="1929625"/>
                </a:cubicBezTo>
                <a:cubicBezTo>
                  <a:pt x="6679520" y="1911545"/>
                  <a:pt x="6835360" y="1871545"/>
                  <a:pt x="6900800" y="1830745"/>
                </a:cubicBezTo>
                <a:cubicBezTo>
                  <a:pt x="6988640" y="1776025"/>
                  <a:pt x="7091680" y="1694905"/>
                  <a:pt x="7125120" y="1659065"/>
                </a:cubicBezTo>
                <a:cubicBezTo>
                  <a:pt x="7139840" y="1643225"/>
                  <a:pt x="7156000" y="1621465"/>
                  <a:pt x="7173280" y="1598265"/>
                </a:cubicBezTo>
                <a:cubicBezTo>
                  <a:pt x="7195040" y="1568985"/>
                  <a:pt x="7217440" y="1538745"/>
                  <a:pt x="7235840" y="1522745"/>
                </a:cubicBezTo>
                <a:cubicBezTo>
                  <a:pt x="7244800" y="1514905"/>
                  <a:pt x="7255680" y="1504345"/>
                  <a:pt x="7267200" y="1493305"/>
                </a:cubicBezTo>
                <a:cubicBezTo>
                  <a:pt x="7297920" y="1463545"/>
                  <a:pt x="7336160" y="1426585"/>
                  <a:pt x="7360960" y="1418905"/>
                </a:cubicBezTo>
                <a:cubicBezTo>
                  <a:pt x="7362720" y="1418265"/>
                  <a:pt x="7364960" y="1417465"/>
                  <a:pt x="7367040" y="1416505"/>
                </a:cubicBezTo>
                <a:cubicBezTo>
                  <a:pt x="7335840" y="1446585"/>
                  <a:pt x="7297760" y="1487865"/>
                  <a:pt x="7263840" y="1525465"/>
                </a:cubicBezTo>
                <a:cubicBezTo>
                  <a:pt x="7258560" y="1531225"/>
                  <a:pt x="7254720" y="1535545"/>
                  <a:pt x="7252480" y="1537945"/>
                </a:cubicBezTo>
                <a:cubicBezTo>
                  <a:pt x="7247360" y="1543385"/>
                  <a:pt x="7239680" y="1555705"/>
                  <a:pt x="7228800" y="1572825"/>
                </a:cubicBezTo>
                <a:cubicBezTo>
                  <a:pt x="7201760" y="1615385"/>
                  <a:pt x="7156480" y="1686905"/>
                  <a:pt x="7103040" y="1729945"/>
                </a:cubicBezTo>
                <a:cubicBezTo>
                  <a:pt x="7029280" y="1789305"/>
                  <a:pt x="6802881" y="1913945"/>
                  <a:pt x="6800640" y="1915225"/>
                </a:cubicBezTo>
                <a:cubicBezTo>
                  <a:pt x="6799040" y="1916185"/>
                  <a:pt x="6797920" y="1917465"/>
                  <a:pt x="6797280" y="1919065"/>
                </a:cubicBezTo>
                <a:cubicBezTo>
                  <a:pt x="6762360" y="1926025"/>
                  <a:pt x="6710790" y="1933885"/>
                  <a:pt x="6657083" y="1933330"/>
                </a:cubicBezTo>
                <a:close/>
                <a:moveTo>
                  <a:pt x="6416960" y="1962745"/>
                </a:moveTo>
                <a:cubicBezTo>
                  <a:pt x="6325120" y="1957945"/>
                  <a:pt x="6125120" y="1940185"/>
                  <a:pt x="6056160" y="1919065"/>
                </a:cubicBezTo>
                <a:cubicBezTo>
                  <a:pt x="5988480" y="1898265"/>
                  <a:pt x="5820640" y="1816505"/>
                  <a:pt x="5753600" y="1767705"/>
                </a:cubicBezTo>
                <a:cubicBezTo>
                  <a:pt x="5686400" y="1718745"/>
                  <a:pt x="5590400" y="1701945"/>
                  <a:pt x="5521600" y="1696345"/>
                </a:cubicBezTo>
                <a:cubicBezTo>
                  <a:pt x="5511841" y="1695545"/>
                  <a:pt x="5502240" y="1694905"/>
                  <a:pt x="5492800" y="1694265"/>
                </a:cubicBezTo>
                <a:cubicBezTo>
                  <a:pt x="5438881" y="1690585"/>
                  <a:pt x="5388000" y="1687065"/>
                  <a:pt x="5318080" y="1663225"/>
                </a:cubicBezTo>
                <a:cubicBezTo>
                  <a:pt x="5248480" y="1639545"/>
                  <a:pt x="5183040" y="1588025"/>
                  <a:pt x="5119840" y="1538265"/>
                </a:cubicBezTo>
                <a:cubicBezTo>
                  <a:pt x="5108480" y="1529305"/>
                  <a:pt x="5097280" y="1520505"/>
                  <a:pt x="5086080" y="1511865"/>
                </a:cubicBezTo>
                <a:cubicBezTo>
                  <a:pt x="5009601" y="1452985"/>
                  <a:pt x="4951840" y="1431865"/>
                  <a:pt x="4884960" y="1407385"/>
                </a:cubicBezTo>
                <a:cubicBezTo>
                  <a:pt x="4861921" y="1398905"/>
                  <a:pt x="4838240" y="1387865"/>
                  <a:pt x="4815200" y="1376025"/>
                </a:cubicBezTo>
                <a:cubicBezTo>
                  <a:pt x="4816480" y="1376345"/>
                  <a:pt x="4817761" y="1376985"/>
                  <a:pt x="4819041" y="1377305"/>
                </a:cubicBezTo>
                <a:cubicBezTo>
                  <a:pt x="4888320" y="1400825"/>
                  <a:pt x="5030560" y="1450905"/>
                  <a:pt x="5072320" y="1471705"/>
                </a:cubicBezTo>
                <a:cubicBezTo>
                  <a:pt x="5088641" y="1479865"/>
                  <a:pt x="5126720" y="1504665"/>
                  <a:pt x="5167040" y="1531065"/>
                </a:cubicBezTo>
                <a:cubicBezTo>
                  <a:pt x="5225281" y="1569305"/>
                  <a:pt x="5291360" y="1612345"/>
                  <a:pt x="5320960" y="1624345"/>
                </a:cubicBezTo>
                <a:cubicBezTo>
                  <a:pt x="5370881" y="1644505"/>
                  <a:pt x="5430080" y="1654745"/>
                  <a:pt x="5524960" y="1659865"/>
                </a:cubicBezTo>
                <a:cubicBezTo>
                  <a:pt x="5609760" y="1664345"/>
                  <a:pt x="5776640" y="1692665"/>
                  <a:pt x="5881760" y="1741465"/>
                </a:cubicBezTo>
                <a:cubicBezTo>
                  <a:pt x="5920160" y="1759225"/>
                  <a:pt x="5962720" y="1781945"/>
                  <a:pt x="6004000" y="1804025"/>
                </a:cubicBezTo>
                <a:cubicBezTo>
                  <a:pt x="6072320" y="1840505"/>
                  <a:pt x="6143040" y="1878265"/>
                  <a:pt x="6196000" y="1894105"/>
                </a:cubicBezTo>
                <a:cubicBezTo>
                  <a:pt x="6271040" y="1916505"/>
                  <a:pt x="6469600" y="1949625"/>
                  <a:pt x="6563360" y="1950585"/>
                </a:cubicBezTo>
                <a:cubicBezTo>
                  <a:pt x="6526400" y="1957785"/>
                  <a:pt x="6472000" y="1965465"/>
                  <a:pt x="6416960" y="1962745"/>
                </a:cubicBezTo>
                <a:close/>
                <a:moveTo>
                  <a:pt x="6259200" y="2001305"/>
                </a:moveTo>
                <a:cubicBezTo>
                  <a:pt x="6149120" y="2003545"/>
                  <a:pt x="6031360" y="1987545"/>
                  <a:pt x="5944160" y="1957785"/>
                </a:cubicBezTo>
                <a:cubicBezTo>
                  <a:pt x="5895040" y="1941145"/>
                  <a:pt x="5827360" y="1903545"/>
                  <a:pt x="5767840" y="1870425"/>
                </a:cubicBezTo>
                <a:cubicBezTo>
                  <a:pt x="5726720" y="1847545"/>
                  <a:pt x="5687841" y="1825945"/>
                  <a:pt x="5659040" y="1813305"/>
                </a:cubicBezTo>
                <a:cubicBezTo>
                  <a:pt x="5612321" y="1792665"/>
                  <a:pt x="5548001" y="1782425"/>
                  <a:pt x="5485760" y="1772505"/>
                </a:cubicBezTo>
                <a:cubicBezTo>
                  <a:pt x="5452480" y="1767225"/>
                  <a:pt x="5421120" y="1762105"/>
                  <a:pt x="5394401" y="1755865"/>
                </a:cubicBezTo>
                <a:cubicBezTo>
                  <a:pt x="5319360" y="1738105"/>
                  <a:pt x="5208480" y="1669465"/>
                  <a:pt x="5166720" y="1643705"/>
                </a:cubicBezTo>
                <a:cubicBezTo>
                  <a:pt x="5124480" y="1617625"/>
                  <a:pt x="5022720" y="1535705"/>
                  <a:pt x="5000641" y="1510265"/>
                </a:cubicBezTo>
                <a:cubicBezTo>
                  <a:pt x="4977280" y="1483385"/>
                  <a:pt x="4893120" y="1433625"/>
                  <a:pt x="4830560" y="1409785"/>
                </a:cubicBezTo>
                <a:cubicBezTo>
                  <a:pt x="4765120" y="1384825"/>
                  <a:pt x="4694240" y="1336185"/>
                  <a:pt x="4646400" y="1299705"/>
                </a:cubicBezTo>
                <a:cubicBezTo>
                  <a:pt x="4586080" y="1253785"/>
                  <a:pt x="4486882" y="1251545"/>
                  <a:pt x="4372161" y="1248985"/>
                </a:cubicBezTo>
                <a:cubicBezTo>
                  <a:pt x="4264320" y="1246585"/>
                  <a:pt x="4125120" y="1216825"/>
                  <a:pt x="4058240" y="1202585"/>
                </a:cubicBezTo>
                <a:lnTo>
                  <a:pt x="4046240" y="1200025"/>
                </a:lnTo>
                <a:cubicBezTo>
                  <a:pt x="3983680" y="1186745"/>
                  <a:pt x="3832960" y="1137785"/>
                  <a:pt x="3771040" y="1117465"/>
                </a:cubicBezTo>
                <a:cubicBezTo>
                  <a:pt x="3718240" y="1100185"/>
                  <a:pt x="3608800" y="1086905"/>
                  <a:pt x="3502880" y="1074265"/>
                </a:cubicBezTo>
                <a:cubicBezTo>
                  <a:pt x="3464480" y="1069625"/>
                  <a:pt x="3426240" y="1065145"/>
                  <a:pt x="3390720" y="1060345"/>
                </a:cubicBezTo>
                <a:cubicBezTo>
                  <a:pt x="3292000" y="1047065"/>
                  <a:pt x="3260160" y="1027065"/>
                  <a:pt x="3220000" y="1001625"/>
                </a:cubicBezTo>
                <a:cubicBezTo>
                  <a:pt x="3205760" y="992665"/>
                  <a:pt x="3190880" y="983385"/>
                  <a:pt x="3171840" y="973305"/>
                </a:cubicBezTo>
                <a:cubicBezTo>
                  <a:pt x="3098240" y="934585"/>
                  <a:pt x="3029920" y="913305"/>
                  <a:pt x="3029280" y="913145"/>
                </a:cubicBezTo>
                <a:cubicBezTo>
                  <a:pt x="3028480" y="912985"/>
                  <a:pt x="3027680" y="912825"/>
                  <a:pt x="3026880" y="912825"/>
                </a:cubicBezTo>
                <a:cubicBezTo>
                  <a:pt x="3026560" y="912825"/>
                  <a:pt x="3026400" y="913145"/>
                  <a:pt x="3026080" y="913145"/>
                </a:cubicBezTo>
                <a:cubicBezTo>
                  <a:pt x="3022720" y="911225"/>
                  <a:pt x="3019200" y="909305"/>
                  <a:pt x="3015680" y="907385"/>
                </a:cubicBezTo>
                <a:cubicBezTo>
                  <a:pt x="3064320" y="916025"/>
                  <a:pt x="3131680" y="929785"/>
                  <a:pt x="3188160" y="946745"/>
                </a:cubicBezTo>
                <a:cubicBezTo>
                  <a:pt x="3203200" y="951385"/>
                  <a:pt x="3216480" y="955385"/>
                  <a:pt x="3228640" y="959225"/>
                </a:cubicBezTo>
                <a:cubicBezTo>
                  <a:pt x="3301440" y="981945"/>
                  <a:pt x="3334720" y="992185"/>
                  <a:pt x="3437120" y="998905"/>
                </a:cubicBezTo>
                <a:cubicBezTo>
                  <a:pt x="3562720" y="1007065"/>
                  <a:pt x="3765760" y="1038585"/>
                  <a:pt x="3829440" y="1065465"/>
                </a:cubicBezTo>
                <a:cubicBezTo>
                  <a:pt x="3898880" y="1094745"/>
                  <a:pt x="4084160" y="1158905"/>
                  <a:pt x="4190720" y="1177145"/>
                </a:cubicBezTo>
                <a:cubicBezTo>
                  <a:pt x="4268321" y="1190425"/>
                  <a:pt x="4331361" y="1196665"/>
                  <a:pt x="4387040" y="1202265"/>
                </a:cubicBezTo>
                <a:cubicBezTo>
                  <a:pt x="4407360" y="1204345"/>
                  <a:pt x="4426560" y="1206265"/>
                  <a:pt x="4444800" y="1208345"/>
                </a:cubicBezTo>
                <a:cubicBezTo>
                  <a:pt x="4507360" y="1215385"/>
                  <a:pt x="4598881" y="1253945"/>
                  <a:pt x="4662560" y="1299865"/>
                </a:cubicBezTo>
                <a:cubicBezTo>
                  <a:pt x="4699040" y="1326265"/>
                  <a:pt x="4793440" y="1390905"/>
                  <a:pt x="4879520" y="1422425"/>
                </a:cubicBezTo>
                <a:cubicBezTo>
                  <a:pt x="4945281" y="1446425"/>
                  <a:pt x="5001920" y="1467225"/>
                  <a:pt x="5076480" y="1524665"/>
                </a:cubicBezTo>
                <a:cubicBezTo>
                  <a:pt x="5087521" y="1533145"/>
                  <a:pt x="5098720" y="1541945"/>
                  <a:pt x="5110081" y="1550905"/>
                </a:cubicBezTo>
                <a:cubicBezTo>
                  <a:pt x="5174401" y="1601465"/>
                  <a:pt x="5240961" y="1653785"/>
                  <a:pt x="5313120" y="1678425"/>
                </a:cubicBezTo>
                <a:cubicBezTo>
                  <a:pt x="5384960" y="1702905"/>
                  <a:pt x="5439360" y="1706585"/>
                  <a:pt x="5491840" y="1710265"/>
                </a:cubicBezTo>
                <a:cubicBezTo>
                  <a:pt x="5501440" y="1710905"/>
                  <a:pt x="5510881" y="1711545"/>
                  <a:pt x="5520480" y="1712345"/>
                </a:cubicBezTo>
                <a:cubicBezTo>
                  <a:pt x="5587200" y="1717785"/>
                  <a:pt x="5680160" y="1733945"/>
                  <a:pt x="5744321" y="1780665"/>
                </a:cubicBezTo>
                <a:cubicBezTo>
                  <a:pt x="5812480" y="1830105"/>
                  <a:pt x="5982881" y="1913145"/>
                  <a:pt x="6051680" y="1934265"/>
                </a:cubicBezTo>
                <a:cubicBezTo>
                  <a:pt x="6121920" y="1955865"/>
                  <a:pt x="6323840" y="1973785"/>
                  <a:pt x="6416320" y="1978585"/>
                </a:cubicBezTo>
                <a:cubicBezTo>
                  <a:pt x="6516000" y="1983865"/>
                  <a:pt x="6610720" y="1956185"/>
                  <a:pt x="6614720" y="1955065"/>
                </a:cubicBezTo>
                <a:cubicBezTo>
                  <a:pt x="6617920" y="1954105"/>
                  <a:pt x="6620160" y="1951225"/>
                  <a:pt x="6620320" y="1947865"/>
                </a:cubicBezTo>
                <a:cubicBezTo>
                  <a:pt x="6634240" y="1949145"/>
                  <a:pt x="6648000" y="1949785"/>
                  <a:pt x="6661760" y="1949785"/>
                </a:cubicBezTo>
                <a:cubicBezTo>
                  <a:pt x="6547040" y="1996985"/>
                  <a:pt x="6404640" y="1999225"/>
                  <a:pt x="6298400" y="2000665"/>
                </a:cubicBezTo>
                <a:cubicBezTo>
                  <a:pt x="6284640" y="2000825"/>
                  <a:pt x="6271520" y="2000985"/>
                  <a:pt x="6259200" y="2001305"/>
                </a:cubicBezTo>
                <a:close/>
                <a:moveTo>
                  <a:pt x="6180400" y="2055645"/>
                </a:moveTo>
                <a:cubicBezTo>
                  <a:pt x="6144920" y="2057865"/>
                  <a:pt x="6110560" y="2058345"/>
                  <a:pt x="6082400" y="2054905"/>
                </a:cubicBezTo>
                <a:cubicBezTo>
                  <a:pt x="5994240" y="2044025"/>
                  <a:pt x="5835040" y="1992025"/>
                  <a:pt x="5816000" y="1979225"/>
                </a:cubicBezTo>
                <a:cubicBezTo>
                  <a:pt x="5795360" y="1965465"/>
                  <a:pt x="5755521" y="1944025"/>
                  <a:pt x="5753760" y="1943065"/>
                </a:cubicBezTo>
                <a:cubicBezTo>
                  <a:pt x="5752640" y="1942585"/>
                  <a:pt x="5684160" y="1909625"/>
                  <a:pt x="5629920" y="1887705"/>
                </a:cubicBezTo>
                <a:cubicBezTo>
                  <a:pt x="5572320" y="1864505"/>
                  <a:pt x="5437600" y="1810265"/>
                  <a:pt x="5392161" y="1804665"/>
                </a:cubicBezTo>
                <a:cubicBezTo>
                  <a:pt x="5352960" y="1799865"/>
                  <a:pt x="5304800" y="1783865"/>
                  <a:pt x="5296160" y="1780825"/>
                </a:cubicBezTo>
                <a:cubicBezTo>
                  <a:pt x="5288481" y="1774425"/>
                  <a:pt x="5246561" y="1741145"/>
                  <a:pt x="5197760" y="1733305"/>
                </a:cubicBezTo>
                <a:cubicBezTo>
                  <a:pt x="5159200" y="1727065"/>
                  <a:pt x="5116961" y="1687865"/>
                  <a:pt x="5091680" y="1664505"/>
                </a:cubicBezTo>
                <a:cubicBezTo>
                  <a:pt x="5084960" y="1658265"/>
                  <a:pt x="5079200" y="1652985"/>
                  <a:pt x="5075041" y="1649625"/>
                </a:cubicBezTo>
                <a:cubicBezTo>
                  <a:pt x="5036160" y="1618265"/>
                  <a:pt x="4942560" y="1543065"/>
                  <a:pt x="4914080" y="1522745"/>
                </a:cubicBezTo>
                <a:cubicBezTo>
                  <a:pt x="4902720" y="1514585"/>
                  <a:pt x="4887200" y="1499225"/>
                  <a:pt x="4870881" y="1482745"/>
                </a:cubicBezTo>
                <a:cubicBezTo>
                  <a:pt x="4843040" y="1454905"/>
                  <a:pt x="4811520" y="1423385"/>
                  <a:pt x="4783040" y="1409305"/>
                </a:cubicBezTo>
                <a:cubicBezTo>
                  <a:pt x="4739680" y="1387865"/>
                  <a:pt x="4692160" y="1363385"/>
                  <a:pt x="4630240" y="1321785"/>
                </a:cubicBezTo>
                <a:cubicBezTo>
                  <a:pt x="4563520" y="1276985"/>
                  <a:pt x="4472481" y="1285625"/>
                  <a:pt x="4423520" y="1290265"/>
                </a:cubicBezTo>
                <a:cubicBezTo>
                  <a:pt x="4366240" y="1295705"/>
                  <a:pt x="4219200" y="1290105"/>
                  <a:pt x="4103680" y="1281945"/>
                </a:cubicBezTo>
                <a:cubicBezTo>
                  <a:pt x="3988000" y="1273625"/>
                  <a:pt x="3754400" y="1204185"/>
                  <a:pt x="3712960" y="1188825"/>
                </a:cubicBezTo>
                <a:cubicBezTo>
                  <a:pt x="3665760" y="1171225"/>
                  <a:pt x="3566720" y="1152505"/>
                  <a:pt x="3532480" y="1152505"/>
                </a:cubicBezTo>
                <a:cubicBezTo>
                  <a:pt x="3514080" y="1152505"/>
                  <a:pt x="3491520" y="1146265"/>
                  <a:pt x="3457600" y="1136985"/>
                </a:cubicBezTo>
                <a:cubicBezTo>
                  <a:pt x="3431680" y="1129785"/>
                  <a:pt x="3399200" y="1120825"/>
                  <a:pt x="3356640" y="1111385"/>
                </a:cubicBezTo>
                <a:cubicBezTo>
                  <a:pt x="3260160" y="1089945"/>
                  <a:pt x="3150880" y="1014425"/>
                  <a:pt x="3149760" y="1013625"/>
                </a:cubicBezTo>
                <a:cubicBezTo>
                  <a:pt x="3148480" y="1012665"/>
                  <a:pt x="3146880" y="1012185"/>
                  <a:pt x="3145280" y="1012185"/>
                </a:cubicBezTo>
                <a:cubicBezTo>
                  <a:pt x="3144800" y="1012185"/>
                  <a:pt x="3144160" y="1012345"/>
                  <a:pt x="3143680" y="1012505"/>
                </a:cubicBezTo>
                <a:cubicBezTo>
                  <a:pt x="3139040" y="1007225"/>
                  <a:pt x="3134720" y="1002425"/>
                  <a:pt x="3131040" y="998105"/>
                </a:cubicBezTo>
                <a:cubicBezTo>
                  <a:pt x="3115840" y="980505"/>
                  <a:pt x="3097440" y="963385"/>
                  <a:pt x="3077600" y="948185"/>
                </a:cubicBezTo>
                <a:cubicBezTo>
                  <a:pt x="3102240" y="957945"/>
                  <a:pt x="3132960" y="971385"/>
                  <a:pt x="3164640" y="988025"/>
                </a:cubicBezTo>
                <a:cubicBezTo>
                  <a:pt x="3183200" y="997785"/>
                  <a:pt x="3197600" y="1006905"/>
                  <a:pt x="3211680" y="1015705"/>
                </a:cubicBezTo>
                <a:cubicBezTo>
                  <a:pt x="3253600" y="1042105"/>
                  <a:pt x="3286560" y="1062905"/>
                  <a:pt x="3388800" y="1076665"/>
                </a:cubicBezTo>
                <a:cubicBezTo>
                  <a:pt x="3424480" y="1081305"/>
                  <a:pt x="3462720" y="1085945"/>
                  <a:pt x="3501120" y="1090585"/>
                </a:cubicBezTo>
                <a:cubicBezTo>
                  <a:pt x="3606240" y="1103225"/>
                  <a:pt x="3714880" y="1116185"/>
                  <a:pt x="3766080" y="1133145"/>
                </a:cubicBezTo>
                <a:cubicBezTo>
                  <a:pt x="3828320" y="1153625"/>
                  <a:pt x="3979680" y="1202585"/>
                  <a:pt x="4043040" y="1216025"/>
                </a:cubicBezTo>
                <a:lnTo>
                  <a:pt x="4055040" y="1218585"/>
                </a:lnTo>
                <a:cubicBezTo>
                  <a:pt x="4122400" y="1232985"/>
                  <a:pt x="4262561" y="1262905"/>
                  <a:pt x="4371840" y="1265305"/>
                </a:cubicBezTo>
                <a:cubicBezTo>
                  <a:pt x="4483841" y="1267865"/>
                  <a:pt x="4580480" y="1269945"/>
                  <a:pt x="4636800" y="1312825"/>
                </a:cubicBezTo>
                <a:cubicBezTo>
                  <a:pt x="4685440" y="1349945"/>
                  <a:pt x="4757760" y="1399545"/>
                  <a:pt x="4824960" y="1425145"/>
                </a:cubicBezTo>
                <a:cubicBezTo>
                  <a:pt x="4884481" y="1447865"/>
                  <a:pt x="4967040" y="1496345"/>
                  <a:pt x="4988640" y="1521145"/>
                </a:cubicBezTo>
                <a:cubicBezTo>
                  <a:pt x="5012001" y="1547865"/>
                  <a:pt x="5114400" y="1630425"/>
                  <a:pt x="5157441" y="1657145"/>
                </a:cubicBezTo>
                <a:cubicBezTo>
                  <a:pt x="5200800" y="1684025"/>
                  <a:pt x="5313120" y="1753625"/>
                  <a:pt x="5390881" y="1771865"/>
                </a:cubicBezTo>
                <a:cubicBezTo>
                  <a:pt x="5418241" y="1778265"/>
                  <a:pt x="5449920" y="1783385"/>
                  <a:pt x="5483360" y="1788665"/>
                </a:cubicBezTo>
                <a:cubicBezTo>
                  <a:pt x="5544641" y="1798425"/>
                  <a:pt x="5608000" y="1808505"/>
                  <a:pt x="5652800" y="1828185"/>
                </a:cubicBezTo>
                <a:cubicBezTo>
                  <a:pt x="5680960" y="1840665"/>
                  <a:pt x="5719521" y="1861945"/>
                  <a:pt x="5760320" y="1884665"/>
                </a:cubicBezTo>
                <a:cubicBezTo>
                  <a:pt x="5820480" y="1918105"/>
                  <a:pt x="5888800" y="1956025"/>
                  <a:pt x="5939200" y="1973145"/>
                </a:cubicBezTo>
                <a:cubicBezTo>
                  <a:pt x="6028000" y="2003385"/>
                  <a:pt x="6147840" y="2019705"/>
                  <a:pt x="6259680" y="2017465"/>
                </a:cubicBezTo>
                <a:cubicBezTo>
                  <a:pt x="6272000" y="2017145"/>
                  <a:pt x="6284960" y="2016985"/>
                  <a:pt x="6298720" y="2016825"/>
                </a:cubicBezTo>
                <a:cubicBezTo>
                  <a:pt x="6415040" y="2015065"/>
                  <a:pt x="6574240" y="2012825"/>
                  <a:pt x="6696320" y="1952025"/>
                </a:cubicBezTo>
                <a:cubicBezTo>
                  <a:pt x="6697760" y="1951385"/>
                  <a:pt x="6698720" y="1950105"/>
                  <a:pt x="6699520" y="1948825"/>
                </a:cubicBezTo>
                <a:cubicBezTo>
                  <a:pt x="6706560" y="1948345"/>
                  <a:pt x="6713600" y="1947865"/>
                  <a:pt x="6720480" y="1947225"/>
                </a:cubicBezTo>
                <a:cubicBezTo>
                  <a:pt x="6688320" y="1963865"/>
                  <a:pt x="6640800" y="1987545"/>
                  <a:pt x="6611840" y="1997625"/>
                </a:cubicBezTo>
                <a:cubicBezTo>
                  <a:pt x="6564000" y="2014105"/>
                  <a:pt x="6431200" y="2038425"/>
                  <a:pt x="6375200" y="2038425"/>
                </a:cubicBezTo>
                <a:cubicBezTo>
                  <a:pt x="6354080" y="2038425"/>
                  <a:pt x="6322080" y="2041945"/>
                  <a:pt x="6285120" y="2045945"/>
                </a:cubicBezTo>
                <a:cubicBezTo>
                  <a:pt x="6252480" y="2049465"/>
                  <a:pt x="6215880" y="2053425"/>
                  <a:pt x="6180400" y="2055645"/>
                </a:cubicBezTo>
                <a:close/>
                <a:moveTo>
                  <a:pt x="6146501" y="2103063"/>
                </a:moveTo>
                <a:cubicBezTo>
                  <a:pt x="6001835" y="2099235"/>
                  <a:pt x="5752600" y="2061505"/>
                  <a:pt x="5679520" y="2004665"/>
                </a:cubicBezTo>
                <a:cubicBezTo>
                  <a:pt x="5594080" y="1938105"/>
                  <a:pt x="5410881" y="1880025"/>
                  <a:pt x="5403200" y="1877625"/>
                </a:cubicBezTo>
                <a:cubicBezTo>
                  <a:pt x="5402401" y="1877305"/>
                  <a:pt x="5317440" y="1851385"/>
                  <a:pt x="5265440" y="1830425"/>
                </a:cubicBezTo>
                <a:cubicBezTo>
                  <a:pt x="5213921" y="1809625"/>
                  <a:pt x="5045761" y="1702745"/>
                  <a:pt x="5011360" y="1675065"/>
                </a:cubicBezTo>
                <a:cubicBezTo>
                  <a:pt x="4987520" y="1655865"/>
                  <a:pt x="4942240" y="1602585"/>
                  <a:pt x="4905921" y="1559705"/>
                </a:cubicBezTo>
                <a:cubicBezTo>
                  <a:pt x="4889280" y="1540185"/>
                  <a:pt x="4875040" y="1523385"/>
                  <a:pt x="4864960" y="1512345"/>
                </a:cubicBezTo>
                <a:cubicBezTo>
                  <a:pt x="4832960" y="1477305"/>
                  <a:pt x="4749760" y="1422905"/>
                  <a:pt x="4662400" y="1380185"/>
                </a:cubicBezTo>
                <a:cubicBezTo>
                  <a:pt x="4576160" y="1337945"/>
                  <a:pt x="4415680" y="1344505"/>
                  <a:pt x="4304321" y="1362905"/>
                </a:cubicBezTo>
                <a:cubicBezTo>
                  <a:pt x="4191040" y="1381625"/>
                  <a:pt x="3950080" y="1344665"/>
                  <a:pt x="3901920" y="1327705"/>
                </a:cubicBezTo>
                <a:cubicBezTo>
                  <a:pt x="3875040" y="1318105"/>
                  <a:pt x="3735200" y="1269785"/>
                  <a:pt x="3632960" y="1249145"/>
                </a:cubicBezTo>
                <a:cubicBezTo>
                  <a:pt x="3537280" y="1229785"/>
                  <a:pt x="3479840" y="1218265"/>
                  <a:pt x="3383200" y="1192345"/>
                </a:cubicBezTo>
                <a:cubicBezTo>
                  <a:pt x="3311360" y="1173145"/>
                  <a:pt x="3234560" y="1106745"/>
                  <a:pt x="3181440" y="1052505"/>
                </a:cubicBezTo>
                <a:cubicBezTo>
                  <a:pt x="3222880" y="1077145"/>
                  <a:pt x="3289920" y="1112825"/>
                  <a:pt x="3353440" y="1126905"/>
                </a:cubicBezTo>
                <a:cubicBezTo>
                  <a:pt x="3395520" y="1136185"/>
                  <a:pt x="3427680" y="1144985"/>
                  <a:pt x="3453600" y="1152185"/>
                </a:cubicBezTo>
                <a:cubicBezTo>
                  <a:pt x="3488960" y="1161945"/>
                  <a:pt x="3512160" y="1168345"/>
                  <a:pt x="3532800" y="1168345"/>
                </a:cubicBezTo>
                <a:cubicBezTo>
                  <a:pt x="3565120" y="1168345"/>
                  <a:pt x="3662720" y="1186905"/>
                  <a:pt x="3707680" y="1203545"/>
                </a:cubicBezTo>
                <a:cubicBezTo>
                  <a:pt x="3751040" y="1219705"/>
                  <a:pt x="3983520" y="1289145"/>
                  <a:pt x="4102720" y="1297625"/>
                </a:cubicBezTo>
                <a:cubicBezTo>
                  <a:pt x="4218881" y="1305785"/>
                  <a:pt x="4367040" y="1311225"/>
                  <a:pt x="4425121" y="1305785"/>
                </a:cubicBezTo>
                <a:cubicBezTo>
                  <a:pt x="4472000" y="1301305"/>
                  <a:pt x="4559361" y="1293145"/>
                  <a:pt x="4621441" y="1334745"/>
                </a:cubicBezTo>
                <a:cubicBezTo>
                  <a:pt x="4684320" y="1376985"/>
                  <a:pt x="4732320" y="1401625"/>
                  <a:pt x="4776161" y="1423385"/>
                </a:cubicBezTo>
                <a:cubicBezTo>
                  <a:pt x="4802240" y="1436345"/>
                  <a:pt x="4832800" y="1466905"/>
                  <a:pt x="4859681" y="1493785"/>
                </a:cubicBezTo>
                <a:cubicBezTo>
                  <a:pt x="4877280" y="1511545"/>
                  <a:pt x="4892480" y="1526745"/>
                  <a:pt x="4904801" y="1535545"/>
                </a:cubicBezTo>
                <a:cubicBezTo>
                  <a:pt x="4933600" y="1556185"/>
                  <a:pt x="5034720" y="1637305"/>
                  <a:pt x="5064961" y="1661785"/>
                </a:cubicBezTo>
                <a:cubicBezTo>
                  <a:pt x="5068960" y="1664985"/>
                  <a:pt x="5074400" y="1669945"/>
                  <a:pt x="5080801" y="1675865"/>
                </a:cubicBezTo>
                <a:cubicBezTo>
                  <a:pt x="5107360" y="1700505"/>
                  <a:pt x="5151841" y="1741625"/>
                  <a:pt x="5195200" y="1748665"/>
                </a:cubicBezTo>
                <a:cubicBezTo>
                  <a:pt x="5243680" y="1756505"/>
                  <a:pt x="5286400" y="1793305"/>
                  <a:pt x="5286882" y="1793625"/>
                </a:cubicBezTo>
                <a:cubicBezTo>
                  <a:pt x="5287680" y="1794265"/>
                  <a:pt x="5288481" y="1794745"/>
                  <a:pt x="5289441" y="1795065"/>
                </a:cubicBezTo>
                <a:cubicBezTo>
                  <a:pt x="5291841" y="1795865"/>
                  <a:pt x="5345440" y="1814585"/>
                  <a:pt x="5390240" y="1820185"/>
                </a:cubicBezTo>
                <a:cubicBezTo>
                  <a:pt x="5433600" y="1825625"/>
                  <a:pt x="5572000" y="1881305"/>
                  <a:pt x="5624000" y="1902265"/>
                </a:cubicBezTo>
                <a:cubicBezTo>
                  <a:pt x="5677920" y="1924025"/>
                  <a:pt x="5745920" y="1956825"/>
                  <a:pt x="5746561" y="1957145"/>
                </a:cubicBezTo>
                <a:cubicBezTo>
                  <a:pt x="5746561" y="1957145"/>
                  <a:pt x="5787040" y="1978905"/>
                  <a:pt x="5807040" y="1992345"/>
                </a:cubicBezTo>
                <a:cubicBezTo>
                  <a:pt x="5829920" y="2007705"/>
                  <a:pt x="5992800" y="2059705"/>
                  <a:pt x="6080320" y="2070585"/>
                </a:cubicBezTo>
                <a:cubicBezTo>
                  <a:pt x="6138400" y="2077785"/>
                  <a:pt x="6220640" y="2068825"/>
                  <a:pt x="6286720" y="2061625"/>
                </a:cubicBezTo>
                <a:cubicBezTo>
                  <a:pt x="6323200" y="2057785"/>
                  <a:pt x="6354720" y="2054265"/>
                  <a:pt x="6375040" y="2054265"/>
                </a:cubicBezTo>
                <a:cubicBezTo>
                  <a:pt x="6433440" y="2054265"/>
                  <a:pt x="6566881" y="2029785"/>
                  <a:pt x="6616800" y="2012505"/>
                </a:cubicBezTo>
                <a:cubicBezTo>
                  <a:pt x="6664640" y="1996025"/>
                  <a:pt x="6757440" y="1945305"/>
                  <a:pt x="6761440" y="1943225"/>
                </a:cubicBezTo>
                <a:cubicBezTo>
                  <a:pt x="6762240" y="1942905"/>
                  <a:pt x="6762720" y="1942265"/>
                  <a:pt x="6763360" y="1941625"/>
                </a:cubicBezTo>
                <a:cubicBezTo>
                  <a:pt x="6773440" y="1940025"/>
                  <a:pt x="6782881" y="1938265"/>
                  <a:pt x="6791520" y="1936665"/>
                </a:cubicBezTo>
                <a:cubicBezTo>
                  <a:pt x="6744640" y="1963065"/>
                  <a:pt x="6676800" y="2000345"/>
                  <a:pt x="6649600" y="2010585"/>
                </a:cubicBezTo>
                <a:lnTo>
                  <a:pt x="6638560" y="2014745"/>
                </a:lnTo>
                <a:cubicBezTo>
                  <a:pt x="6594240" y="2031545"/>
                  <a:pt x="6512000" y="2062585"/>
                  <a:pt x="6475200" y="2064665"/>
                </a:cubicBezTo>
                <a:cubicBezTo>
                  <a:pt x="6459680" y="2065625"/>
                  <a:pt x="6436000" y="2069945"/>
                  <a:pt x="6406080" y="2075385"/>
                </a:cubicBezTo>
                <a:cubicBezTo>
                  <a:pt x="6353440" y="2084985"/>
                  <a:pt x="6281600" y="2098105"/>
                  <a:pt x="6201280" y="2102585"/>
                </a:cubicBezTo>
                <a:cubicBezTo>
                  <a:pt x="6185700" y="2103465"/>
                  <a:pt x="6167168" y="2103610"/>
                  <a:pt x="6146501" y="2103063"/>
                </a:cubicBezTo>
                <a:close/>
                <a:moveTo>
                  <a:pt x="11451680" y="2432185"/>
                </a:moveTo>
                <a:cubicBezTo>
                  <a:pt x="11451040" y="2431385"/>
                  <a:pt x="11450400" y="2430585"/>
                  <a:pt x="11450080" y="2430105"/>
                </a:cubicBezTo>
                <a:cubicBezTo>
                  <a:pt x="11448320" y="2418585"/>
                  <a:pt x="11438720" y="2364665"/>
                  <a:pt x="11413600" y="2342265"/>
                </a:cubicBezTo>
                <a:cubicBezTo>
                  <a:pt x="11403040" y="2332825"/>
                  <a:pt x="11401920" y="2323385"/>
                  <a:pt x="11399840" y="2306105"/>
                </a:cubicBezTo>
                <a:cubicBezTo>
                  <a:pt x="11397600" y="2288025"/>
                  <a:pt x="11394720" y="2263385"/>
                  <a:pt x="11378400" y="2227705"/>
                </a:cubicBezTo>
                <a:cubicBezTo>
                  <a:pt x="11346240" y="2157145"/>
                  <a:pt x="11242400" y="2100025"/>
                  <a:pt x="11237920" y="2097625"/>
                </a:cubicBezTo>
                <a:cubicBezTo>
                  <a:pt x="11237121" y="2097305"/>
                  <a:pt x="11236320" y="2096985"/>
                  <a:pt x="11235360" y="2096825"/>
                </a:cubicBezTo>
                <a:cubicBezTo>
                  <a:pt x="11234720" y="2096825"/>
                  <a:pt x="11160640" y="2085145"/>
                  <a:pt x="11076640" y="2060345"/>
                </a:cubicBezTo>
                <a:cubicBezTo>
                  <a:pt x="11030880" y="2046745"/>
                  <a:pt x="10956480" y="2043545"/>
                  <a:pt x="10896000" y="2043545"/>
                </a:cubicBezTo>
                <a:cubicBezTo>
                  <a:pt x="10843200" y="2043545"/>
                  <a:pt x="10800960" y="2046105"/>
                  <a:pt x="10797280" y="2046265"/>
                </a:cubicBezTo>
                <a:cubicBezTo>
                  <a:pt x="10795520" y="2046425"/>
                  <a:pt x="10691200" y="2062265"/>
                  <a:pt x="10657920" y="2062265"/>
                </a:cubicBezTo>
                <a:cubicBezTo>
                  <a:pt x="10621121" y="2062265"/>
                  <a:pt x="10563680" y="2067385"/>
                  <a:pt x="10524480" y="2078585"/>
                </a:cubicBezTo>
                <a:cubicBezTo>
                  <a:pt x="10484800" y="2089945"/>
                  <a:pt x="10343040" y="2135545"/>
                  <a:pt x="10341600" y="2136025"/>
                </a:cubicBezTo>
                <a:cubicBezTo>
                  <a:pt x="10340160" y="2136505"/>
                  <a:pt x="10339200" y="2137305"/>
                  <a:pt x="10338240" y="2138265"/>
                </a:cubicBezTo>
                <a:cubicBezTo>
                  <a:pt x="10328320" y="2137305"/>
                  <a:pt x="10318240" y="2136025"/>
                  <a:pt x="10308000" y="2134745"/>
                </a:cubicBezTo>
                <a:cubicBezTo>
                  <a:pt x="10339520" y="2124985"/>
                  <a:pt x="10393760" y="2107225"/>
                  <a:pt x="10427360" y="2091225"/>
                </a:cubicBezTo>
                <a:cubicBezTo>
                  <a:pt x="10438880" y="2085785"/>
                  <a:pt x="10450080" y="2079545"/>
                  <a:pt x="10461760" y="2072985"/>
                </a:cubicBezTo>
                <a:cubicBezTo>
                  <a:pt x="10498880" y="2052185"/>
                  <a:pt x="10540960" y="2028665"/>
                  <a:pt x="10607040" y="2025305"/>
                </a:cubicBezTo>
                <a:cubicBezTo>
                  <a:pt x="10694880" y="2020665"/>
                  <a:pt x="10834720" y="1997785"/>
                  <a:pt x="10836160" y="1997625"/>
                </a:cubicBezTo>
                <a:cubicBezTo>
                  <a:pt x="10837280" y="1997625"/>
                  <a:pt x="11014880" y="1984185"/>
                  <a:pt x="11084160" y="1999865"/>
                </a:cubicBezTo>
                <a:cubicBezTo>
                  <a:pt x="11128320" y="2009785"/>
                  <a:pt x="11169760" y="2016985"/>
                  <a:pt x="11203200" y="2022905"/>
                </a:cubicBezTo>
                <a:cubicBezTo>
                  <a:pt x="11223360" y="2026425"/>
                  <a:pt x="11240640" y="2029465"/>
                  <a:pt x="11252480" y="2032025"/>
                </a:cubicBezTo>
                <a:cubicBezTo>
                  <a:pt x="11283360" y="2038905"/>
                  <a:pt x="11371680" y="2095705"/>
                  <a:pt x="11389760" y="2129145"/>
                </a:cubicBezTo>
                <a:cubicBezTo>
                  <a:pt x="11407040" y="2160825"/>
                  <a:pt x="11410880" y="2204345"/>
                  <a:pt x="11411520" y="2211865"/>
                </a:cubicBezTo>
                <a:cubicBezTo>
                  <a:pt x="11409440" y="2220825"/>
                  <a:pt x="11400480" y="2263225"/>
                  <a:pt x="11409280" y="2284505"/>
                </a:cubicBezTo>
                <a:cubicBezTo>
                  <a:pt x="11413920" y="2295545"/>
                  <a:pt x="11422400" y="2304985"/>
                  <a:pt x="11429920" y="2313305"/>
                </a:cubicBezTo>
                <a:cubicBezTo>
                  <a:pt x="11436000" y="2320025"/>
                  <a:pt x="11442880" y="2327705"/>
                  <a:pt x="11442880" y="2331865"/>
                </a:cubicBezTo>
                <a:cubicBezTo>
                  <a:pt x="11442880" y="2344985"/>
                  <a:pt x="11447680" y="2386265"/>
                  <a:pt x="11448480" y="2393785"/>
                </a:cubicBezTo>
                <a:cubicBezTo>
                  <a:pt x="11447840" y="2398265"/>
                  <a:pt x="11446240" y="2413945"/>
                  <a:pt x="11451680" y="2432185"/>
                </a:cubicBezTo>
                <a:close/>
                <a:moveTo>
                  <a:pt x="518240" y="2477305"/>
                </a:moveTo>
                <a:cubicBezTo>
                  <a:pt x="596480" y="2437145"/>
                  <a:pt x="691840" y="2364025"/>
                  <a:pt x="707680" y="2271865"/>
                </a:cubicBezTo>
                <a:lnTo>
                  <a:pt x="712320" y="2244825"/>
                </a:lnTo>
                <a:cubicBezTo>
                  <a:pt x="733280" y="2121465"/>
                  <a:pt x="764800" y="1934905"/>
                  <a:pt x="831200" y="1879705"/>
                </a:cubicBezTo>
                <a:cubicBezTo>
                  <a:pt x="865440" y="1851225"/>
                  <a:pt x="904320" y="1826585"/>
                  <a:pt x="936000" y="1808345"/>
                </a:cubicBezTo>
                <a:cubicBezTo>
                  <a:pt x="900480" y="1853785"/>
                  <a:pt x="873280" y="1916025"/>
                  <a:pt x="867040" y="1939545"/>
                </a:cubicBezTo>
                <a:cubicBezTo>
                  <a:pt x="860640" y="1963385"/>
                  <a:pt x="850720" y="2026585"/>
                  <a:pt x="839040" y="2099545"/>
                </a:cubicBezTo>
                <a:cubicBezTo>
                  <a:pt x="831520" y="2146105"/>
                  <a:pt x="823520" y="2196665"/>
                  <a:pt x="815520" y="2242905"/>
                </a:cubicBezTo>
                <a:cubicBezTo>
                  <a:pt x="796960" y="2349625"/>
                  <a:pt x="623680" y="2434905"/>
                  <a:pt x="518240" y="2477305"/>
                </a:cubicBezTo>
                <a:close/>
                <a:moveTo>
                  <a:pt x="372800" y="2513145"/>
                </a:moveTo>
                <a:cubicBezTo>
                  <a:pt x="415680" y="2491385"/>
                  <a:pt x="454720" y="2461785"/>
                  <a:pt x="480160" y="2420985"/>
                </a:cubicBezTo>
                <a:cubicBezTo>
                  <a:pt x="542720" y="2319865"/>
                  <a:pt x="603200" y="2177465"/>
                  <a:pt x="632160" y="2108985"/>
                </a:cubicBezTo>
                <a:lnTo>
                  <a:pt x="640320" y="2089785"/>
                </a:lnTo>
                <a:cubicBezTo>
                  <a:pt x="642080" y="2085625"/>
                  <a:pt x="644000" y="2080985"/>
                  <a:pt x="646240" y="2075545"/>
                </a:cubicBezTo>
                <a:cubicBezTo>
                  <a:pt x="673760" y="2008025"/>
                  <a:pt x="736320" y="1854905"/>
                  <a:pt x="899520" y="1811865"/>
                </a:cubicBezTo>
                <a:cubicBezTo>
                  <a:pt x="873920" y="1827865"/>
                  <a:pt x="846240" y="1846745"/>
                  <a:pt x="820960" y="1867705"/>
                </a:cubicBezTo>
                <a:cubicBezTo>
                  <a:pt x="749920" y="1926745"/>
                  <a:pt x="717760" y="2116825"/>
                  <a:pt x="696480" y="2242585"/>
                </a:cubicBezTo>
                <a:lnTo>
                  <a:pt x="691840" y="2269625"/>
                </a:lnTo>
                <a:cubicBezTo>
                  <a:pt x="671360" y="2388665"/>
                  <a:pt x="500480" y="2477945"/>
                  <a:pt x="435840" y="2493305"/>
                </a:cubicBezTo>
                <a:cubicBezTo>
                  <a:pt x="419680" y="2497145"/>
                  <a:pt x="397440" y="2504185"/>
                  <a:pt x="372800" y="2513145"/>
                </a:cubicBezTo>
                <a:close/>
                <a:moveTo>
                  <a:pt x="11553600" y="2562105"/>
                </a:moveTo>
                <a:cubicBezTo>
                  <a:pt x="11540160" y="2552825"/>
                  <a:pt x="11529600" y="2544665"/>
                  <a:pt x="11522560" y="2538585"/>
                </a:cubicBezTo>
                <a:cubicBezTo>
                  <a:pt x="11482400" y="2503705"/>
                  <a:pt x="11407360" y="2420665"/>
                  <a:pt x="11385920" y="2383705"/>
                </a:cubicBezTo>
                <a:cubicBezTo>
                  <a:pt x="11382240" y="2377305"/>
                  <a:pt x="11293920" y="2226105"/>
                  <a:pt x="11206080" y="2187865"/>
                </a:cubicBezTo>
                <a:cubicBezTo>
                  <a:pt x="11133280" y="2156185"/>
                  <a:pt x="11026080" y="2137465"/>
                  <a:pt x="10974240" y="2131545"/>
                </a:cubicBezTo>
                <a:cubicBezTo>
                  <a:pt x="10931520" y="2126745"/>
                  <a:pt x="10841121" y="2118905"/>
                  <a:pt x="10805440" y="2124025"/>
                </a:cubicBezTo>
                <a:cubicBezTo>
                  <a:pt x="10772640" y="2128825"/>
                  <a:pt x="10685280" y="2129145"/>
                  <a:pt x="10653121" y="2126585"/>
                </a:cubicBezTo>
                <a:cubicBezTo>
                  <a:pt x="10622080" y="2124025"/>
                  <a:pt x="10557600" y="2118905"/>
                  <a:pt x="10462240" y="2136825"/>
                </a:cubicBezTo>
                <a:cubicBezTo>
                  <a:pt x="10440160" y="2140985"/>
                  <a:pt x="10411200" y="2142265"/>
                  <a:pt x="10378560" y="2140505"/>
                </a:cubicBezTo>
                <a:cubicBezTo>
                  <a:pt x="10422880" y="2126265"/>
                  <a:pt x="10501121" y="2101465"/>
                  <a:pt x="10528800" y="2093465"/>
                </a:cubicBezTo>
                <a:cubicBezTo>
                  <a:pt x="10566400" y="2082745"/>
                  <a:pt x="10622080" y="2077785"/>
                  <a:pt x="10657760" y="2077785"/>
                </a:cubicBezTo>
                <a:cubicBezTo>
                  <a:pt x="10692160" y="2077785"/>
                  <a:pt x="10794400" y="2062265"/>
                  <a:pt x="10798720" y="2061625"/>
                </a:cubicBezTo>
                <a:cubicBezTo>
                  <a:pt x="10799840" y="2061625"/>
                  <a:pt x="10988800" y="2050585"/>
                  <a:pt x="11072000" y="2075225"/>
                </a:cubicBezTo>
                <a:cubicBezTo>
                  <a:pt x="11150560" y="2098425"/>
                  <a:pt x="11220640" y="2110265"/>
                  <a:pt x="11231360" y="2112025"/>
                </a:cubicBezTo>
                <a:cubicBezTo>
                  <a:pt x="11242880" y="2118425"/>
                  <a:pt x="11335520" y="2172025"/>
                  <a:pt x="11363680" y="2233945"/>
                </a:cubicBezTo>
                <a:cubicBezTo>
                  <a:pt x="11378880" y="2267385"/>
                  <a:pt x="11381600" y="2289625"/>
                  <a:pt x="11383680" y="2307545"/>
                </a:cubicBezTo>
                <a:cubicBezTo>
                  <a:pt x="11385920" y="2325785"/>
                  <a:pt x="11387680" y="2340345"/>
                  <a:pt x="11402720" y="2353785"/>
                </a:cubicBezTo>
                <a:cubicBezTo>
                  <a:pt x="11422080" y="2370905"/>
                  <a:pt x="11432160" y="2417305"/>
                  <a:pt x="11434400" y="2433785"/>
                </a:cubicBezTo>
                <a:cubicBezTo>
                  <a:pt x="11434560" y="2435065"/>
                  <a:pt x="11435040" y="2436345"/>
                  <a:pt x="11435840" y="2437465"/>
                </a:cubicBezTo>
                <a:cubicBezTo>
                  <a:pt x="11438560" y="2441305"/>
                  <a:pt x="11492160" y="2513625"/>
                  <a:pt x="11553600" y="2562105"/>
                </a:cubicBezTo>
                <a:close/>
                <a:moveTo>
                  <a:pt x="356480" y="3210265"/>
                </a:moveTo>
                <a:cubicBezTo>
                  <a:pt x="357760" y="3209305"/>
                  <a:pt x="475520" y="3128985"/>
                  <a:pt x="565760" y="3089145"/>
                </a:cubicBezTo>
                <a:cubicBezTo>
                  <a:pt x="624800" y="3063065"/>
                  <a:pt x="681440" y="3002425"/>
                  <a:pt x="726880" y="2953785"/>
                </a:cubicBezTo>
                <a:cubicBezTo>
                  <a:pt x="753760" y="2924825"/>
                  <a:pt x="777120" y="2899865"/>
                  <a:pt x="795200" y="2887865"/>
                </a:cubicBezTo>
                <a:cubicBezTo>
                  <a:pt x="807200" y="2879865"/>
                  <a:pt x="821760" y="2868665"/>
                  <a:pt x="838560" y="2855705"/>
                </a:cubicBezTo>
                <a:cubicBezTo>
                  <a:pt x="892000" y="2814585"/>
                  <a:pt x="972640" y="2752345"/>
                  <a:pt x="1078080" y="2714425"/>
                </a:cubicBezTo>
                <a:cubicBezTo>
                  <a:pt x="1171040" y="2680985"/>
                  <a:pt x="1244640" y="2619065"/>
                  <a:pt x="1274880" y="2548665"/>
                </a:cubicBezTo>
                <a:cubicBezTo>
                  <a:pt x="1294880" y="2502105"/>
                  <a:pt x="1295200" y="2453465"/>
                  <a:pt x="1275520" y="2407705"/>
                </a:cubicBezTo>
                <a:cubicBezTo>
                  <a:pt x="1222720" y="2284665"/>
                  <a:pt x="1179680" y="2160025"/>
                  <a:pt x="1221920" y="2080505"/>
                </a:cubicBezTo>
                <a:cubicBezTo>
                  <a:pt x="1254400" y="2019385"/>
                  <a:pt x="1263360" y="1970265"/>
                  <a:pt x="1269440" y="1937625"/>
                </a:cubicBezTo>
                <a:cubicBezTo>
                  <a:pt x="1271680" y="1925465"/>
                  <a:pt x="1273440" y="1916025"/>
                  <a:pt x="1275680" y="1909945"/>
                </a:cubicBezTo>
                <a:cubicBezTo>
                  <a:pt x="1311840" y="1812665"/>
                  <a:pt x="1389920" y="1743545"/>
                  <a:pt x="1495680" y="1714265"/>
                </a:cubicBezTo>
                <a:cubicBezTo>
                  <a:pt x="1603200" y="1684505"/>
                  <a:pt x="1782720" y="1603705"/>
                  <a:pt x="1924320" y="1464185"/>
                </a:cubicBezTo>
                <a:cubicBezTo>
                  <a:pt x="1855360" y="1556665"/>
                  <a:pt x="1718560" y="1625625"/>
                  <a:pt x="1660320" y="1652025"/>
                </a:cubicBezTo>
                <a:cubicBezTo>
                  <a:pt x="1575360" y="1690585"/>
                  <a:pt x="1471520" y="1763545"/>
                  <a:pt x="1408480" y="1814265"/>
                </a:cubicBezTo>
                <a:cubicBezTo>
                  <a:pt x="1337440" y="1871545"/>
                  <a:pt x="1305440" y="2040985"/>
                  <a:pt x="1305440" y="2142905"/>
                </a:cubicBezTo>
                <a:cubicBezTo>
                  <a:pt x="1305440" y="2206265"/>
                  <a:pt x="1336000" y="2273145"/>
                  <a:pt x="1371520" y="2350745"/>
                </a:cubicBezTo>
                <a:cubicBezTo>
                  <a:pt x="1391840" y="2395225"/>
                  <a:pt x="1412960" y="2441145"/>
                  <a:pt x="1431040" y="2492185"/>
                </a:cubicBezTo>
                <a:cubicBezTo>
                  <a:pt x="1444000" y="2528825"/>
                  <a:pt x="1471840" y="2656185"/>
                  <a:pt x="1284640" y="2760505"/>
                </a:cubicBezTo>
                <a:cubicBezTo>
                  <a:pt x="1263520" y="2772345"/>
                  <a:pt x="1234720" y="2783225"/>
                  <a:pt x="1198240" y="2797145"/>
                </a:cubicBezTo>
                <a:cubicBezTo>
                  <a:pt x="1124320" y="2825145"/>
                  <a:pt x="1023200" y="2863705"/>
                  <a:pt x="898880" y="2942105"/>
                </a:cubicBezTo>
                <a:cubicBezTo>
                  <a:pt x="716320" y="3057305"/>
                  <a:pt x="432320" y="3190105"/>
                  <a:pt x="429440" y="3191385"/>
                </a:cubicBezTo>
                <a:cubicBezTo>
                  <a:pt x="425440" y="3193305"/>
                  <a:pt x="423680" y="3198105"/>
                  <a:pt x="425600" y="3202105"/>
                </a:cubicBezTo>
                <a:cubicBezTo>
                  <a:pt x="427360" y="3206265"/>
                  <a:pt x="432160" y="3208025"/>
                  <a:pt x="436160" y="3206105"/>
                </a:cubicBezTo>
                <a:cubicBezTo>
                  <a:pt x="439040" y="3204825"/>
                  <a:pt x="723840" y="3071705"/>
                  <a:pt x="907360" y="2955865"/>
                </a:cubicBezTo>
                <a:cubicBezTo>
                  <a:pt x="1030240" y="2878265"/>
                  <a:pt x="1130560" y="2840185"/>
                  <a:pt x="1203840" y="2812345"/>
                </a:cubicBezTo>
                <a:cubicBezTo>
                  <a:pt x="1240960" y="2798265"/>
                  <a:pt x="1270240" y="2787065"/>
                  <a:pt x="1292320" y="2774745"/>
                </a:cubicBezTo>
                <a:cubicBezTo>
                  <a:pt x="1328000" y="2754745"/>
                  <a:pt x="1503040" y="2647385"/>
                  <a:pt x="1446080" y="2486905"/>
                </a:cubicBezTo>
                <a:cubicBezTo>
                  <a:pt x="1427680" y="2435385"/>
                  <a:pt x="1406560" y="2388985"/>
                  <a:pt x="1386080" y="2344185"/>
                </a:cubicBezTo>
                <a:cubicBezTo>
                  <a:pt x="1351360" y="2268505"/>
                  <a:pt x="1321440" y="2202905"/>
                  <a:pt x="1321440" y="2143225"/>
                </a:cubicBezTo>
                <a:cubicBezTo>
                  <a:pt x="1321440" y="2044505"/>
                  <a:pt x="1351680" y="1881145"/>
                  <a:pt x="1418560" y="1827225"/>
                </a:cubicBezTo>
                <a:cubicBezTo>
                  <a:pt x="1480800" y="1776985"/>
                  <a:pt x="1583360" y="1704985"/>
                  <a:pt x="1667040" y="1667065"/>
                </a:cubicBezTo>
                <a:cubicBezTo>
                  <a:pt x="1730400" y="1638265"/>
                  <a:pt x="1885120" y="1560025"/>
                  <a:pt x="1950720" y="1454425"/>
                </a:cubicBezTo>
                <a:cubicBezTo>
                  <a:pt x="2010560" y="1358105"/>
                  <a:pt x="2193760" y="1158585"/>
                  <a:pt x="2247840" y="1130905"/>
                </a:cubicBezTo>
                <a:cubicBezTo>
                  <a:pt x="2292960" y="1107865"/>
                  <a:pt x="2377440" y="1067705"/>
                  <a:pt x="2435520" y="1059225"/>
                </a:cubicBezTo>
                <a:cubicBezTo>
                  <a:pt x="2493120" y="1050745"/>
                  <a:pt x="2650080" y="984665"/>
                  <a:pt x="2704640" y="940665"/>
                </a:cubicBezTo>
                <a:cubicBezTo>
                  <a:pt x="2758880" y="897145"/>
                  <a:pt x="2863200" y="889145"/>
                  <a:pt x="2916320" y="891225"/>
                </a:cubicBezTo>
                <a:cubicBezTo>
                  <a:pt x="2972480" y="893465"/>
                  <a:pt x="3067520" y="948665"/>
                  <a:pt x="3119680" y="1009305"/>
                </a:cubicBezTo>
                <a:cubicBezTo>
                  <a:pt x="3163200" y="1060025"/>
                  <a:pt x="3275680" y="1180665"/>
                  <a:pt x="3379840" y="1208665"/>
                </a:cubicBezTo>
                <a:cubicBezTo>
                  <a:pt x="3477120" y="1234745"/>
                  <a:pt x="3534560" y="1246265"/>
                  <a:pt x="3629920" y="1265465"/>
                </a:cubicBezTo>
                <a:cubicBezTo>
                  <a:pt x="3731840" y="1285945"/>
                  <a:pt x="3870720" y="1334105"/>
                  <a:pt x="3897600" y="1343545"/>
                </a:cubicBezTo>
                <a:cubicBezTo>
                  <a:pt x="3946560" y="1360825"/>
                  <a:pt x="4192320" y="1398425"/>
                  <a:pt x="4307841" y="1379385"/>
                </a:cubicBezTo>
                <a:cubicBezTo>
                  <a:pt x="4416800" y="1361305"/>
                  <a:pt x="4573600" y="1354745"/>
                  <a:pt x="4656481" y="1395225"/>
                </a:cubicBezTo>
                <a:cubicBezTo>
                  <a:pt x="4740800" y="1436505"/>
                  <a:pt x="4823840" y="1490585"/>
                  <a:pt x="4854240" y="1523865"/>
                </a:cubicBezTo>
                <a:cubicBezTo>
                  <a:pt x="4864161" y="1534745"/>
                  <a:pt x="4878240" y="1551545"/>
                  <a:pt x="4894720" y="1570905"/>
                </a:cubicBezTo>
                <a:cubicBezTo>
                  <a:pt x="4931520" y="1614265"/>
                  <a:pt x="4977440" y="1668185"/>
                  <a:pt x="5002400" y="1688345"/>
                </a:cubicBezTo>
                <a:cubicBezTo>
                  <a:pt x="5038240" y="1716985"/>
                  <a:pt x="5206560" y="1824185"/>
                  <a:pt x="5260640" y="1845945"/>
                </a:cubicBezTo>
                <a:cubicBezTo>
                  <a:pt x="5313281" y="1867225"/>
                  <a:pt x="5398881" y="1893305"/>
                  <a:pt x="5399680" y="1893625"/>
                </a:cubicBezTo>
                <a:cubicBezTo>
                  <a:pt x="5401600" y="1894105"/>
                  <a:pt x="5587840" y="1953145"/>
                  <a:pt x="5671041" y="2017945"/>
                </a:cubicBezTo>
                <a:cubicBezTo>
                  <a:pt x="5760480" y="2087385"/>
                  <a:pt x="6078400" y="2126265"/>
                  <a:pt x="6203520" y="2119225"/>
                </a:cubicBezTo>
                <a:cubicBezTo>
                  <a:pt x="6284800" y="2114585"/>
                  <a:pt x="6357280" y="2101305"/>
                  <a:pt x="6410240" y="2091705"/>
                </a:cubicBezTo>
                <a:cubicBezTo>
                  <a:pt x="6439680" y="2086425"/>
                  <a:pt x="6463040" y="2082105"/>
                  <a:pt x="6477440" y="2081305"/>
                </a:cubicBezTo>
                <a:cubicBezTo>
                  <a:pt x="6516640" y="2079065"/>
                  <a:pt x="6597280" y="2048665"/>
                  <a:pt x="6645440" y="2030425"/>
                </a:cubicBezTo>
                <a:lnTo>
                  <a:pt x="6656480" y="2026265"/>
                </a:lnTo>
                <a:cubicBezTo>
                  <a:pt x="6700800" y="2009625"/>
                  <a:pt x="6843040" y="1927225"/>
                  <a:pt x="6849120" y="1923705"/>
                </a:cubicBezTo>
                <a:cubicBezTo>
                  <a:pt x="6849280" y="1923705"/>
                  <a:pt x="6912800" y="1893625"/>
                  <a:pt x="6955360" y="1886745"/>
                </a:cubicBezTo>
                <a:cubicBezTo>
                  <a:pt x="6980800" y="1882585"/>
                  <a:pt x="7016320" y="1869145"/>
                  <a:pt x="7050720" y="1856025"/>
                </a:cubicBezTo>
                <a:cubicBezTo>
                  <a:pt x="7077600" y="1845785"/>
                  <a:pt x="7103040" y="1836185"/>
                  <a:pt x="7120800" y="1832025"/>
                </a:cubicBezTo>
                <a:cubicBezTo>
                  <a:pt x="7161440" y="1822745"/>
                  <a:pt x="7313920" y="1748505"/>
                  <a:pt x="7327840" y="1741785"/>
                </a:cubicBezTo>
                <a:cubicBezTo>
                  <a:pt x="7337280" y="1739385"/>
                  <a:pt x="7410881" y="1719065"/>
                  <a:pt x="7550400" y="1624665"/>
                </a:cubicBezTo>
                <a:cubicBezTo>
                  <a:pt x="7665600" y="1546585"/>
                  <a:pt x="7733440" y="1502745"/>
                  <a:pt x="7778240" y="1473785"/>
                </a:cubicBezTo>
                <a:cubicBezTo>
                  <a:pt x="7791040" y="1465625"/>
                  <a:pt x="7802080" y="1458425"/>
                  <a:pt x="7812320" y="1451705"/>
                </a:cubicBezTo>
                <a:cubicBezTo>
                  <a:pt x="7836160" y="1436025"/>
                  <a:pt x="7869280" y="1406585"/>
                  <a:pt x="7904320" y="1375385"/>
                </a:cubicBezTo>
                <a:cubicBezTo>
                  <a:pt x="7938240" y="1345145"/>
                  <a:pt x="7973280" y="1313945"/>
                  <a:pt x="7997920" y="1297625"/>
                </a:cubicBezTo>
                <a:cubicBezTo>
                  <a:pt x="8120480" y="1216345"/>
                  <a:pt x="8223840" y="1171705"/>
                  <a:pt x="8297121" y="1168505"/>
                </a:cubicBezTo>
                <a:cubicBezTo>
                  <a:pt x="8337760" y="1166745"/>
                  <a:pt x="8398560" y="1167225"/>
                  <a:pt x="8468960" y="1167865"/>
                </a:cubicBezTo>
                <a:cubicBezTo>
                  <a:pt x="8584160" y="1168985"/>
                  <a:pt x="8727680" y="1170265"/>
                  <a:pt x="8842080" y="1161305"/>
                </a:cubicBezTo>
                <a:cubicBezTo>
                  <a:pt x="9023200" y="1147225"/>
                  <a:pt x="9221440" y="1092825"/>
                  <a:pt x="9223360" y="1092345"/>
                </a:cubicBezTo>
                <a:cubicBezTo>
                  <a:pt x="9226240" y="1091545"/>
                  <a:pt x="9474240" y="1013305"/>
                  <a:pt x="9666240" y="1068505"/>
                </a:cubicBezTo>
                <a:cubicBezTo>
                  <a:pt x="9665760" y="1081945"/>
                  <a:pt x="9665600" y="1096345"/>
                  <a:pt x="9665920" y="1111545"/>
                </a:cubicBezTo>
                <a:cubicBezTo>
                  <a:pt x="9665600" y="1112985"/>
                  <a:pt x="9665600" y="1114585"/>
                  <a:pt x="9666080" y="1116025"/>
                </a:cubicBezTo>
                <a:cubicBezTo>
                  <a:pt x="9668960" y="1230105"/>
                  <a:pt x="9694080" y="1381785"/>
                  <a:pt x="9744480" y="1451225"/>
                </a:cubicBezTo>
                <a:cubicBezTo>
                  <a:pt x="9795360" y="1521145"/>
                  <a:pt x="9790240" y="1583065"/>
                  <a:pt x="9784160" y="1654585"/>
                </a:cubicBezTo>
                <a:cubicBezTo>
                  <a:pt x="9781600" y="1685785"/>
                  <a:pt x="9778880" y="1718265"/>
                  <a:pt x="9780800" y="1753305"/>
                </a:cubicBezTo>
                <a:cubicBezTo>
                  <a:pt x="9787200" y="1868345"/>
                  <a:pt x="9887200" y="1998105"/>
                  <a:pt x="10024160" y="2068985"/>
                </a:cubicBezTo>
                <a:cubicBezTo>
                  <a:pt x="10024320" y="2068985"/>
                  <a:pt x="10024320" y="2068985"/>
                  <a:pt x="10024320" y="2068985"/>
                </a:cubicBezTo>
                <a:cubicBezTo>
                  <a:pt x="10157920" y="2138105"/>
                  <a:pt x="10371680" y="2171065"/>
                  <a:pt x="10466400" y="2153305"/>
                </a:cubicBezTo>
                <a:cubicBezTo>
                  <a:pt x="10559680" y="2135705"/>
                  <a:pt x="10622720" y="2140825"/>
                  <a:pt x="10652960" y="2143225"/>
                </a:cubicBezTo>
                <a:cubicBezTo>
                  <a:pt x="10683040" y="2145625"/>
                  <a:pt x="10772320" y="2145945"/>
                  <a:pt x="10808800" y="2140665"/>
                </a:cubicBezTo>
                <a:cubicBezTo>
                  <a:pt x="10843040" y="2135705"/>
                  <a:pt x="10931360" y="2143545"/>
                  <a:pt x="10973440" y="2148345"/>
                </a:cubicBezTo>
                <a:cubicBezTo>
                  <a:pt x="11024480" y="2154105"/>
                  <a:pt x="11129760" y="2172345"/>
                  <a:pt x="11200800" y="2203385"/>
                </a:cubicBezTo>
                <a:cubicBezTo>
                  <a:pt x="11283840" y="2239545"/>
                  <a:pt x="11369440" y="2386265"/>
                  <a:pt x="11373121" y="2392505"/>
                </a:cubicBezTo>
                <a:cubicBezTo>
                  <a:pt x="11395680" y="2431385"/>
                  <a:pt x="11471040" y="2515065"/>
                  <a:pt x="11513121" y="2551545"/>
                </a:cubicBezTo>
                <a:cubicBezTo>
                  <a:pt x="11552000" y="2585305"/>
                  <a:pt x="11694240" y="2675545"/>
                  <a:pt x="11839200" y="2735225"/>
                </a:cubicBezTo>
                <a:cubicBezTo>
                  <a:pt x="11980320" y="2793305"/>
                  <a:pt x="12163840" y="2804025"/>
                  <a:pt x="12165760" y="2804185"/>
                </a:cubicBezTo>
                <a:cubicBezTo>
                  <a:pt x="12170080" y="2804505"/>
                  <a:pt x="12173920" y="2800985"/>
                  <a:pt x="12174240" y="2796505"/>
                </a:cubicBezTo>
                <a:cubicBezTo>
                  <a:pt x="12174560" y="2792025"/>
                  <a:pt x="12171200" y="2788185"/>
                  <a:pt x="12166720" y="2788025"/>
                </a:cubicBezTo>
                <a:cubicBezTo>
                  <a:pt x="12164960" y="2787865"/>
                  <a:pt x="11984000" y="2777305"/>
                  <a:pt x="11845440" y="2720185"/>
                </a:cubicBezTo>
                <a:cubicBezTo>
                  <a:pt x="11752480" y="2681945"/>
                  <a:pt x="11661121" y="2631225"/>
                  <a:pt x="11597760" y="2591225"/>
                </a:cubicBezTo>
                <a:cubicBezTo>
                  <a:pt x="11598240" y="2591545"/>
                  <a:pt x="11598880" y="2591865"/>
                  <a:pt x="11599520" y="2592185"/>
                </a:cubicBezTo>
                <a:cubicBezTo>
                  <a:pt x="11680160" y="2632985"/>
                  <a:pt x="11795520" y="2684825"/>
                  <a:pt x="11849121" y="2700665"/>
                </a:cubicBezTo>
                <a:cubicBezTo>
                  <a:pt x="11910080" y="2718905"/>
                  <a:pt x="12053600" y="2744505"/>
                  <a:pt x="12168160" y="2742425"/>
                </a:cubicBezTo>
                <a:cubicBezTo>
                  <a:pt x="12172640" y="2742425"/>
                  <a:pt x="12176160" y="2738745"/>
                  <a:pt x="12176000" y="2734265"/>
                </a:cubicBezTo>
                <a:cubicBezTo>
                  <a:pt x="12175840" y="2729945"/>
                  <a:pt x="12172320" y="2726425"/>
                  <a:pt x="12168000" y="2726425"/>
                </a:cubicBezTo>
                <a:cubicBezTo>
                  <a:pt x="12168000" y="2726425"/>
                  <a:pt x="12167840" y="2726425"/>
                  <a:pt x="12167840" y="2726425"/>
                </a:cubicBezTo>
                <a:cubicBezTo>
                  <a:pt x="12055360" y="2728985"/>
                  <a:pt x="11913760" y="2703225"/>
                  <a:pt x="11853600" y="2685465"/>
                </a:cubicBezTo>
                <a:cubicBezTo>
                  <a:pt x="11800960" y="2669945"/>
                  <a:pt x="11686720" y="2618585"/>
                  <a:pt x="11606720" y="2578105"/>
                </a:cubicBezTo>
                <a:cubicBezTo>
                  <a:pt x="11567680" y="2558265"/>
                  <a:pt x="11526560" y="2518425"/>
                  <a:pt x="11496160" y="2484825"/>
                </a:cubicBezTo>
                <a:cubicBezTo>
                  <a:pt x="11534240" y="2509305"/>
                  <a:pt x="11610400" y="2553145"/>
                  <a:pt x="11657920" y="2580505"/>
                </a:cubicBezTo>
                <a:cubicBezTo>
                  <a:pt x="11672160" y="2588665"/>
                  <a:pt x="11683680" y="2595225"/>
                  <a:pt x="11690400" y="2599225"/>
                </a:cubicBezTo>
                <a:cubicBezTo>
                  <a:pt x="11712000" y="2612025"/>
                  <a:pt x="11763040" y="2622745"/>
                  <a:pt x="11804000" y="2631385"/>
                </a:cubicBezTo>
                <a:cubicBezTo>
                  <a:pt x="11822560" y="2635385"/>
                  <a:pt x="11840160" y="2639065"/>
                  <a:pt x="11845440" y="2641145"/>
                </a:cubicBezTo>
                <a:cubicBezTo>
                  <a:pt x="11855520" y="2645145"/>
                  <a:pt x="11946720" y="2680825"/>
                  <a:pt x="12016960" y="2678425"/>
                </a:cubicBezTo>
                <a:cubicBezTo>
                  <a:pt x="12082080" y="2676185"/>
                  <a:pt x="12165121" y="2667065"/>
                  <a:pt x="12165920" y="2666905"/>
                </a:cubicBezTo>
                <a:cubicBezTo>
                  <a:pt x="12170240" y="2666425"/>
                  <a:pt x="12173440" y="2662425"/>
                  <a:pt x="12172960" y="2657945"/>
                </a:cubicBezTo>
                <a:cubicBezTo>
                  <a:pt x="12172480" y="2653465"/>
                  <a:pt x="12168640" y="2650265"/>
                  <a:pt x="12164160" y="2650745"/>
                </a:cubicBezTo>
                <a:cubicBezTo>
                  <a:pt x="12163200" y="2650745"/>
                  <a:pt x="12080960" y="2659865"/>
                  <a:pt x="12016320" y="2662105"/>
                </a:cubicBezTo>
                <a:cubicBezTo>
                  <a:pt x="11949280" y="2664345"/>
                  <a:pt x="11860960" y="2629945"/>
                  <a:pt x="11851200" y="2625945"/>
                </a:cubicBezTo>
                <a:cubicBezTo>
                  <a:pt x="11844640" y="2623385"/>
                  <a:pt x="11828800" y="2620025"/>
                  <a:pt x="11807040" y="2615385"/>
                </a:cubicBezTo>
                <a:cubicBezTo>
                  <a:pt x="11769280" y="2607385"/>
                  <a:pt x="11717440" y="2596505"/>
                  <a:pt x="11698080" y="2585145"/>
                </a:cubicBezTo>
                <a:cubicBezTo>
                  <a:pt x="11691360" y="2581145"/>
                  <a:pt x="11679840" y="2574425"/>
                  <a:pt x="11665440" y="2566265"/>
                </a:cubicBezTo>
                <a:cubicBezTo>
                  <a:pt x="11612640" y="2535865"/>
                  <a:pt x="11524160" y="2485145"/>
                  <a:pt x="11493121" y="2463705"/>
                </a:cubicBezTo>
                <a:cubicBezTo>
                  <a:pt x="11457920" y="2439385"/>
                  <a:pt x="11465121" y="2396505"/>
                  <a:pt x="11465121" y="2396025"/>
                </a:cubicBezTo>
                <a:cubicBezTo>
                  <a:pt x="11465121" y="2395225"/>
                  <a:pt x="11465280" y="2394425"/>
                  <a:pt x="11465121" y="2393625"/>
                </a:cubicBezTo>
                <a:cubicBezTo>
                  <a:pt x="11465121" y="2393145"/>
                  <a:pt x="11459520" y="2345625"/>
                  <a:pt x="11459520" y="2332505"/>
                </a:cubicBezTo>
                <a:cubicBezTo>
                  <a:pt x="11459520" y="2322105"/>
                  <a:pt x="11451200" y="2312825"/>
                  <a:pt x="11442400" y="2303065"/>
                </a:cubicBezTo>
                <a:cubicBezTo>
                  <a:pt x="11435520" y="2295385"/>
                  <a:pt x="11428320" y="2287385"/>
                  <a:pt x="11424800" y="2278905"/>
                </a:cubicBezTo>
                <a:cubicBezTo>
                  <a:pt x="11418560" y="2263865"/>
                  <a:pt x="11424960" y="2227545"/>
                  <a:pt x="11428000" y="2214905"/>
                </a:cubicBezTo>
                <a:cubicBezTo>
                  <a:pt x="11428160" y="2214105"/>
                  <a:pt x="11428160" y="2213305"/>
                  <a:pt x="11428160" y="2212505"/>
                </a:cubicBezTo>
                <a:cubicBezTo>
                  <a:pt x="11428000" y="2210425"/>
                  <a:pt x="11424960" y="2159705"/>
                  <a:pt x="11404320" y="2121785"/>
                </a:cubicBezTo>
                <a:cubicBezTo>
                  <a:pt x="11382400" y="2081625"/>
                  <a:pt x="11287840" y="2023545"/>
                  <a:pt x="11256320" y="2016665"/>
                </a:cubicBezTo>
                <a:cubicBezTo>
                  <a:pt x="11244160" y="2013945"/>
                  <a:pt x="11226720" y="2010905"/>
                  <a:pt x="11206400" y="2007385"/>
                </a:cubicBezTo>
                <a:cubicBezTo>
                  <a:pt x="11173121" y="2001625"/>
                  <a:pt x="11131840" y="1994425"/>
                  <a:pt x="11088000" y="1984505"/>
                </a:cubicBezTo>
                <a:cubicBezTo>
                  <a:pt x="11060800" y="1978425"/>
                  <a:pt x="11019200" y="1976505"/>
                  <a:pt x="10977280" y="1976505"/>
                </a:cubicBezTo>
                <a:cubicBezTo>
                  <a:pt x="10908320" y="1976505"/>
                  <a:pt x="10839200" y="1981785"/>
                  <a:pt x="10834560" y="1982105"/>
                </a:cubicBezTo>
                <a:cubicBezTo>
                  <a:pt x="10832480" y="1982425"/>
                  <a:pt x="10693600" y="2005145"/>
                  <a:pt x="10606560" y="2009625"/>
                </a:cubicBezTo>
                <a:cubicBezTo>
                  <a:pt x="10536800" y="2013145"/>
                  <a:pt x="10492960" y="2037625"/>
                  <a:pt x="10454400" y="2059225"/>
                </a:cubicBezTo>
                <a:cubicBezTo>
                  <a:pt x="10442880" y="2065625"/>
                  <a:pt x="10432000" y="2071705"/>
                  <a:pt x="10420960" y="2076985"/>
                </a:cubicBezTo>
                <a:cubicBezTo>
                  <a:pt x="10373600" y="2099385"/>
                  <a:pt x="10280480" y="2126745"/>
                  <a:pt x="10279520" y="2127065"/>
                </a:cubicBezTo>
                <a:cubicBezTo>
                  <a:pt x="10277760" y="2127545"/>
                  <a:pt x="10276320" y="2128665"/>
                  <a:pt x="10275360" y="2130105"/>
                </a:cubicBezTo>
                <a:cubicBezTo>
                  <a:pt x="10263520" y="2128185"/>
                  <a:pt x="10251680" y="2125945"/>
                  <a:pt x="10239680" y="2123545"/>
                </a:cubicBezTo>
                <a:cubicBezTo>
                  <a:pt x="10264480" y="2111385"/>
                  <a:pt x="10316320" y="2086105"/>
                  <a:pt x="10353920" y="2065945"/>
                </a:cubicBezTo>
                <a:cubicBezTo>
                  <a:pt x="10361920" y="2061625"/>
                  <a:pt x="10370240" y="2056825"/>
                  <a:pt x="10379200" y="2051865"/>
                </a:cubicBezTo>
                <a:cubicBezTo>
                  <a:pt x="10427040" y="2024825"/>
                  <a:pt x="10486720" y="1991065"/>
                  <a:pt x="10549760" y="1991065"/>
                </a:cubicBezTo>
                <a:cubicBezTo>
                  <a:pt x="10624800" y="1991065"/>
                  <a:pt x="10703840" y="1978265"/>
                  <a:pt x="10787520" y="1964825"/>
                </a:cubicBezTo>
                <a:lnTo>
                  <a:pt x="10796320" y="1963385"/>
                </a:lnTo>
                <a:cubicBezTo>
                  <a:pt x="10811200" y="1960985"/>
                  <a:pt x="10826080" y="1958265"/>
                  <a:pt x="10840960" y="1955545"/>
                </a:cubicBezTo>
                <a:cubicBezTo>
                  <a:pt x="10911840" y="1942905"/>
                  <a:pt x="10984960" y="1929625"/>
                  <a:pt x="11085121" y="1942745"/>
                </a:cubicBezTo>
                <a:cubicBezTo>
                  <a:pt x="11206400" y="1958745"/>
                  <a:pt x="11270080" y="1965785"/>
                  <a:pt x="11270720" y="1965785"/>
                </a:cubicBezTo>
                <a:cubicBezTo>
                  <a:pt x="11311040" y="1975545"/>
                  <a:pt x="11419040" y="2012505"/>
                  <a:pt x="11423360" y="2064185"/>
                </a:cubicBezTo>
                <a:cubicBezTo>
                  <a:pt x="11426560" y="2103385"/>
                  <a:pt x="11436960" y="2135065"/>
                  <a:pt x="11446080" y="2162905"/>
                </a:cubicBezTo>
                <a:cubicBezTo>
                  <a:pt x="11453121" y="2184345"/>
                  <a:pt x="11459200" y="2202905"/>
                  <a:pt x="11460320" y="2220185"/>
                </a:cubicBezTo>
                <a:cubicBezTo>
                  <a:pt x="11463200" y="2262105"/>
                  <a:pt x="11474560" y="2296505"/>
                  <a:pt x="11475040" y="2297945"/>
                </a:cubicBezTo>
                <a:cubicBezTo>
                  <a:pt x="11475040" y="2297945"/>
                  <a:pt x="11483200" y="2335705"/>
                  <a:pt x="11483200" y="2361945"/>
                </a:cubicBezTo>
                <a:cubicBezTo>
                  <a:pt x="11483200" y="2390585"/>
                  <a:pt x="11505760" y="2452025"/>
                  <a:pt x="11524960" y="2475065"/>
                </a:cubicBezTo>
                <a:cubicBezTo>
                  <a:pt x="11544480" y="2498585"/>
                  <a:pt x="11657121" y="2564985"/>
                  <a:pt x="11706560" y="2574265"/>
                </a:cubicBezTo>
                <a:cubicBezTo>
                  <a:pt x="11752320" y="2583065"/>
                  <a:pt x="11837280" y="2599545"/>
                  <a:pt x="11865920" y="2606425"/>
                </a:cubicBezTo>
                <a:cubicBezTo>
                  <a:pt x="11888640" y="2611865"/>
                  <a:pt x="12019680" y="2635225"/>
                  <a:pt x="12092640" y="2613145"/>
                </a:cubicBezTo>
                <a:lnTo>
                  <a:pt x="12161121" y="2592505"/>
                </a:lnTo>
                <a:cubicBezTo>
                  <a:pt x="12165440" y="2591225"/>
                  <a:pt x="12167840" y="2586745"/>
                  <a:pt x="12166560" y="2582425"/>
                </a:cubicBezTo>
                <a:cubicBezTo>
                  <a:pt x="12165280" y="2578105"/>
                  <a:pt x="12160800" y="2575705"/>
                  <a:pt x="12156640" y="2576985"/>
                </a:cubicBezTo>
                <a:lnTo>
                  <a:pt x="12088160" y="2597625"/>
                </a:lnTo>
                <a:cubicBezTo>
                  <a:pt x="12024800" y="2616665"/>
                  <a:pt x="11904160" y="2598905"/>
                  <a:pt x="11869760" y="2590585"/>
                </a:cubicBezTo>
                <a:cubicBezTo>
                  <a:pt x="11842720" y="2584025"/>
                  <a:pt x="11766560" y="2568985"/>
                  <a:pt x="11709600" y="2558265"/>
                </a:cubicBezTo>
                <a:cubicBezTo>
                  <a:pt x="11662400" y="2549305"/>
                  <a:pt x="11553121" y="2483385"/>
                  <a:pt x="11537440" y="2464505"/>
                </a:cubicBezTo>
                <a:cubicBezTo>
                  <a:pt x="11520640" y="2444185"/>
                  <a:pt x="11499360" y="2386585"/>
                  <a:pt x="11499360" y="2361625"/>
                </a:cubicBezTo>
                <a:cubicBezTo>
                  <a:pt x="11499360" y="2333625"/>
                  <a:pt x="11490880" y="2294905"/>
                  <a:pt x="11490560" y="2293305"/>
                </a:cubicBezTo>
                <a:cubicBezTo>
                  <a:pt x="11490240" y="2292025"/>
                  <a:pt x="11479200" y="2258425"/>
                  <a:pt x="11476480" y="2218585"/>
                </a:cubicBezTo>
                <a:cubicBezTo>
                  <a:pt x="11475200" y="2199225"/>
                  <a:pt x="11468800" y="2179865"/>
                  <a:pt x="11461440" y="2157305"/>
                </a:cubicBezTo>
                <a:cubicBezTo>
                  <a:pt x="11452480" y="2130265"/>
                  <a:pt x="11442400" y="2099705"/>
                  <a:pt x="11439360" y="2062265"/>
                </a:cubicBezTo>
                <a:cubicBezTo>
                  <a:pt x="11433280" y="1988345"/>
                  <a:pt x="11280000" y="1951065"/>
                  <a:pt x="11273440" y="1949465"/>
                </a:cubicBezTo>
                <a:cubicBezTo>
                  <a:pt x="11271840" y="1949145"/>
                  <a:pt x="11208320" y="1942105"/>
                  <a:pt x="11087200" y="1926265"/>
                </a:cubicBezTo>
                <a:cubicBezTo>
                  <a:pt x="11057121" y="1922265"/>
                  <a:pt x="11029280" y="1920665"/>
                  <a:pt x="11003360" y="1920665"/>
                </a:cubicBezTo>
                <a:cubicBezTo>
                  <a:pt x="10940960" y="1920665"/>
                  <a:pt x="10888960" y="1930105"/>
                  <a:pt x="10838240" y="1939225"/>
                </a:cubicBezTo>
                <a:cubicBezTo>
                  <a:pt x="10823360" y="1941945"/>
                  <a:pt x="10808640" y="1944505"/>
                  <a:pt x="10793920" y="1946905"/>
                </a:cubicBezTo>
                <a:lnTo>
                  <a:pt x="10785121" y="1948345"/>
                </a:lnTo>
                <a:cubicBezTo>
                  <a:pt x="10702080" y="1961785"/>
                  <a:pt x="10623680" y="1974425"/>
                  <a:pt x="10549920" y="1974425"/>
                </a:cubicBezTo>
                <a:cubicBezTo>
                  <a:pt x="10482720" y="1974425"/>
                  <a:pt x="10421121" y="2009305"/>
                  <a:pt x="10371520" y="2037305"/>
                </a:cubicBezTo>
                <a:cubicBezTo>
                  <a:pt x="10362720" y="2042265"/>
                  <a:pt x="10354240" y="2047065"/>
                  <a:pt x="10346400" y="2051225"/>
                </a:cubicBezTo>
                <a:cubicBezTo>
                  <a:pt x="10295840" y="2078425"/>
                  <a:pt x="10219200" y="2115065"/>
                  <a:pt x="10218400" y="2115385"/>
                </a:cubicBezTo>
                <a:cubicBezTo>
                  <a:pt x="10217121" y="2115865"/>
                  <a:pt x="10216320" y="2116825"/>
                  <a:pt x="10215520" y="2117785"/>
                </a:cubicBezTo>
                <a:cubicBezTo>
                  <a:pt x="10193440" y="2112825"/>
                  <a:pt x="10171360" y="2107065"/>
                  <a:pt x="10149600" y="2100505"/>
                </a:cubicBezTo>
                <a:cubicBezTo>
                  <a:pt x="10193760" y="2095545"/>
                  <a:pt x="10273121" y="2081945"/>
                  <a:pt x="10331680" y="2044505"/>
                </a:cubicBezTo>
                <a:cubicBezTo>
                  <a:pt x="10413920" y="1991865"/>
                  <a:pt x="10441440" y="1974265"/>
                  <a:pt x="10547520" y="1967545"/>
                </a:cubicBezTo>
                <a:cubicBezTo>
                  <a:pt x="10651040" y="1960825"/>
                  <a:pt x="10739840" y="1941785"/>
                  <a:pt x="10805600" y="1925945"/>
                </a:cubicBezTo>
                <a:cubicBezTo>
                  <a:pt x="10815520" y="1923545"/>
                  <a:pt x="10826720" y="1920505"/>
                  <a:pt x="10838880" y="1917145"/>
                </a:cubicBezTo>
                <a:cubicBezTo>
                  <a:pt x="10896000" y="1901625"/>
                  <a:pt x="10974080" y="1880505"/>
                  <a:pt x="11047840" y="1891545"/>
                </a:cubicBezTo>
                <a:cubicBezTo>
                  <a:pt x="11066720" y="1894265"/>
                  <a:pt x="11082400" y="1896825"/>
                  <a:pt x="11095840" y="1898905"/>
                </a:cubicBezTo>
                <a:cubicBezTo>
                  <a:pt x="11147360" y="1907065"/>
                  <a:pt x="11168640" y="1910265"/>
                  <a:pt x="11225760" y="1912185"/>
                </a:cubicBezTo>
                <a:cubicBezTo>
                  <a:pt x="11324320" y="1915385"/>
                  <a:pt x="11440320" y="1935385"/>
                  <a:pt x="11470400" y="1982105"/>
                </a:cubicBezTo>
                <a:cubicBezTo>
                  <a:pt x="11506240" y="2037625"/>
                  <a:pt x="11506240" y="2070265"/>
                  <a:pt x="11506240" y="2101785"/>
                </a:cubicBezTo>
                <a:lnTo>
                  <a:pt x="11506080" y="2113785"/>
                </a:lnTo>
                <a:cubicBezTo>
                  <a:pt x="11505760" y="2143225"/>
                  <a:pt x="11505280" y="2176345"/>
                  <a:pt x="11521600" y="2202585"/>
                </a:cubicBezTo>
                <a:cubicBezTo>
                  <a:pt x="11537440" y="2228025"/>
                  <a:pt x="11539840" y="2278585"/>
                  <a:pt x="11538080" y="2285145"/>
                </a:cubicBezTo>
                <a:cubicBezTo>
                  <a:pt x="11538080" y="2285145"/>
                  <a:pt x="11537600" y="2285945"/>
                  <a:pt x="11536960" y="2287065"/>
                </a:cubicBezTo>
                <a:cubicBezTo>
                  <a:pt x="11491520" y="2367065"/>
                  <a:pt x="11506080" y="2439065"/>
                  <a:pt x="11578080" y="2489785"/>
                </a:cubicBezTo>
                <a:cubicBezTo>
                  <a:pt x="11692800" y="2570585"/>
                  <a:pt x="11868960" y="2576025"/>
                  <a:pt x="11876320" y="2576185"/>
                </a:cubicBezTo>
                <a:cubicBezTo>
                  <a:pt x="11880320" y="2576345"/>
                  <a:pt x="11980640" y="2582905"/>
                  <a:pt x="12038240" y="2568985"/>
                </a:cubicBezTo>
                <a:cubicBezTo>
                  <a:pt x="12093760" y="2555545"/>
                  <a:pt x="12172480" y="2555385"/>
                  <a:pt x="12173280" y="2555385"/>
                </a:cubicBezTo>
                <a:cubicBezTo>
                  <a:pt x="12177760" y="2555385"/>
                  <a:pt x="12181280" y="2551705"/>
                  <a:pt x="12181280" y="2547385"/>
                </a:cubicBezTo>
                <a:cubicBezTo>
                  <a:pt x="12181280" y="2543065"/>
                  <a:pt x="12177760" y="2539385"/>
                  <a:pt x="12173280" y="2539385"/>
                </a:cubicBezTo>
                <a:cubicBezTo>
                  <a:pt x="12169920" y="2539385"/>
                  <a:pt x="12091680" y="2539545"/>
                  <a:pt x="12034400" y="2553465"/>
                </a:cubicBezTo>
                <a:cubicBezTo>
                  <a:pt x="11979200" y="2566745"/>
                  <a:pt x="11877920" y="2560185"/>
                  <a:pt x="11876960" y="2560185"/>
                </a:cubicBezTo>
                <a:cubicBezTo>
                  <a:pt x="11874880" y="2560185"/>
                  <a:pt x="11697920" y="2554745"/>
                  <a:pt x="11587200" y="2476665"/>
                </a:cubicBezTo>
                <a:cubicBezTo>
                  <a:pt x="11504960" y="2418745"/>
                  <a:pt x="11521920" y="2345945"/>
                  <a:pt x="11550720" y="2295225"/>
                </a:cubicBezTo>
                <a:cubicBezTo>
                  <a:pt x="11552000" y="2293145"/>
                  <a:pt x="11552640" y="2291705"/>
                  <a:pt x="11552960" y="2291065"/>
                </a:cubicBezTo>
                <a:cubicBezTo>
                  <a:pt x="11556800" y="2281625"/>
                  <a:pt x="11553440" y="2223545"/>
                  <a:pt x="11535200" y="2194105"/>
                </a:cubicBezTo>
                <a:cubicBezTo>
                  <a:pt x="11521440" y="2172025"/>
                  <a:pt x="11521760" y="2142585"/>
                  <a:pt x="11522080" y="2114105"/>
                </a:cubicBezTo>
                <a:lnTo>
                  <a:pt x="11522240" y="2101945"/>
                </a:lnTo>
                <a:cubicBezTo>
                  <a:pt x="11522240" y="2069625"/>
                  <a:pt x="11522240" y="2032825"/>
                  <a:pt x="11483840" y="1973465"/>
                </a:cubicBezTo>
                <a:cubicBezTo>
                  <a:pt x="11442880" y="1910105"/>
                  <a:pt x="11290240" y="1898425"/>
                  <a:pt x="11226400" y="1896345"/>
                </a:cubicBezTo>
                <a:cubicBezTo>
                  <a:pt x="11170240" y="1894585"/>
                  <a:pt x="11149280" y="1891225"/>
                  <a:pt x="11098400" y="1883225"/>
                </a:cubicBezTo>
                <a:cubicBezTo>
                  <a:pt x="11084960" y="1881145"/>
                  <a:pt x="11069280" y="1878745"/>
                  <a:pt x="11050400" y="1875865"/>
                </a:cubicBezTo>
                <a:cubicBezTo>
                  <a:pt x="11035200" y="1873465"/>
                  <a:pt x="11019840" y="1872505"/>
                  <a:pt x="11004640" y="1872505"/>
                </a:cubicBezTo>
                <a:cubicBezTo>
                  <a:pt x="10942560" y="1872505"/>
                  <a:pt x="10881760" y="1888985"/>
                  <a:pt x="10834880" y="1901785"/>
                </a:cubicBezTo>
                <a:cubicBezTo>
                  <a:pt x="10822880" y="1904985"/>
                  <a:pt x="10811840" y="1908025"/>
                  <a:pt x="10801920" y="1910425"/>
                </a:cubicBezTo>
                <a:cubicBezTo>
                  <a:pt x="10736800" y="1926105"/>
                  <a:pt x="10648960" y="1944985"/>
                  <a:pt x="10546560" y="1951545"/>
                </a:cubicBezTo>
                <a:cubicBezTo>
                  <a:pt x="10436320" y="1958425"/>
                  <a:pt x="10405600" y="1978105"/>
                  <a:pt x="10323680" y="2030425"/>
                </a:cubicBezTo>
                <a:cubicBezTo>
                  <a:pt x="10243040" y="2081945"/>
                  <a:pt x="10117121" y="2087065"/>
                  <a:pt x="10115840" y="2087065"/>
                </a:cubicBezTo>
                <a:cubicBezTo>
                  <a:pt x="10114400" y="2087065"/>
                  <a:pt x="10113121" y="2087545"/>
                  <a:pt x="10112000" y="2088345"/>
                </a:cubicBezTo>
                <a:cubicBezTo>
                  <a:pt x="10095680" y="2082585"/>
                  <a:pt x="10080000" y="2076345"/>
                  <a:pt x="10064960" y="2069785"/>
                </a:cubicBezTo>
                <a:cubicBezTo>
                  <a:pt x="10112960" y="2069465"/>
                  <a:pt x="10194880" y="2063705"/>
                  <a:pt x="10243040" y="2032985"/>
                </a:cubicBezTo>
                <a:cubicBezTo>
                  <a:pt x="10298560" y="1997625"/>
                  <a:pt x="10388640" y="1952665"/>
                  <a:pt x="10502080" y="1940025"/>
                </a:cubicBezTo>
                <a:cubicBezTo>
                  <a:pt x="10597600" y="1929305"/>
                  <a:pt x="10697920" y="1909465"/>
                  <a:pt x="10757600" y="1889145"/>
                </a:cubicBezTo>
                <a:cubicBezTo>
                  <a:pt x="10814240" y="1869945"/>
                  <a:pt x="10875040" y="1853145"/>
                  <a:pt x="10994560" y="1855065"/>
                </a:cubicBezTo>
                <a:cubicBezTo>
                  <a:pt x="11076480" y="1856505"/>
                  <a:pt x="11138080" y="1860185"/>
                  <a:pt x="11187680" y="1863065"/>
                </a:cubicBezTo>
                <a:cubicBezTo>
                  <a:pt x="11212320" y="1864505"/>
                  <a:pt x="11234240" y="1865785"/>
                  <a:pt x="11254080" y="1866585"/>
                </a:cubicBezTo>
                <a:cubicBezTo>
                  <a:pt x="11261760" y="1866905"/>
                  <a:pt x="11270880" y="1867065"/>
                  <a:pt x="11281121" y="1867225"/>
                </a:cubicBezTo>
                <a:cubicBezTo>
                  <a:pt x="11350880" y="1868665"/>
                  <a:pt x="11467680" y="1870905"/>
                  <a:pt x="11520320" y="1915225"/>
                </a:cubicBezTo>
                <a:cubicBezTo>
                  <a:pt x="11578560" y="1964345"/>
                  <a:pt x="11600160" y="2003705"/>
                  <a:pt x="11597280" y="2055705"/>
                </a:cubicBezTo>
                <a:cubicBezTo>
                  <a:pt x="11596000" y="2077305"/>
                  <a:pt x="11592000" y="2094905"/>
                  <a:pt x="11588320" y="2110425"/>
                </a:cubicBezTo>
                <a:cubicBezTo>
                  <a:pt x="11583200" y="2132185"/>
                  <a:pt x="11578720" y="2151065"/>
                  <a:pt x="11586400" y="2169465"/>
                </a:cubicBezTo>
                <a:cubicBezTo>
                  <a:pt x="11596480" y="2193625"/>
                  <a:pt x="11602880" y="2226745"/>
                  <a:pt x="11602880" y="2253625"/>
                </a:cubicBezTo>
                <a:cubicBezTo>
                  <a:pt x="11602880" y="2273625"/>
                  <a:pt x="11588000" y="2308665"/>
                  <a:pt x="11575360" y="2332505"/>
                </a:cubicBezTo>
                <a:cubicBezTo>
                  <a:pt x="11544960" y="2389785"/>
                  <a:pt x="11548000" y="2433465"/>
                  <a:pt x="11584000" y="2455705"/>
                </a:cubicBezTo>
                <a:lnTo>
                  <a:pt x="11587680" y="2457945"/>
                </a:lnTo>
                <a:cubicBezTo>
                  <a:pt x="11635680" y="2487705"/>
                  <a:pt x="11690240" y="2521305"/>
                  <a:pt x="11759040" y="2523545"/>
                </a:cubicBezTo>
                <a:cubicBezTo>
                  <a:pt x="11787360" y="2524505"/>
                  <a:pt x="11814720" y="2527065"/>
                  <a:pt x="11838880" y="2529305"/>
                </a:cubicBezTo>
                <a:cubicBezTo>
                  <a:pt x="11873440" y="2532665"/>
                  <a:pt x="11903360" y="2535545"/>
                  <a:pt x="11925760" y="2532665"/>
                </a:cubicBezTo>
                <a:cubicBezTo>
                  <a:pt x="11936960" y="2531385"/>
                  <a:pt x="11957440" y="2528185"/>
                  <a:pt x="11982240" y="2524505"/>
                </a:cubicBezTo>
                <a:cubicBezTo>
                  <a:pt x="12040160" y="2515865"/>
                  <a:pt x="12119520" y="2503865"/>
                  <a:pt x="12164960" y="2500665"/>
                </a:cubicBezTo>
                <a:cubicBezTo>
                  <a:pt x="12169280" y="2500345"/>
                  <a:pt x="12172640" y="2496505"/>
                  <a:pt x="12172320" y="2492025"/>
                </a:cubicBezTo>
                <a:cubicBezTo>
                  <a:pt x="12172000" y="2487545"/>
                  <a:pt x="12168160" y="2484185"/>
                  <a:pt x="12163840" y="2484505"/>
                </a:cubicBezTo>
                <a:cubicBezTo>
                  <a:pt x="12117760" y="2487705"/>
                  <a:pt x="12038080" y="2499705"/>
                  <a:pt x="11979840" y="2508505"/>
                </a:cubicBezTo>
                <a:cubicBezTo>
                  <a:pt x="11955200" y="2512185"/>
                  <a:pt x="11935040" y="2515225"/>
                  <a:pt x="11923840" y="2516665"/>
                </a:cubicBezTo>
                <a:cubicBezTo>
                  <a:pt x="11903040" y="2519225"/>
                  <a:pt x="11873920" y="2516505"/>
                  <a:pt x="11840320" y="2513305"/>
                </a:cubicBezTo>
                <a:cubicBezTo>
                  <a:pt x="11816000" y="2510905"/>
                  <a:pt x="11788320" y="2508345"/>
                  <a:pt x="11759520" y="2507385"/>
                </a:cubicBezTo>
                <a:cubicBezTo>
                  <a:pt x="11694880" y="2505145"/>
                  <a:pt x="11642400" y="2472825"/>
                  <a:pt x="11596000" y="2444185"/>
                </a:cubicBezTo>
                <a:lnTo>
                  <a:pt x="11592320" y="2441945"/>
                </a:lnTo>
                <a:cubicBezTo>
                  <a:pt x="11554880" y="2418905"/>
                  <a:pt x="11574400" y="2368185"/>
                  <a:pt x="11589440" y="2340025"/>
                </a:cubicBezTo>
                <a:cubicBezTo>
                  <a:pt x="11594240" y="2330745"/>
                  <a:pt x="11618880" y="2283225"/>
                  <a:pt x="11618880" y="2253465"/>
                </a:cubicBezTo>
                <a:cubicBezTo>
                  <a:pt x="11618880" y="2224505"/>
                  <a:pt x="11611840" y="2189145"/>
                  <a:pt x="11601121" y="2163065"/>
                </a:cubicBezTo>
                <a:cubicBezTo>
                  <a:pt x="11595520" y="2149465"/>
                  <a:pt x="11599040" y="2134425"/>
                  <a:pt x="11603840" y="2113785"/>
                </a:cubicBezTo>
                <a:cubicBezTo>
                  <a:pt x="11607520" y="2097625"/>
                  <a:pt x="11611840" y="2079385"/>
                  <a:pt x="11613121" y="2056345"/>
                </a:cubicBezTo>
                <a:cubicBezTo>
                  <a:pt x="11616320" y="1998585"/>
                  <a:pt x="11593121" y="1955545"/>
                  <a:pt x="11530400" y="1902745"/>
                </a:cubicBezTo>
                <a:cubicBezTo>
                  <a:pt x="11473600" y="1854905"/>
                  <a:pt x="11353121" y="1852505"/>
                  <a:pt x="11281280" y="1851065"/>
                </a:cubicBezTo>
                <a:cubicBezTo>
                  <a:pt x="11271200" y="1850905"/>
                  <a:pt x="11262080" y="1850745"/>
                  <a:pt x="11254560" y="1850425"/>
                </a:cubicBezTo>
                <a:cubicBezTo>
                  <a:pt x="11234720" y="1849625"/>
                  <a:pt x="11213121" y="1848345"/>
                  <a:pt x="11188480" y="1846905"/>
                </a:cubicBezTo>
                <a:cubicBezTo>
                  <a:pt x="11138880" y="1844025"/>
                  <a:pt x="11077121" y="1840505"/>
                  <a:pt x="10994880" y="1838905"/>
                </a:cubicBezTo>
                <a:cubicBezTo>
                  <a:pt x="10987840" y="1838745"/>
                  <a:pt x="10981121" y="1838745"/>
                  <a:pt x="10974560" y="1838745"/>
                </a:cubicBezTo>
                <a:cubicBezTo>
                  <a:pt x="10865440" y="1838745"/>
                  <a:pt x="10804960" y="1856025"/>
                  <a:pt x="10752480" y="1873785"/>
                </a:cubicBezTo>
                <a:cubicBezTo>
                  <a:pt x="10693600" y="1893785"/>
                  <a:pt x="10594560" y="1913465"/>
                  <a:pt x="10500160" y="1924025"/>
                </a:cubicBezTo>
                <a:cubicBezTo>
                  <a:pt x="10383520" y="1936985"/>
                  <a:pt x="10291200" y="1983065"/>
                  <a:pt x="10234240" y="2019385"/>
                </a:cubicBezTo>
                <a:cubicBezTo>
                  <a:pt x="10172640" y="2058745"/>
                  <a:pt x="10045121" y="2053945"/>
                  <a:pt x="10029121" y="2053145"/>
                </a:cubicBezTo>
                <a:cubicBezTo>
                  <a:pt x="10016320" y="2046425"/>
                  <a:pt x="10003840" y="2039225"/>
                  <a:pt x="9991840" y="2031545"/>
                </a:cubicBezTo>
                <a:cubicBezTo>
                  <a:pt x="10037121" y="2028185"/>
                  <a:pt x="10153920" y="2016665"/>
                  <a:pt x="10230240" y="1983065"/>
                </a:cubicBezTo>
                <a:cubicBezTo>
                  <a:pt x="10322400" y="1942585"/>
                  <a:pt x="10520320" y="1910425"/>
                  <a:pt x="10522240" y="1910105"/>
                </a:cubicBezTo>
                <a:cubicBezTo>
                  <a:pt x="10524160" y="1909625"/>
                  <a:pt x="10666720" y="1877465"/>
                  <a:pt x="10757280" y="1850105"/>
                </a:cubicBezTo>
                <a:lnTo>
                  <a:pt x="10771520" y="1845785"/>
                </a:lnTo>
                <a:cubicBezTo>
                  <a:pt x="10853600" y="1820985"/>
                  <a:pt x="10907680" y="1804505"/>
                  <a:pt x="11014560" y="1804505"/>
                </a:cubicBezTo>
                <a:cubicBezTo>
                  <a:pt x="11062080" y="1804505"/>
                  <a:pt x="11114720" y="1803065"/>
                  <a:pt x="11165600" y="1801465"/>
                </a:cubicBezTo>
                <a:cubicBezTo>
                  <a:pt x="11237280" y="1799385"/>
                  <a:pt x="11304960" y="1797305"/>
                  <a:pt x="11348000" y="1800025"/>
                </a:cubicBezTo>
                <a:cubicBezTo>
                  <a:pt x="11417440" y="1804345"/>
                  <a:pt x="11543520" y="1832985"/>
                  <a:pt x="11605920" y="1883225"/>
                </a:cubicBezTo>
                <a:cubicBezTo>
                  <a:pt x="11678560" y="1941785"/>
                  <a:pt x="11708480" y="1996825"/>
                  <a:pt x="11694560" y="2047065"/>
                </a:cubicBezTo>
                <a:cubicBezTo>
                  <a:pt x="11688320" y="2069625"/>
                  <a:pt x="11680800" y="2085625"/>
                  <a:pt x="11674720" y="2098425"/>
                </a:cubicBezTo>
                <a:cubicBezTo>
                  <a:pt x="11664000" y="2121305"/>
                  <a:pt x="11656160" y="2137785"/>
                  <a:pt x="11666240" y="2166745"/>
                </a:cubicBezTo>
                <a:cubicBezTo>
                  <a:pt x="11680480" y="2208025"/>
                  <a:pt x="11676000" y="2245305"/>
                  <a:pt x="11653440" y="2271385"/>
                </a:cubicBezTo>
                <a:cubicBezTo>
                  <a:pt x="11626720" y="2302585"/>
                  <a:pt x="11600320" y="2336025"/>
                  <a:pt x="11597280" y="2372505"/>
                </a:cubicBezTo>
                <a:cubicBezTo>
                  <a:pt x="11593600" y="2416505"/>
                  <a:pt x="11638080" y="2435705"/>
                  <a:pt x="11677121" y="2447545"/>
                </a:cubicBezTo>
                <a:cubicBezTo>
                  <a:pt x="11722880" y="2461305"/>
                  <a:pt x="11873280" y="2482585"/>
                  <a:pt x="11906560" y="2475225"/>
                </a:cubicBezTo>
                <a:cubicBezTo>
                  <a:pt x="11912800" y="2473785"/>
                  <a:pt x="11921280" y="2471865"/>
                  <a:pt x="11930880" y="2469465"/>
                </a:cubicBezTo>
                <a:cubicBezTo>
                  <a:pt x="11970240" y="2459865"/>
                  <a:pt x="12029600" y="2445465"/>
                  <a:pt x="12067520" y="2445465"/>
                </a:cubicBezTo>
                <a:cubicBezTo>
                  <a:pt x="12115840" y="2445465"/>
                  <a:pt x="12170400" y="2440825"/>
                  <a:pt x="12170880" y="2440825"/>
                </a:cubicBezTo>
                <a:cubicBezTo>
                  <a:pt x="12175360" y="2440505"/>
                  <a:pt x="12178560" y="2436665"/>
                  <a:pt x="12178240" y="2432185"/>
                </a:cubicBezTo>
                <a:cubicBezTo>
                  <a:pt x="12177920" y="2427705"/>
                  <a:pt x="12173920" y="2424505"/>
                  <a:pt x="12169600" y="2424825"/>
                </a:cubicBezTo>
                <a:cubicBezTo>
                  <a:pt x="12168960" y="2424985"/>
                  <a:pt x="12115040" y="2429465"/>
                  <a:pt x="12067520" y="2429465"/>
                </a:cubicBezTo>
                <a:cubicBezTo>
                  <a:pt x="12027840" y="2429465"/>
                  <a:pt x="11967200" y="2444025"/>
                  <a:pt x="11927200" y="2453785"/>
                </a:cubicBezTo>
                <a:cubicBezTo>
                  <a:pt x="11917600" y="2456025"/>
                  <a:pt x="11909440" y="2458105"/>
                  <a:pt x="11903200" y="2459385"/>
                </a:cubicBezTo>
                <a:cubicBezTo>
                  <a:pt x="11875040" y="2465465"/>
                  <a:pt x="11728160" y="2445945"/>
                  <a:pt x="11681760" y="2432025"/>
                </a:cubicBezTo>
                <a:cubicBezTo>
                  <a:pt x="11631680" y="2416825"/>
                  <a:pt x="11611200" y="2399385"/>
                  <a:pt x="11613280" y="2373785"/>
                </a:cubicBezTo>
                <a:cubicBezTo>
                  <a:pt x="11616000" y="2342105"/>
                  <a:pt x="11640640" y="2311065"/>
                  <a:pt x="11665600" y="2281945"/>
                </a:cubicBezTo>
                <a:cubicBezTo>
                  <a:pt x="11692000" y="2251225"/>
                  <a:pt x="11697600" y="2208505"/>
                  <a:pt x="11681440" y="2161465"/>
                </a:cubicBezTo>
                <a:cubicBezTo>
                  <a:pt x="11673600" y="2138745"/>
                  <a:pt x="11679200" y="2126905"/>
                  <a:pt x="11689280" y="2105465"/>
                </a:cubicBezTo>
                <a:cubicBezTo>
                  <a:pt x="11695680" y="2092185"/>
                  <a:pt x="11703520" y="2075545"/>
                  <a:pt x="11710080" y="2051545"/>
                </a:cubicBezTo>
                <a:cubicBezTo>
                  <a:pt x="11725760" y="1994425"/>
                  <a:pt x="11694080" y="1933625"/>
                  <a:pt x="11616000" y="1870745"/>
                </a:cubicBezTo>
                <a:cubicBezTo>
                  <a:pt x="11547040" y="1815385"/>
                  <a:pt x="11415680" y="1788185"/>
                  <a:pt x="11348960" y="1784025"/>
                </a:cubicBezTo>
                <a:cubicBezTo>
                  <a:pt x="11333920" y="1783065"/>
                  <a:pt x="11316000" y="1782745"/>
                  <a:pt x="11296160" y="1782745"/>
                </a:cubicBezTo>
                <a:cubicBezTo>
                  <a:pt x="11257920" y="1782745"/>
                  <a:pt x="11212480" y="1784025"/>
                  <a:pt x="11165121" y="1785465"/>
                </a:cubicBezTo>
                <a:cubicBezTo>
                  <a:pt x="11114240" y="1786905"/>
                  <a:pt x="11061760" y="1788505"/>
                  <a:pt x="11014560" y="1788505"/>
                </a:cubicBezTo>
                <a:cubicBezTo>
                  <a:pt x="10905280" y="1788505"/>
                  <a:pt x="10850240" y="1805145"/>
                  <a:pt x="10766880" y="1830425"/>
                </a:cubicBezTo>
                <a:lnTo>
                  <a:pt x="10752640" y="1834745"/>
                </a:lnTo>
                <a:cubicBezTo>
                  <a:pt x="10662560" y="1861785"/>
                  <a:pt x="10520640" y="1893945"/>
                  <a:pt x="10519200" y="1894265"/>
                </a:cubicBezTo>
                <a:cubicBezTo>
                  <a:pt x="10511520" y="1895545"/>
                  <a:pt x="10317920" y="1927065"/>
                  <a:pt x="10223840" y="1968345"/>
                </a:cubicBezTo>
                <a:cubicBezTo>
                  <a:pt x="10132000" y="2008665"/>
                  <a:pt x="9973920" y="2016665"/>
                  <a:pt x="9972320" y="2016665"/>
                </a:cubicBezTo>
                <a:cubicBezTo>
                  <a:pt x="9971520" y="2016665"/>
                  <a:pt x="9970880" y="2016985"/>
                  <a:pt x="9970240" y="2017145"/>
                </a:cubicBezTo>
                <a:cubicBezTo>
                  <a:pt x="9954240" y="2005785"/>
                  <a:pt x="9939040" y="1993625"/>
                  <a:pt x="9924640" y="1980825"/>
                </a:cubicBezTo>
                <a:cubicBezTo>
                  <a:pt x="9960000" y="1979865"/>
                  <a:pt x="10046080" y="1975865"/>
                  <a:pt x="10131520" y="1958265"/>
                </a:cubicBezTo>
                <a:cubicBezTo>
                  <a:pt x="10242880" y="1935225"/>
                  <a:pt x="10374080" y="1907705"/>
                  <a:pt x="10374080" y="1907705"/>
                </a:cubicBezTo>
                <a:cubicBezTo>
                  <a:pt x="10382400" y="1905625"/>
                  <a:pt x="10571680" y="1859225"/>
                  <a:pt x="10602880" y="1850105"/>
                </a:cubicBezTo>
                <a:cubicBezTo>
                  <a:pt x="10616000" y="1846265"/>
                  <a:pt x="10641760" y="1834105"/>
                  <a:pt x="10671680" y="1820025"/>
                </a:cubicBezTo>
                <a:cubicBezTo>
                  <a:pt x="10715040" y="1799705"/>
                  <a:pt x="10769121" y="1774265"/>
                  <a:pt x="10799200" y="1767545"/>
                </a:cubicBezTo>
                <a:cubicBezTo>
                  <a:pt x="10847360" y="1756665"/>
                  <a:pt x="10943200" y="1744825"/>
                  <a:pt x="11048640" y="1742425"/>
                </a:cubicBezTo>
                <a:cubicBezTo>
                  <a:pt x="11150400" y="1740025"/>
                  <a:pt x="11305121" y="1737785"/>
                  <a:pt x="11333760" y="1737785"/>
                </a:cubicBezTo>
                <a:cubicBezTo>
                  <a:pt x="11360320" y="1737785"/>
                  <a:pt x="11492480" y="1744665"/>
                  <a:pt x="11543200" y="1756025"/>
                </a:cubicBezTo>
                <a:cubicBezTo>
                  <a:pt x="11576320" y="1763385"/>
                  <a:pt x="11607040" y="1787065"/>
                  <a:pt x="11629600" y="1804345"/>
                </a:cubicBezTo>
                <a:cubicBezTo>
                  <a:pt x="11641121" y="1813305"/>
                  <a:pt x="11649440" y="1819705"/>
                  <a:pt x="11656000" y="1822265"/>
                </a:cubicBezTo>
                <a:cubicBezTo>
                  <a:pt x="11671680" y="1828505"/>
                  <a:pt x="11739680" y="1883385"/>
                  <a:pt x="11755520" y="1902585"/>
                </a:cubicBezTo>
                <a:cubicBezTo>
                  <a:pt x="11781600" y="1934105"/>
                  <a:pt x="11789600" y="1962265"/>
                  <a:pt x="11779840" y="1988825"/>
                </a:cubicBezTo>
                <a:cubicBezTo>
                  <a:pt x="11774080" y="2004665"/>
                  <a:pt x="11763520" y="2023385"/>
                  <a:pt x="11753440" y="2041465"/>
                </a:cubicBezTo>
                <a:cubicBezTo>
                  <a:pt x="11738240" y="2068665"/>
                  <a:pt x="11725121" y="2092185"/>
                  <a:pt x="11725121" y="2108825"/>
                </a:cubicBezTo>
                <a:cubicBezTo>
                  <a:pt x="11725121" y="2118745"/>
                  <a:pt x="11726720" y="2130265"/>
                  <a:pt x="11728480" y="2142585"/>
                </a:cubicBezTo>
                <a:cubicBezTo>
                  <a:pt x="11731360" y="2162425"/>
                  <a:pt x="11734400" y="2184825"/>
                  <a:pt x="11731040" y="2203865"/>
                </a:cubicBezTo>
                <a:cubicBezTo>
                  <a:pt x="11729760" y="2211865"/>
                  <a:pt x="11728960" y="2218265"/>
                  <a:pt x="11728320" y="2223865"/>
                </a:cubicBezTo>
                <a:cubicBezTo>
                  <a:pt x="11726560" y="2240185"/>
                  <a:pt x="11725920" y="2246265"/>
                  <a:pt x="11710560" y="2261625"/>
                </a:cubicBezTo>
                <a:lnTo>
                  <a:pt x="11706880" y="2265465"/>
                </a:lnTo>
                <a:cubicBezTo>
                  <a:pt x="11687040" y="2285145"/>
                  <a:pt x="11654080" y="2318105"/>
                  <a:pt x="11657121" y="2346585"/>
                </a:cubicBezTo>
                <a:cubicBezTo>
                  <a:pt x="11658240" y="2357305"/>
                  <a:pt x="11664160" y="2366265"/>
                  <a:pt x="11674880" y="2372985"/>
                </a:cubicBezTo>
                <a:cubicBezTo>
                  <a:pt x="11719040" y="2400985"/>
                  <a:pt x="11803200" y="2401465"/>
                  <a:pt x="11836960" y="2397145"/>
                </a:cubicBezTo>
                <a:cubicBezTo>
                  <a:pt x="11850880" y="2395385"/>
                  <a:pt x="11866560" y="2391065"/>
                  <a:pt x="11883040" y="2386585"/>
                </a:cubicBezTo>
                <a:cubicBezTo>
                  <a:pt x="11912320" y="2378745"/>
                  <a:pt x="11945440" y="2369625"/>
                  <a:pt x="11984320" y="2369625"/>
                </a:cubicBezTo>
                <a:cubicBezTo>
                  <a:pt x="12046240" y="2369625"/>
                  <a:pt x="12171200" y="2371865"/>
                  <a:pt x="12172480" y="2371865"/>
                </a:cubicBezTo>
                <a:cubicBezTo>
                  <a:pt x="12172480" y="2371865"/>
                  <a:pt x="12172640" y="2371865"/>
                  <a:pt x="12172640" y="2371865"/>
                </a:cubicBezTo>
                <a:cubicBezTo>
                  <a:pt x="12176960" y="2371865"/>
                  <a:pt x="12180640" y="2368345"/>
                  <a:pt x="12180640" y="2363865"/>
                </a:cubicBezTo>
                <a:cubicBezTo>
                  <a:pt x="12180800" y="2359545"/>
                  <a:pt x="12177280" y="2355705"/>
                  <a:pt x="12172800" y="2355705"/>
                </a:cubicBezTo>
                <a:cubicBezTo>
                  <a:pt x="12171520" y="2355705"/>
                  <a:pt x="12046400" y="2353465"/>
                  <a:pt x="11984320" y="2353465"/>
                </a:cubicBezTo>
                <a:cubicBezTo>
                  <a:pt x="11943200" y="2353465"/>
                  <a:pt x="11907520" y="2363225"/>
                  <a:pt x="11878880" y="2371065"/>
                </a:cubicBezTo>
                <a:cubicBezTo>
                  <a:pt x="11862240" y="2375705"/>
                  <a:pt x="11848000" y="2379545"/>
                  <a:pt x="11835040" y="2381145"/>
                </a:cubicBezTo>
                <a:cubicBezTo>
                  <a:pt x="11795520" y="2386105"/>
                  <a:pt x="11720000" y="2382585"/>
                  <a:pt x="11683360" y="2359385"/>
                </a:cubicBezTo>
                <a:cubicBezTo>
                  <a:pt x="11676960" y="2355385"/>
                  <a:pt x="11673600" y="2350745"/>
                  <a:pt x="11673440" y="2346425"/>
                </a:cubicBezTo>
                <a:cubicBezTo>
                  <a:pt x="11671200" y="2325625"/>
                  <a:pt x="11702080" y="2294905"/>
                  <a:pt x="11718560" y="2278425"/>
                </a:cubicBezTo>
                <a:lnTo>
                  <a:pt x="11722400" y="2274585"/>
                </a:lnTo>
                <a:cubicBezTo>
                  <a:pt x="11741600" y="2255225"/>
                  <a:pt x="11742880" y="2244825"/>
                  <a:pt x="11744800" y="2227385"/>
                </a:cubicBezTo>
                <a:cubicBezTo>
                  <a:pt x="11745440" y="2222105"/>
                  <a:pt x="11746240" y="2216025"/>
                  <a:pt x="11747520" y="2208345"/>
                </a:cubicBezTo>
                <a:cubicBezTo>
                  <a:pt x="11751360" y="2186745"/>
                  <a:pt x="11748000" y="2162905"/>
                  <a:pt x="11745121" y="2141945"/>
                </a:cubicBezTo>
                <a:cubicBezTo>
                  <a:pt x="11743520" y="2130265"/>
                  <a:pt x="11741920" y="2119225"/>
                  <a:pt x="11741920" y="2110425"/>
                </a:cubicBezTo>
                <a:cubicBezTo>
                  <a:pt x="11741920" y="2097945"/>
                  <a:pt x="11755200" y="2074105"/>
                  <a:pt x="11768160" y="2051065"/>
                </a:cubicBezTo>
                <a:cubicBezTo>
                  <a:pt x="11778720" y="2032345"/>
                  <a:pt x="11789440" y="2013145"/>
                  <a:pt x="11795680" y="1996025"/>
                </a:cubicBezTo>
                <a:cubicBezTo>
                  <a:pt x="11807520" y="1963705"/>
                  <a:pt x="11798720" y="1930265"/>
                  <a:pt x="11768640" y="1893945"/>
                </a:cubicBezTo>
                <a:cubicBezTo>
                  <a:pt x="11750400" y="1871865"/>
                  <a:pt x="11681121" y="1816185"/>
                  <a:pt x="11662720" y="1808825"/>
                </a:cubicBezTo>
                <a:cubicBezTo>
                  <a:pt x="11658240" y="1807065"/>
                  <a:pt x="11649760" y="1800665"/>
                  <a:pt x="11640000" y="1793145"/>
                </a:cubicBezTo>
                <a:cubicBezTo>
                  <a:pt x="11617760" y="1776025"/>
                  <a:pt x="11584000" y="1750105"/>
                  <a:pt x="11547360" y="1741945"/>
                </a:cubicBezTo>
                <a:cubicBezTo>
                  <a:pt x="11494560" y="1730105"/>
                  <a:pt x="11362400" y="1723385"/>
                  <a:pt x="11334560" y="1723385"/>
                </a:cubicBezTo>
                <a:cubicBezTo>
                  <a:pt x="11305920" y="1723385"/>
                  <a:pt x="11151040" y="1725785"/>
                  <a:pt x="11049121" y="1728025"/>
                </a:cubicBezTo>
                <a:cubicBezTo>
                  <a:pt x="10942560" y="1730425"/>
                  <a:pt x="10845440" y="1742585"/>
                  <a:pt x="10796480" y="1753465"/>
                </a:cubicBezTo>
                <a:cubicBezTo>
                  <a:pt x="10764800" y="1760505"/>
                  <a:pt x="10712160" y="1785305"/>
                  <a:pt x="10665760" y="1807065"/>
                </a:cubicBezTo>
                <a:cubicBezTo>
                  <a:pt x="10636480" y="1820825"/>
                  <a:pt x="10611040" y="1832665"/>
                  <a:pt x="10599200" y="1836185"/>
                </a:cubicBezTo>
                <a:cubicBezTo>
                  <a:pt x="10568480" y="1845145"/>
                  <a:pt x="10373280" y="1892985"/>
                  <a:pt x="10371360" y="1893465"/>
                </a:cubicBezTo>
                <a:cubicBezTo>
                  <a:pt x="10371360" y="1893465"/>
                  <a:pt x="10240320" y="1921145"/>
                  <a:pt x="10129121" y="1944025"/>
                </a:cubicBezTo>
                <a:cubicBezTo>
                  <a:pt x="10021280" y="1966265"/>
                  <a:pt x="9912160" y="1966585"/>
                  <a:pt x="9908640" y="1966585"/>
                </a:cubicBezTo>
                <a:cubicBezTo>
                  <a:pt x="9892480" y="1950745"/>
                  <a:pt x="9877600" y="1934105"/>
                  <a:pt x="9864480" y="1916825"/>
                </a:cubicBezTo>
                <a:cubicBezTo>
                  <a:pt x="9904320" y="1921945"/>
                  <a:pt x="10004000" y="1933785"/>
                  <a:pt x="10065760" y="1930105"/>
                </a:cubicBezTo>
                <a:cubicBezTo>
                  <a:pt x="10142400" y="1925625"/>
                  <a:pt x="10284960" y="1900505"/>
                  <a:pt x="10286400" y="1900185"/>
                </a:cubicBezTo>
                <a:lnTo>
                  <a:pt x="10377920" y="1881785"/>
                </a:lnTo>
                <a:cubicBezTo>
                  <a:pt x="10383520" y="1880185"/>
                  <a:pt x="10499680" y="1846585"/>
                  <a:pt x="10542720" y="1823545"/>
                </a:cubicBezTo>
                <a:cubicBezTo>
                  <a:pt x="10584320" y="1801145"/>
                  <a:pt x="10670560" y="1754905"/>
                  <a:pt x="10741121" y="1732185"/>
                </a:cubicBezTo>
                <a:cubicBezTo>
                  <a:pt x="10796320" y="1714425"/>
                  <a:pt x="10910880" y="1677465"/>
                  <a:pt x="11061280" y="1675065"/>
                </a:cubicBezTo>
                <a:cubicBezTo>
                  <a:pt x="11202240" y="1672825"/>
                  <a:pt x="11367840" y="1668185"/>
                  <a:pt x="11369440" y="1668185"/>
                </a:cubicBezTo>
                <a:cubicBezTo>
                  <a:pt x="11370720" y="1668185"/>
                  <a:pt x="11552800" y="1677625"/>
                  <a:pt x="11612960" y="1719545"/>
                </a:cubicBezTo>
                <a:cubicBezTo>
                  <a:pt x="11675200" y="1762745"/>
                  <a:pt x="11757920" y="1815705"/>
                  <a:pt x="11758720" y="1816185"/>
                </a:cubicBezTo>
                <a:cubicBezTo>
                  <a:pt x="11782880" y="1838745"/>
                  <a:pt x="11847200" y="1909305"/>
                  <a:pt x="11840640" y="1952825"/>
                </a:cubicBezTo>
                <a:cubicBezTo>
                  <a:pt x="11832480" y="2007705"/>
                  <a:pt x="11785440" y="2077465"/>
                  <a:pt x="11784960" y="2078105"/>
                </a:cubicBezTo>
                <a:cubicBezTo>
                  <a:pt x="11782720" y="2082265"/>
                  <a:pt x="11743520" y="2160025"/>
                  <a:pt x="11766880" y="2204825"/>
                </a:cubicBezTo>
                <a:cubicBezTo>
                  <a:pt x="11767200" y="2206105"/>
                  <a:pt x="11773280" y="2225465"/>
                  <a:pt x="11756640" y="2245625"/>
                </a:cubicBezTo>
                <a:cubicBezTo>
                  <a:pt x="11737280" y="2268985"/>
                  <a:pt x="11730720" y="2288025"/>
                  <a:pt x="11737121" y="2302265"/>
                </a:cubicBezTo>
                <a:cubicBezTo>
                  <a:pt x="11743040" y="2315385"/>
                  <a:pt x="11758560" y="2321945"/>
                  <a:pt x="11784480" y="2322585"/>
                </a:cubicBezTo>
                <a:cubicBezTo>
                  <a:pt x="11813600" y="2323385"/>
                  <a:pt x="11831520" y="2320345"/>
                  <a:pt x="11850560" y="2317305"/>
                </a:cubicBezTo>
                <a:cubicBezTo>
                  <a:pt x="11872960" y="2313785"/>
                  <a:pt x="11898240" y="2309625"/>
                  <a:pt x="11948000" y="2310425"/>
                </a:cubicBezTo>
                <a:cubicBezTo>
                  <a:pt x="12039680" y="2311705"/>
                  <a:pt x="12164320" y="2308985"/>
                  <a:pt x="12165600" y="2308985"/>
                </a:cubicBezTo>
                <a:cubicBezTo>
                  <a:pt x="12170080" y="2308985"/>
                  <a:pt x="12173600" y="2305305"/>
                  <a:pt x="12173440" y="2300825"/>
                </a:cubicBezTo>
                <a:cubicBezTo>
                  <a:pt x="12173280" y="2296345"/>
                  <a:pt x="12169920" y="2293145"/>
                  <a:pt x="12165280" y="2292985"/>
                </a:cubicBezTo>
                <a:cubicBezTo>
                  <a:pt x="12164160" y="2293145"/>
                  <a:pt x="12039680" y="2295705"/>
                  <a:pt x="11948320" y="2294425"/>
                </a:cubicBezTo>
                <a:cubicBezTo>
                  <a:pt x="11897121" y="2293625"/>
                  <a:pt x="11871040" y="2297785"/>
                  <a:pt x="11848160" y="2301465"/>
                </a:cubicBezTo>
                <a:cubicBezTo>
                  <a:pt x="11829121" y="2304505"/>
                  <a:pt x="11812480" y="2307385"/>
                  <a:pt x="11784960" y="2306585"/>
                </a:cubicBezTo>
                <a:cubicBezTo>
                  <a:pt x="11766560" y="2306105"/>
                  <a:pt x="11754880" y="2302265"/>
                  <a:pt x="11751840" y="2295705"/>
                </a:cubicBezTo>
                <a:cubicBezTo>
                  <a:pt x="11748480" y="2288025"/>
                  <a:pt x="11754880" y="2273305"/>
                  <a:pt x="11769121" y="2256025"/>
                </a:cubicBezTo>
                <a:cubicBezTo>
                  <a:pt x="11778400" y="2244985"/>
                  <a:pt x="11782240" y="2233945"/>
                  <a:pt x="11783680" y="2224505"/>
                </a:cubicBezTo>
                <a:cubicBezTo>
                  <a:pt x="11809760" y="2243705"/>
                  <a:pt x="11851360" y="2240345"/>
                  <a:pt x="11886240" y="2237305"/>
                </a:cubicBezTo>
                <a:cubicBezTo>
                  <a:pt x="11894240" y="2236505"/>
                  <a:pt x="11901920" y="2235865"/>
                  <a:pt x="11909121" y="2235545"/>
                </a:cubicBezTo>
                <a:cubicBezTo>
                  <a:pt x="11954080" y="2233145"/>
                  <a:pt x="12081600" y="2230905"/>
                  <a:pt x="12082880" y="2230905"/>
                </a:cubicBezTo>
                <a:lnTo>
                  <a:pt x="12171360" y="2228665"/>
                </a:lnTo>
                <a:cubicBezTo>
                  <a:pt x="12175840" y="2228505"/>
                  <a:pt x="12179360" y="2224825"/>
                  <a:pt x="12179200" y="2220345"/>
                </a:cubicBezTo>
                <a:cubicBezTo>
                  <a:pt x="12179200" y="2215865"/>
                  <a:pt x="12175200" y="2212985"/>
                  <a:pt x="12171040" y="2212505"/>
                </a:cubicBezTo>
                <a:lnTo>
                  <a:pt x="12082560" y="2214745"/>
                </a:lnTo>
                <a:cubicBezTo>
                  <a:pt x="12081280" y="2214745"/>
                  <a:pt x="11953600" y="2217145"/>
                  <a:pt x="11908320" y="2219385"/>
                </a:cubicBezTo>
                <a:cubicBezTo>
                  <a:pt x="11900960" y="2219865"/>
                  <a:pt x="11893121" y="2220505"/>
                  <a:pt x="11884960" y="2221145"/>
                </a:cubicBezTo>
                <a:cubicBezTo>
                  <a:pt x="11844320" y="2224505"/>
                  <a:pt x="11798240" y="2228505"/>
                  <a:pt x="11781600" y="2198265"/>
                </a:cubicBezTo>
                <a:cubicBezTo>
                  <a:pt x="11761121" y="2161145"/>
                  <a:pt x="11798560" y="2087225"/>
                  <a:pt x="11798880" y="2086425"/>
                </a:cubicBezTo>
                <a:cubicBezTo>
                  <a:pt x="11800480" y="2084345"/>
                  <a:pt x="11848000" y="2013785"/>
                  <a:pt x="11856800" y="1955225"/>
                </a:cubicBezTo>
                <a:cubicBezTo>
                  <a:pt x="11865760" y="1894265"/>
                  <a:pt x="11772640" y="1807065"/>
                  <a:pt x="11768640" y="1803385"/>
                </a:cubicBezTo>
                <a:cubicBezTo>
                  <a:pt x="11766720" y="1802105"/>
                  <a:pt x="11684160" y="1749305"/>
                  <a:pt x="11622240" y="1706265"/>
                </a:cubicBezTo>
                <a:cubicBezTo>
                  <a:pt x="11558400" y="1661785"/>
                  <a:pt x="11377600" y="1652345"/>
                  <a:pt x="11369920" y="1652025"/>
                </a:cubicBezTo>
                <a:cubicBezTo>
                  <a:pt x="11367680" y="1652025"/>
                  <a:pt x="11202240" y="1656665"/>
                  <a:pt x="11061280" y="1658905"/>
                </a:cubicBezTo>
                <a:cubicBezTo>
                  <a:pt x="10926720" y="1660985"/>
                  <a:pt x="10821600" y="1689305"/>
                  <a:pt x="10736640" y="1716665"/>
                </a:cubicBezTo>
                <a:cubicBezTo>
                  <a:pt x="10664640" y="1739705"/>
                  <a:pt x="10577600" y="1786425"/>
                  <a:pt x="10535680" y="1808985"/>
                </a:cubicBezTo>
                <a:cubicBezTo>
                  <a:pt x="10494080" y="1831225"/>
                  <a:pt x="10375680" y="1865465"/>
                  <a:pt x="10374560" y="1865785"/>
                </a:cubicBezTo>
                <a:lnTo>
                  <a:pt x="10283840" y="1884025"/>
                </a:lnTo>
                <a:cubicBezTo>
                  <a:pt x="10282560" y="1884345"/>
                  <a:pt x="10140960" y="1909305"/>
                  <a:pt x="10065280" y="1913785"/>
                </a:cubicBezTo>
                <a:cubicBezTo>
                  <a:pt x="9994240" y="1917945"/>
                  <a:pt x="9867520" y="1900665"/>
                  <a:pt x="9851840" y="1898425"/>
                </a:cubicBezTo>
                <a:cubicBezTo>
                  <a:pt x="9842080" y="1883865"/>
                  <a:pt x="9833440" y="1869305"/>
                  <a:pt x="9826080" y="1854425"/>
                </a:cubicBezTo>
                <a:cubicBezTo>
                  <a:pt x="9871200" y="1861945"/>
                  <a:pt x="10022400" y="1886105"/>
                  <a:pt x="10105920" y="1883865"/>
                </a:cubicBezTo>
                <a:cubicBezTo>
                  <a:pt x="10206080" y="1881465"/>
                  <a:pt x="10369920" y="1852665"/>
                  <a:pt x="10436800" y="1825785"/>
                </a:cubicBezTo>
                <a:cubicBezTo>
                  <a:pt x="10472480" y="1811385"/>
                  <a:pt x="10523040" y="1778905"/>
                  <a:pt x="10571840" y="1747545"/>
                </a:cubicBezTo>
                <a:cubicBezTo>
                  <a:pt x="10619040" y="1717145"/>
                  <a:pt x="10663520" y="1688505"/>
                  <a:pt x="10693600" y="1676345"/>
                </a:cubicBezTo>
                <a:cubicBezTo>
                  <a:pt x="10805920" y="1631065"/>
                  <a:pt x="10908640" y="1607225"/>
                  <a:pt x="10998880" y="1605625"/>
                </a:cubicBezTo>
                <a:cubicBezTo>
                  <a:pt x="11132480" y="1603225"/>
                  <a:pt x="11419200" y="1601145"/>
                  <a:pt x="11466240" y="1603385"/>
                </a:cubicBezTo>
                <a:cubicBezTo>
                  <a:pt x="11514080" y="1605625"/>
                  <a:pt x="11620000" y="1639545"/>
                  <a:pt x="11655680" y="1668185"/>
                </a:cubicBezTo>
                <a:cubicBezTo>
                  <a:pt x="11692800" y="1698105"/>
                  <a:pt x="11738880" y="1725945"/>
                  <a:pt x="11739360" y="1726265"/>
                </a:cubicBezTo>
                <a:cubicBezTo>
                  <a:pt x="11740320" y="1726905"/>
                  <a:pt x="11821121" y="1774105"/>
                  <a:pt x="11842720" y="1802425"/>
                </a:cubicBezTo>
                <a:cubicBezTo>
                  <a:pt x="11890560" y="1864985"/>
                  <a:pt x="11907680" y="1930745"/>
                  <a:pt x="11894720" y="1998105"/>
                </a:cubicBezTo>
                <a:cubicBezTo>
                  <a:pt x="11883520" y="2009305"/>
                  <a:pt x="11856000" y="2037465"/>
                  <a:pt x="11848640" y="2052985"/>
                </a:cubicBezTo>
                <a:cubicBezTo>
                  <a:pt x="11846560" y="2057305"/>
                  <a:pt x="11845600" y="2061945"/>
                  <a:pt x="11844960" y="2066585"/>
                </a:cubicBezTo>
                <a:cubicBezTo>
                  <a:pt x="11843680" y="2066905"/>
                  <a:pt x="11842560" y="2067545"/>
                  <a:pt x="11841600" y="2068505"/>
                </a:cubicBezTo>
                <a:lnTo>
                  <a:pt x="11802880" y="2109145"/>
                </a:lnTo>
                <a:cubicBezTo>
                  <a:pt x="11801760" y="2110105"/>
                  <a:pt x="11801121" y="2111385"/>
                  <a:pt x="11800800" y="2112825"/>
                </a:cubicBezTo>
                <a:cubicBezTo>
                  <a:pt x="11792480" y="2148185"/>
                  <a:pt x="11802400" y="2152185"/>
                  <a:pt x="11805600" y="2153465"/>
                </a:cubicBezTo>
                <a:lnTo>
                  <a:pt x="11807520" y="2154265"/>
                </a:lnTo>
                <a:cubicBezTo>
                  <a:pt x="11816160" y="2157785"/>
                  <a:pt x="11836320" y="2166265"/>
                  <a:pt x="11861280" y="2164825"/>
                </a:cubicBezTo>
                <a:cubicBezTo>
                  <a:pt x="11870240" y="2164345"/>
                  <a:pt x="11879360" y="2162905"/>
                  <a:pt x="11889920" y="2161305"/>
                </a:cubicBezTo>
                <a:cubicBezTo>
                  <a:pt x="11910240" y="2158105"/>
                  <a:pt x="11935680" y="2154265"/>
                  <a:pt x="11971840" y="2155225"/>
                </a:cubicBezTo>
                <a:cubicBezTo>
                  <a:pt x="12026880" y="2156505"/>
                  <a:pt x="12167680" y="2157945"/>
                  <a:pt x="12169121" y="2157945"/>
                </a:cubicBezTo>
                <a:cubicBezTo>
                  <a:pt x="12173440" y="2157945"/>
                  <a:pt x="12177121" y="2154425"/>
                  <a:pt x="12177121" y="2149945"/>
                </a:cubicBezTo>
                <a:cubicBezTo>
                  <a:pt x="12177121" y="2145465"/>
                  <a:pt x="12173600" y="2141785"/>
                  <a:pt x="12169121" y="2141785"/>
                </a:cubicBezTo>
                <a:cubicBezTo>
                  <a:pt x="12167680" y="2141785"/>
                  <a:pt x="12027040" y="2140345"/>
                  <a:pt x="11972160" y="2139065"/>
                </a:cubicBezTo>
                <a:cubicBezTo>
                  <a:pt x="11934400" y="2138105"/>
                  <a:pt x="11908320" y="2142105"/>
                  <a:pt x="11887360" y="2145305"/>
                </a:cubicBezTo>
                <a:cubicBezTo>
                  <a:pt x="11877121" y="2146905"/>
                  <a:pt x="11868320" y="2148185"/>
                  <a:pt x="11860320" y="2148665"/>
                </a:cubicBezTo>
                <a:cubicBezTo>
                  <a:pt x="11839040" y="2149785"/>
                  <a:pt x="11821280" y="2142425"/>
                  <a:pt x="11813600" y="2139225"/>
                </a:cubicBezTo>
                <a:cubicBezTo>
                  <a:pt x="11813121" y="2135545"/>
                  <a:pt x="11814080" y="2126745"/>
                  <a:pt x="11815840" y="2118585"/>
                </a:cubicBezTo>
                <a:lnTo>
                  <a:pt x="11847200" y="2085625"/>
                </a:lnTo>
                <a:cubicBezTo>
                  <a:pt x="11848000" y="2087545"/>
                  <a:pt x="11848640" y="2089625"/>
                  <a:pt x="11849760" y="2091225"/>
                </a:cubicBezTo>
                <a:cubicBezTo>
                  <a:pt x="11855680" y="2100025"/>
                  <a:pt x="11865121" y="2104345"/>
                  <a:pt x="11876480" y="2103705"/>
                </a:cubicBezTo>
                <a:cubicBezTo>
                  <a:pt x="11888800" y="2103065"/>
                  <a:pt x="11912000" y="2100665"/>
                  <a:pt x="11936480" y="2098105"/>
                </a:cubicBezTo>
                <a:cubicBezTo>
                  <a:pt x="11955680" y="2096025"/>
                  <a:pt x="11975360" y="2094105"/>
                  <a:pt x="11989600" y="2092825"/>
                </a:cubicBezTo>
                <a:cubicBezTo>
                  <a:pt x="12021280" y="2090105"/>
                  <a:pt x="12074240" y="2090105"/>
                  <a:pt x="12091680" y="2090105"/>
                </a:cubicBezTo>
                <a:lnTo>
                  <a:pt x="12172480" y="2090105"/>
                </a:lnTo>
                <a:cubicBezTo>
                  <a:pt x="12176960" y="2090105"/>
                  <a:pt x="12180480" y="2086585"/>
                  <a:pt x="12180480" y="2082105"/>
                </a:cubicBezTo>
                <a:cubicBezTo>
                  <a:pt x="12180480" y="2077785"/>
                  <a:pt x="12176960" y="2074105"/>
                  <a:pt x="12172480" y="2074105"/>
                </a:cubicBezTo>
                <a:lnTo>
                  <a:pt x="12091680" y="2074105"/>
                </a:lnTo>
                <a:cubicBezTo>
                  <a:pt x="12074080" y="2074105"/>
                  <a:pt x="12020480" y="2074105"/>
                  <a:pt x="11988160" y="2076825"/>
                </a:cubicBezTo>
                <a:cubicBezTo>
                  <a:pt x="11973760" y="2078105"/>
                  <a:pt x="11954080" y="2080025"/>
                  <a:pt x="11934720" y="2082105"/>
                </a:cubicBezTo>
                <a:cubicBezTo>
                  <a:pt x="11910240" y="2084665"/>
                  <a:pt x="11887360" y="2086905"/>
                  <a:pt x="11875360" y="2087705"/>
                </a:cubicBezTo>
                <a:cubicBezTo>
                  <a:pt x="11869920" y="2088185"/>
                  <a:pt x="11865600" y="2086105"/>
                  <a:pt x="11863040" y="2082265"/>
                </a:cubicBezTo>
                <a:cubicBezTo>
                  <a:pt x="11859200" y="2076665"/>
                  <a:pt x="11859200" y="2067545"/>
                  <a:pt x="11862880" y="2059865"/>
                </a:cubicBezTo>
                <a:cubicBezTo>
                  <a:pt x="11867520" y="2050265"/>
                  <a:pt x="11884000" y="2031865"/>
                  <a:pt x="11897121" y="2018265"/>
                </a:cubicBezTo>
                <a:cubicBezTo>
                  <a:pt x="11897760" y="2018425"/>
                  <a:pt x="11898240" y="2018745"/>
                  <a:pt x="11898880" y="2018905"/>
                </a:cubicBezTo>
                <a:cubicBezTo>
                  <a:pt x="11901600" y="2019385"/>
                  <a:pt x="11963520" y="2030585"/>
                  <a:pt x="12021121" y="2023545"/>
                </a:cubicBezTo>
                <a:cubicBezTo>
                  <a:pt x="12077121" y="2016825"/>
                  <a:pt x="12162240" y="2014425"/>
                  <a:pt x="12163040" y="2014425"/>
                </a:cubicBezTo>
                <a:cubicBezTo>
                  <a:pt x="12167520" y="2014265"/>
                  <a:pt x="12170880" y="2010585"/>
                  <a:pt x="12170880" y="2006105"/>
                </a:cubicBezTo>
                <a:cubicBezTo>
                  <a:pt x="12170880" y="2001625"/>
                  <a:pt x="12166720" y="1998265"/>
                  <a:pt x="12162720" y="1998265"/>
                </a:cubicBezTo>
                <a:cubicBezTo>
                  <a:pt x="12161920" y="1998265"/>
                  <a:pt x="12076160" y="2000665"/>
                  <a:pt x="12019360" y="2007545"/>
                </a:cubicBezTo>
                <a:cubicBezTo>
                  <a:pt x="11976480" y="2012665"/>
                  <a:pt x="11929760" y="2007065"/>
                  <a:pt x="11910720" y="2004345"/>
                </a:cubicBezTo>
                <a:cubicBezTo>
                  <a:pt x="11912960" y="2001785"/>
                  <a:pt x="11913280" y="1998105"/>
                  <a:pt x="11911520" y="1995225"/>
                </a:cubicBezTo>
                <a:cubicBezTo>
                  <a:pt x="11923360" y="1925145"/>
                  <a:pt x="11904800" y="1856985"/>
                  <a:pt x="11855360" y="1792345"/>
                </a:cubicBezTo>
                <a:cubicBezTo>
                  <a:pt x="11831840" y="1761625"/>
                  <a:pt x="11750880" y="1714265"/>
                  <a:pt x="11747520" y="1712185"/>
                </a:cubicBezTo>
                <a:cubicBezTo>
                  <a:pt x="11747200" y="1711865"/>
                  <a:pt x="11701920" y="1684505"/>
                  <a:pt x="11665760" y="1655385"/>
                </a:cubicBezTo>
                <a:cubicBezTo>
                  <a:pt x="11627200" y="1624345"/>
                  <a:pt x="11517760" y="1589465"/>
                  <a:pt x="11467200" y="1587065"/>
                </a:cubicBezTo>
                <a:cubicBezTo>
                  <a:pt x="11452800" y="1586425"/>
                  <a:pt x="11417440" y="1586105"/>
                  <a:pt x="11371680" y="1586105"/>
                </a:cubicBezTo>
                <a:cubicBezTo>
                  <a:pt x="11259360" y="1586105"/>
                  <a:pt x="11084000" y="1587705"/>
                  <a:pt x="10998880" y="1589305"/>
                </a:cubicBezTo>
                <a:cubicBezTo>
                  <a:pt x="10906720" y="1591065"/>
                  <a:pt x="10802080" y="1615225"/>
                  <a:pt x="10688000" y="1661145"/>
                </a:cubicBezTo>
                <a:cubicBezTo>
                  <a:pt x="10656640" y="1673785"/>
                  <a:pt x="10611360" y="1702905"/>
                  <a:pt x="10563520" y="1733625"/>
                </a:cubicBezTo>
                <a:cubicBezTo>
                  <a:pt x="10515360" y="1764505"/>
                  <a:pt x="10465440" y="1796665"/>
                  <a:pt x="10431200" y="1810425"/>
                </a:cubicBezTo>
                <a:cubicBezTo>
                  <a:pt x="10365760" y="1836665"/>
                  <a:pt x="10204640" y="1864985"/>
                  <a:pt x="10105920" y="1867225"/>
                </a:cubicBezTo>
                <a:cubicBezTo>
                  <a:pt x="10015360" y="1869305"/>
                  <a:pt x="9837280" y="1839385"/>
                  <a:pt x="9818080" y="1836185"/>
                </a:cubicBezTo>
                <a:cubicBezTo>
                  <a:pt x="9810880" y="1819225"/>
                  <a:pt x="9805600" y="1802105"/>
                  <a:pt x="9802080" y="1785305"/>
                </a:cubicBezTo>
                <a:cubicBezTo>
                  <a:pt x="9832160" y="1795705"/>
                  <a:pt x="9919680" y="1824345"/>
                  <a:pt x="9977121" y="1828185"/>
                </a:cubicBezTo>
                <a:cubicBezTo>
                  <a:pt x="10044960" y="1832825"/>
                  <a:pt x="10215360" y="1837465"/>
                  <a:pt x="10217121" y="1837465"/>
                </a:cubicBezTo>
                <a:cubicBezTo>
                  <a:pt x="10223520" y="1836825"/>
                  <a:pt x="10352160" y="1822745"/>
                  <a:pt x="10427200" y="1771705"/>
                </a:cubicBezTo>
                <a:cubicBezTo>
                  <a:pt x="10439680" y="1763225"/>
                  <a:pt x="10453280" y="1753785"/>
                  <a:pt x="10467520" y="1744025"/>
                </a:cubicBezTo>
                <a:cubicBezTo>
                  <a:pt x="10537440" y="1695865"/>
                  <a:pt x="10624320" y="1636185"/>
                  <a:pt x="10656800" y="1623065"/>
                </a:cubicBezTo>
                <a:cubicBezTo>
                  <a:pt x="10663360" y="1620345"/>
                  <a:pt x="10671840" y="1616345"/>
                  <a:pt x="10682080" y="1611225"/>
                </a:cubicBezTo>
                <a:cubicBezTo>
                  <a:pt x="10734080" y="1585625"/>
                  <a:pt x="10831040" y="1537945"/>
                  <a:pt x="10996320" y="1534105"/>
                </a:cubicBezTo>
                <a:cubicBezTo>
                  <a:pt x="11200640" y="1529465"/>
                  <a:pt x="11358720" y="1527225"/>
                  <a:pt x="11401280" y="1527225"/>
                </a:cubicBezTo>
                <a:cubicBezTo>
                  <a:pt x="11444640" y="1527225"/>
                  <a:pt x="11608800" y="1549305"/>
                  <a:pt x="11668320" y="1583545"/>
                </a:cubicBezTo>
                <a:cubicBezTo>
                  <a:pt x="11708960" y="1606905"/>
                  <a:pt x="11755040" y="1653145"/>
                  <a:pt x="11788640" y="1686745"/>
                </a:cubicBezTo>
                <a:cubicBezTo>
                  <a:pt x="11803840" y="1702105"/>
                  <a:pt x="11816000" y="1714265"/>
                  <a:pt x="11824160" y="1720825"/>
                </a:cubicBezTo>
                <a:cubicBezTo>
                  <a:pt x="11849121" y="1740825"/>
                  <a:pt x="11898400" y="1776025"/>
                  <a:pt x="11908160" y="1781305"/>
                </a:cubicBezTo>
                <a:cubicBezTo>
                  <a:pt x="11915040" y="1786425"/>
                  <a:pt x="11952800" y="1846585"/>
                  <a:pt x="11955360" y="1873785"/>
                </a:cubicBezTo>
                <a:cubicBezTo>
                  <a:pt x="11958080" y="1902265"/>
                  <a:pt x="11949920" y="1953945"/>
                  <a:pt x="11949760" y="1954425"/>
                </a:cubicBezTo>
                <a:cubicBezTo>
                  <a:pt x="11949440" y="1956825"/>
                  <a:pt x="11950080" y="1959385"/>
                  <a:pt x="11951680" y="1961145"/>
                </a:cubicBezTo>
                <a:cubicBezTo>
                  <a:pt x="11953280" y="1962905"/>
                  <a:pt x="11955680" y="1964025"/>
                  <a:pt x="11958080" y="1963865"/>
                </a:cubicBezTo>
                <a:lnTo>
                  <a:pt x="12174880" y="1954745"/>
                </a:lnTo>
                <a:cubicBezTo>
                  <a:pt x="12179360" y="1954585"/>
                  <a:pt x="12182720" y="1950905"/>
                  <a:pt x="12182560" y="1946425"/>
                </a:cubicBezTo>
                <a:cubicBezTo>
                  <a:pt x="12182400" y="1941945"/>
                  <a:pt x="12178720" y="1938425"/>
                  <a:pt x="12174240" y="1938745"/>
                </a:cubicBezTo>
                <a:lnTo>
                  <a:pt x="11967040" y="1947545"/>
                </a:lnTo>
                <a:cubicBezTo>
                  <a:pt x="11969440" y="1930585"/>
                  <a:pt x="11973600" y="1895385"/>
                  <a:pt x="11971360" y="1872505"/>
                </a:cubicBezTo>
                <a:cubicBezTo>
                  <a:pt x="11968320" y="1840345"/>
                  <a:pt x="11927360" y="1773625"/>
                  <a:pt x="11915840" y="1767385"/>
                </a:cubicBezTo>
                <a:cubicBezTo>
                  <a:pt x="11908640" y="1763545"/>
                  <a:pt x="11860800" y="1729625"/>
                  <a:pt x="11834400" y="1708505"/>
                </a:cubicBezTo>
                <a:cubicBezTo>
                  <a:pt x="11826880" y="1702425"/>
                  <a:pt x="11814560" y="1690105"/>
                  <a:pt x="11800160" y="1675705"/>
                </a:cubicBezTo>
                <a:cubicBezTo>
                  <a:pt x="11765920" y="1641305"/>
                  <a:pt x="11718880" y="1594425"/>
                  <a:pt x="11676480" y="1569945"/>
                </a:cubicBezTo>
                <a:cubicBezTo>
                  <a:pt x="11614720" y="1534425"/>
                  <a:pt x="11445920" y="1511385"/>
                  <a:pt x="11401440" y="1511385"/>
                </a:cubicBezTo>
                <a:cubicBezTo>
                  <a:pt x="11358880" y="1511385"/>
                  <a:pt x="11200640" y="1513625"/>
                  <a:pt x="10996160" y="1518265"/>
                </a:cubicBezTo>
                <a:cubicBezTo>
                  <a:pt x="10827360" y="1522105"/>
                  <a:pt x="10728320" y="1570745"/>
                  <a:pt x="10675200" y="1596985"/>
                </a:cubicBezTo>
                <a:cubicBezTo>
                  <a:pt x="10665280" y="1601785"/>
                  <a:pt x="10657280" y="1605785"/>
                  <a:pt x="10650880" y="1608345"/>
                </a:cubicBezTo>
                <a:cubicBezTo>
                  <a:pt x="10616800" y="1622105"/>
                  <a:pt x="10529121" y="1682425"/>
                  <a:pt x="10458560" y="1730905"/>
                </a:cubicBezTo>
                <a:cubicBezTo>
                  <a:pt x="10444320" y="1740825"/>
                  <a:pt x="10430720" y="1750105"/>
                  <a:pt x="10418240" y="1758585"/>
                </a:cubicBezTo>
                <a:cubicBezTo>
                  <a:pt x="10346560" y="1807545"/>
                  <a:pt x="10217760" y="1821465"/>
                  <a:pt x="10216480" y="1821625"/>
                </a:cubicBezTo>
                <a:cubicBezTo>
                  <a:pt x="10215840" y="1821465"/>
                  <a:pt x="10045760" y="1816825"/>
                  <a:pt x="9978240" y="1812345"/>
                </a:cubicBezTo>
                <a:cubicBezTo>
                  <a:pt x="9916480" y="1808185"/>
                  <a:pt x="9814400" y="1772825"/>
                  <a:pt x="9799040" y="1767385"/>
                </a:cubicBezTo>
                <a:cubicBezTo>
                  <a:pt x="9798400" y="1762425"/>
                  <a:pt x="9797760" y="1757625"/>
                  <a:pt x="9797440" y="1752665"/>
                </a:cubicBezTo>
                <a:cubicBezTo>
                  <a:pt x="9797121" y="1745145"/>
                  <a:pt x="9796960" y="1737945"/>
                  <a:pt x="9796960" y="1730745"/>
                </a:cubicBezTo>
                <a:cubicBezTo>
                  <a:pt x="9820000" y="1739225"/>
                  <a:pt x="9877920" y="1758585"/>
                  <a:pt x="9936960" y="1764025"/>
                </a:cubicBezTo>
                <a:cubicBezTo>
                  <a:pt x="10011200" y="1770905"/>
                  <a:pt x="10148160" y="1782425"/>
                  <a:pt x="10148160" y="1782425"/>
                </a:cubicBezTo>
                <a:cubicBezTo>
                  <a:pt x="10153440" y="1783385"/>
                  <a:pt x="10297440" y="1807225"/>
                  <a:pt x="10401600" y="1732665"/>
                </a:cubicBezTo>
                <a:cubicBezTo>
                  <a:pt x="10448160" y="1699385"/>
                  <a:pt x="10486240" y="1668665"/>
                  <a:pt x="10519840" y="1641465"/>
                </a:cubicBezTo>
                <a:cubicBezTo>
                  <a:pt x="10559200" y="1609785"/>
                  <a:pt x="10590240" y="1584665"/>
                  <a:pt x="10614560" y="1572505"/>
                </a:cubicBezTo>
                <a:cubicBezTo>
                  <a:pt x="10621121" y="1569145"/>
                  <a:pt x="10629121" y="1564665"/>
                  <a:pt x="10638400" y="1559385"/>
                </a:cubicBezTo>
                <a:cubicBezTo>
                  <a:pt x="10692000" y="1529305"/>
                  <a:pt x="10791680" y="1473145"/>
                  <a:pt x="10950880" y="1465305"/>
                </a:cubicBezTo>
                <a:cubicBezTo>
                  <a:pt x="11136800" y="1456185"/>
                  <a:pt x="11257280" y="1458425"/>
                  <a:pt x="11258560" y="1458425"/>
                </a:cubicBezTo>
                <a:cubicBezTo>
                  <a:pt x="11260640" y="1458425"/>
                  <a:pt x="11438560" y="1456185"/>
                  <a:pt x="11469280" y="1458425"/>
                </a:cubicBezTo>
                <a:lnTo>
                  <a:pt x="11477121" y="1458905"/>
                </a:lnTo>
                <a:cubicBezTo>
                  <a:pt x="11591040" y="1466425"/>
                  <a:pt x="11661600" y="1483225"/>
                  <a:pt x="11686720" y="1508825"/>
                </a:cubicBezTo>
                <a:cubicBezTo>
                  <a:pt x="11704480" y="1526905"/>
                  <a:pt x="11723840" y="1548345"/>
                  <a:pt x="11742720" y="1568985"/>
                </a:cubicBezTo>
                <a:cubicBezTo>
                  <a:pt x="11769920" y="1598905"/>
                  <a:pt x="11793440" y="1624665"/>
                  <a:pt x="11807200" y="1635865"/>
                </a:cubicBezTo>
                <a:cubicBezTo>
                  <a:pt x="11818400" y="1644825"/>
                  <a:pt x="11840000" y="1665145"/>
                  <a:pt x="11860960" y="1684825"/>
                </a:cubicBezTo>
                <a:cubicBezTo>
                  <a:pt x="11883040" y="1705625"/>
                  <a:pt x="11904000" y="1725145"/>
                  <a:pt x="11915680" y="1734585"/>
                </a:cubicBezTo>
                <a:cubicBezTo>
                  <a:pt x="11938720" y="1752985"/>
                  <a:pt x="11980480" y="1791385"/>
                  <a:pt x="11991200" y="1806425"/>
                </a:cubicBezTo>
                <a:cubicBezTo>
                  <a:pt x="11997760" y="1815705"/>
                  <a:pt x="12008480" y="1834745"/>
                  <a:pt x="12016000" y="1848665"/>
                </a:cubicBezTo>
                <a:cubicBezTo>
                  <a:pt x="12011840" y="1855705"/>
                  <a:pt x="11998400" y="1878585"/>
                  <a:pt x="11996640" y="1885945"/>
                </a:cubicBezTo>
                <a:cubicBezTo>
                  <a:pt x="11995680" y="1889465"/>
                  <a:pt x="11996480" y="1892985"/>
                  <a:pt x="11998560" y="1895865"/>
                </a:cubicBezTo>
                <a:cubicBezTo>
                  <a:pt x="12003360" y="1902425"/>
                  <a:pt x="12014400" y="1905145"/>
                  <a:pt x="12040960" y="1906745"/>
                </a:cubicBezTo>
                <a:cubicBezTo>
                  <a:pt x="12065280" y="1908185"/>
                  <a:pt x="12097440" y="1901465"/>
                  <a:pt x="12098720" y="1901145"/>
                </a:cubicBezTo>
                <a:lnTo>
                  <a:pt x="12174080" y="1890425"/>
                </a:lnTo>
                <a:cubicBezTo>
                  <a:pt x="12178400" y="1889785"/>
                  <a:pt x="12181440" y="1885785"/>
                  <a:pt x="12180800" y="1881305"/>
                </a:cubicBezTo>
                <a:cubicBezTo>
                  <a:pt x="12180160" y="1876825"/>
                  <a:pt x="12176000" y="1873785"/>
                  <a:pt x="12171680" y="1874425"/>
                </a:cubicBezTo>
                <a:lnTo>
                  <a:pt x="12095840" y="1885305"/>
                </a:lnTo>
                <a:cubicBezTo>
                  <a:pt x="12094880" y="1885305"/>
                  <a:pt x="12064000" y="1891705"/>
                  <a:pt x="12041760" y="1890585"/>
                </a:cubicBezTo>
                <a:cubicBezTo>
                  <a:pt x="12024000" y="1889625"/>
                  <a:pt x="12016480" y="1888025"/>
                  <a:pt x="12013121" y="1886905"/>
                </a:cubicBezTo>
                <a:cubicBezTo>
                  <a:pt x="12015200" y="1882265"/>
                  <a:pt x="12019840" y="1873785"/>
                  <a:pt x="12024640" y="1865305"/>
                </a:cubicBezTo>
                <a:cubicBezTo>
                  <a:pt x="12026240" y="1868185"/>
                  <a:pt x="12029600" y="1869785"/>
                  <a:pt x="12032800" y="1869465"/>
                </a:cubicBezTo>
                <a:lnTo>
                  <a:pt x="12172640" y="1851065"/>
                </a:lnTo>
                <a:cubicBezTo>
                  <a:pt x="12176960" y="1850425"/>
                  <a:pt x="12180160" y="1846425"/>
                  <a:pt x="12179520" y="1841945"/>
                </a:cubicBezTo>
                <a:cubicBezTo>
                  <a:pt x="12178880" y="1837465"/>
                  <a:pt x="12174880" y="1834265"/>
                  <a:pt x="12170560" y="1834905"/>
                </a:cubicBezTo>
                <a:lnTo>
                  <a:pt x="12036320" y="1852505"/>
                </a:lnTo>
                <a:cubicBezTo>
                  <a:pt x="12029920" y="1840505"/>
                  <a:pt x="12013600" y="1810105"/>
                  <a:pt x="12004160" y="1796825"/>
                </a:cubicBezTo>
                <a:cubicBezTo>
                  <a:pt x="11992320" y="1780185"/>
                  <a:pt x="11948960" y="1740665"/>
                  <a:pt x="11925600" y="1721785"/>
                </a:cubicBezTo>
                <a:cubicBezTo>
                  <a:pt x="11914400" y="1712825"/>
                  <a:pt x="11892800" y="1692505"/>
                  <a:pt x="11871840" y="1672825"/>
                </a:cubicBezTo>
                <a:cubicBezTo>
                  <a:pt x="11849760" y="1652025"/>
                  <a:pt x="11828960" y="1632505"/>
                  <a:pt x="11817280" y="1623065"/>
                </a:cubicBezTo>
                <a:cubicBezTo>
                  <a:pt x="11804480" y="1612825"/>
                  <a:pt x="11780160" y="1586105"/>
                  <a:pt x="11754560" y="1557945"/>
                </a:cubicBezTo>
                <a:cubicBezTo>
                  <a:pt x="11735680" y="1537145"/>
                  <a:pt x="11716160" y="1515705"/>
                  <a:pt x="11698240" y="1497465"/>
                </a:cubicBezTo>
                <a:cubicBezTo>
                  <a:pt x="11656160" y="1454425"/>
                  <a:pt x="11522240" y="1445625"/>
                  <a:pt x="11478240" y="1442745"/>
                </a:cubicBezTo>
                <a:lnTo>
                  <a:pt x="11470560" y="1442265"/>
                </a:lnTo>
                <a:cubicBezTo>
                  <a:pt x="11459840" y="1441625"/>
                  <a:pt x="11432640" y="1441305"/>
                  <a:pt x="11400960" y="1441305"/>
                </a:cubicBezTo>
                <a:cubicBezTo>
                  <a:pt x="11340320" y="1441305"/>
                  <a:pt x="11263680" y="1442265"/>
                  <a:pt x="11258880" y="1442265"/>
                </a:cubicBezTo>
                <a:cubicBezTo>
                  <a:pt x="11257920" y="1442265"/>
                  <a:pt x="11136800" y="1440025"/>
                  <a:pt x="10950400" y="1449145"/>
                </a:cubicBezTo>
                <a:cubicBezTo>
                  <a:pt x="10787360" y="1457145"/>
                  <a:pt x="10685600" y="1514585"/>
                  <a:pt x="10630880" y="1545305"/>
                </a:cubicBezTo>
                <a:cubicBezTo>
                  <a:pt x="10621920" y="1550265"/>
                  <a:pt x="10614240" y="1554745"/>
                  <a:pt x="10607680" y="1557945"/>
                </a:cubicBezTo>
                <a:cubicBezTo>
                  <a:pt x="10581760" y="1570905"/>
                  <a:pt x="10550080" y="1596505"/>
                  <a:pt x="10510080" y="1628825"/>
                </a:cubicBezTo>
                <a:cubicBezTo>
                  <a:pt x="10476640" y="1655705"/>
                  <a:pt x="10438720" y="1686425"/>
                  <a:pt x="10392640" y="1719385"/>
                </a:cubicBezTo>
                <a:cubicBezTo>
                  <a:pt x="10293920" y="1790105"/>
                  <a:pt x="10151840" y="1766585"/>
                  <a:pt x="10150400" y="1766265"/>
                </a:cubicBezTo>
                <a:cubicBezTo>
                  <a:pt x="10149760" y="1766265"/>
                  <a:pt x="10012960" y="1754745"/>
                  <a:pt x="9938720" y="1747865"/>
                </a:cubicBezTo>
                <a:cubicBezTo>
                  <a:pt x="9877121" y="1742105"/>
                  <a:pt x="9814880" y="1720025"/>
                  <a:pt x="9797440" y="1713465"/>
                </a:cubicBezTo>
                <a:cubicBezTo>
                  <a:pt x="9797920" y="1695385"/>
                  <a:pt x="9799200" y="1677945"/>
                  <a:pt x="9800640" y="1660825"/>
                </a:cubicBezTo>
                <a:cubicBezTo>
                  <a:pt x="9816000" y="1666265"/>
                  <a:pt x="9851680" y="1675385"/>
                  <a:pt x="9928480" y="1683385"/>
                </a:cubicBezTo>
                <a:cubicBezTo>
                  <a:pt x="10038400" y="1694745"/>
                  <a:pt x="10158400" y="1708505"/>
                  <a:pt x="10159520" y="1708665"/>
                </a:cubicBezTo>
                <a:cubicBezTo>
                  <a:pt x="10166720" y="1709625"/>
                  <a:pt x="10338400" y="1731065"/>
                  <a:pt x="10428640" y="1639705"/>
                </a:cubicBezTo>
                <a:cubicBezTo>
                  <a:pt x="10519520" y="1547705"/>
                  <a:pt x="10579200" y="1502105"/>
                  <a:pt x="10713600" y="1457945"/>
                </a:cubicBezTo>
                <a:cubicBezTo>
                  <a:pt x="10735520" y="1450745"/>
                  <a:pt x="10754560" y="1444185"/>
                  <a:pt x="10771680" y="1438425"/>
                </a:cubicBezTo>
                <a:cubicBezTo>
                  <a:pt x="10861440" y="1407865"/>
                  <a:pt x="10895040" y="1396345"/>
                  <a:pt x="11016320" y="1396345"/>
                </a:cubicBezTo>
                <a:cubicBezTo>
                  <a:pt x="11160160" y="1396345"/>
                  <a:pt x="11311680" y="1394105"/>
                  <a:pt x="11313121" y="1394105"/>
                </a:cubicBezTo>
                <a:cubicBezTo>
                  <a:pt x="11315040" y="1393945"/>
                  <a:pt x="11470400" y="1384825"/>
                  <a:pt x="11503680" y="1387225"/>
                </a:cubicBezTo>
                <a:cubicBezTo>
                  <a:pt x="11564000" y="1391225"/>
                  <a:pt x="11686240" y="1411545"/>
                  <a:pt x="11717121" y="1459385"/>
                </a:cubicBezTo>
                <a:cubicBezTo>
                  <a:pt x="11753920" y="1516505"/>
                  <a:pt x="11820320" y="1609625"/>
                  <a:pt x="11852640" y="1637945"/>
                </a:cubicBezTo>
                <a:cubicBezTo>
                  <a:pt x="11859040" y="1643705"/>
                  <a:pt x="11866240" y="1650105"/>
                  <a:pt x="11873920" y="1656985"/>
                </a:cubicBezTo>
                <a:cubicBezTo>
                  <a:pt x="11904000" y="1683865"/>
                  <a:pt x="11937920" y="1714425"/>
                  <a:pt x="11956960" y="1724025"/>
                </a:cubicBezTo>
                <a:cubicBezTo>
                  <a:pt x="11978720" y="1734905"/>
                  <a:pt x="12009280" y="1759545"/>
                  <a:pt x="12020000" y="1772505"/>
                </a:cubicBezTo>
                <a:cubicBezTo>
                  <a:pt x="12030880" y="1785625"/>
                  <a:pt x="12047520" y="1816825"/>
                  <a:pt x="12047680" y="1817145"/>
                </a:cubicBezTo>
                <a:cubicBezTo>
                  <a:pt x="12049280" y="1820185"/>
                  <a:pt x="12052640" y="1821785"/>
                  <a:pt x="12056000" y="1821305"/>
                </a:cubicBezTo>
                <a:lnTo>
                  <a:pt x="12164480" y="1802905"/>
                </a:lnTo>
                <a:cubicBezTo>
                  <a:pt x="12168800" y="1802105"/>
                  <a:pt x="12171840" y="1797945"/>
                  <a:pt x="12171040" y="1793625"/>
                </a:cubicBezTo>
                <a:cubicBezTo>
                  <a:pt x="12170240" y="1789305"/>
                  <a:pt x="12166240" y="1786265"/>
                  <a:pt x="12161760" y="1787065"/>
                </a:cubicBezTo>
                <a:lnTo>
                  <a:pt x="12058880" y="1804505"/>
                </a:lnTo>
                <a:cubicBezTo>
                  <a:pt x="12053440" y="1794585"/>
                  <a:pt x="12041280" y="1773305"/>
                  <a:pt x="12032160" y="1762265"/>
                </a:cubicBezTo>
                <a:cubicBezTo>
                  <a:pt x="12020160" y="1747705"/>
                  <a:pt x="11987840" y="1721625"/>
                  <a:pt x="11964000" y="1709625"/>
                </a:cubicBezTo>
                <a:cubicBezTo>
                  <a:pt x="11946880" y="1700985"/>
                  <a:pt x="11912320" y="1669945"/>
                  <a:pt x="11884480" y="1644985"/>
                </a:cubicBezTo>
                <a:cubicBezTo>
                  <a:pt x="11876800" y="1638105"/>
                  <a:pt x="11869600" y="1631545"/>
                  <a:pt x="11863040" y="1625785"/>
                </a:cubicBezTo>
                <a:cubicBezTo>
                  <a:pt x="11832000" y="1598425"/>
                  <a:pt x="11766720" y="1506905"/>
                  <a:pt x="11730400" y="1450585"/>
                </a:cubicBezTo>
                <a:cubicBezTo>
                  <a:pt x="11687360" y="1384025"/>
                  <a:pt x="11512000" y="1371545"/>
                  <a:pt x="11504480" y="1371065"/>
                </a:cubicBezTo>
                <a:cubicBezTo>
                  <a:pt x="11500480" y="1370905"/>
                  <a:pt x="11495040" y="1370745"/>
                  <a:pt x="11488320" y="1370745"/>
                </a:cubicBezTo>
                <a:cubicBezTo>
                  <a:pt x="11437121" y="1370745"/>
                  <a:pt x="11317920" y="1377625"/>
                  <a:pt x="11312320" y="1377945"/>
                </a:cubicBezTo>
                <a:cubicBezTo>
                  <a:pt x="11311040" y="1377945"/>
                  <a:pt x="11159840" y="1380185"/>
                  <a:pt x="11016000" y="1380185"/>
                </a:cubicBezTo>
                <a:cubicBezTo>
                  <a:pt x="10892160" y="1380185"/>
                  <a:pt x="10857760" y="1391865"/>
                  <a:pt x="10766240" y="1423065"/>
                </a:cubicBezTo>
                <a:cubicBezTo>
                  <a:pt x="10749280" y="1428825"/>
                  <a:pt x="10730240" y="1435385"/>
                  <a:pt x="10708320" y="1442585"/>
                </a:cubicBezTo>
                <a:cubicBezTo>
                  <a:pt x="10570720" y="1487865"/>
                  <a:pt x="10509760" y="1534425"/>
                  <a:pt x="10416960" y="1628345"/>
                </a:cubicBezTo>
                <a:cubicBezTo>
                  <a:pt x="10332320" y="1714105"/>
                  <a:pt x="10162880" y="1692985"/>
                  <a:pt x="10161121" y="1692665"/>
                </a:cubicBezTo>
                <a:cubicBezTo>
                  <a:pt x="10159840" y="1692505"/>
                  <a:pt x="10039840" y="1678745"/>
                  <a:pt x="9929760" y="1667385"/>
                </a:cubicBezTo>
                <a:cubicBezTo>
                  <a:pt x="9844480" y="1658585"/>
                  <a:pt x="9811520" y="1648025"/>
                  <a:pt x="9801600" y="1644185"/>
                </a:cubicBezTo>
                <a:cubicBezTo>
                  <a:pt x="9803200" y="1623385"/>
                  <a:pt x="9804640" y="1602905"/>
                  <a:pt x="9804160" y="1582425"/>
                </a:cubicBezTo>
                <a:cubicBezTo>
                  <a:pt x="9829440" y="1589625"/>
                  <a:pt x="9925760" y="1615225"/>
                  <a:pt x="10031200" y="1619225"/>
                </a:cubicBezTo>
                <a:cubicBezTo>
                  <a:pt x="10053760" y="1620025"/>
                  <a:pt x="10075680" y="1621145"/>
                  <a:pt x="10096960" y="1622265"/>
                </a:cubicBezTo>
                <a:cubicBezTo>
                  <a:pt x="10193121" y="1627225"/>
                  <a:pt x="10276160" y="1631705"/>
                  <a:pt x="10345280" y="1604825"/>
                </a:cubicBezTo>
                <a:cubicBezTo>
                  <a:pt x="10401600" y="1582905"/>
                  <a:pt x="10449280" y="1546105"/>
                  <a:pt x="10487520" y="1516505"/>
                </a:cubicBezTo>
                <a:cubicBezTo>
                  <a:pt x="10505920" y="1502265"/>
                  <a:pt x="10521920" y="1489945"/>
                  <a:pt x="10534720" y="1482585"/>
                </a:cubicBezTo>
                <a:cubicBezTo>
                  <a:pt x="10543840" y="1477145"/>
                  <a:pt x="10554720" y="1468665"/>
                  <a:pt x="10568480" y="1457945"/>
                </a:cubicBezTo>
                <a:cubicBezTo>
                  <a:pt x="10614400" y="1421785"/>
                  <a:pt x="10691520" y="1361465"/>
                  <a:pt x="10814080" y="1345625"/>
                </a:cubicBezTo>
                <a:cubicBezTo>
                  <a:pt x="10971680" y="1325305"/>
                  <a:pt x="11114240" y="1322745"/>
                  <a:pt x="11115680" y="1322745"/>
                </a:cubicBezTo>
                <a:lnTo>
                  <a:pt x="11312480" y="1322745"/>
                </a:lnTo>
                <a:lnTo>
                  <a:pt x="11512480" y="1313465"/>
                </a:lnTo>
                <a:cubicBezTo>
                  <a:pt x="11552160" y="1314265"/>
                  <a:pt x="11662240" y="1323545"/>
                  <a:pt x="11688320" y="1358585"/>
                </a:cubicBezTo>
                <a:cubicBezTo>
                  <a:pt x="11697920" y="1371385"/>
                  <a:pt x="11708480" y="1384665"/>
                  <a:pt x="11719200" y="1398105"/>
                </a:cubicBezTo>
                <a:cubicBezTo>
                  <a:pt x="11747200" y="1433145"/>
                  <a:pt x="11776160" y="1469465"/>
                  <a:pt x="11790240" y="1501785"/>
                </a:cubicBezTo>
                <a:cubicBezTo>
                  <a:pt x="11816160" y="1561625"/>
                  <a:pt x="11847040" y="1603225"/>
                  <a:pt x="11884320" y="1629305"/>
                </a:cubicBezTo>
                <a:cubicBezTo>
                  <a:pt x="11926720" y="1658745"/>
                  <a:pt x="11975360" y="1691065"/>
                  <a:pt x="11975840" y="1691385"/>
                </a:cubicBezTo>
                <a:lnTo>
                  <a:pt x="12013121" y="1714425"/>
                </a:lnTo>
                <a:cubicBezTo>
                  <a:pt x="12036000" y="1729465"/>
                  <a:pt x="12073280" y="1760025"/>
                  <a:pt x="12075040" y="1777305"/>
                </a:cubicBezTo>
                <a:cubicBezTo>
                  <a:pt x="12075520" y="1781145"/>
                  <a:pt x="12078720" y="1784345"/>
                  <a:pt x="12082560" y="1784505"/>
                </a:cubicBezTo>
                <a:lnTo>
                  <a:pt x="12120960" y="1786905"/>
                </a:lnTo>
                <a:lnTo>
                  <a:pt x="12168640" y="1782425"/>
                </a:lnTo>
                <a:cubicBezTo>
                  <a:pt x="12173121" y="1781945"/>
                  <a:pt x="12176320" y="1778105"/>
                  <a:pt x="12175840" y="1773625"/>
                </a:cubicBezTo>
                <a:cubicBezTo>
                  <a:pt x="12175360" y="1769305"/>
                  <a:pt x="12171360" y="1766105"/>
                  <a:pt x="12167040" y="1766425"/>
                </a:cubicBezTo>
                <a:lnTo>
                  <a:pt x="12120640" y="1770905"/>
                </a:lnTo>
                <a:lnTo>
                  <a:pt x="12089440" y="1768825"/>
                </a:lnTo>
                <a:cubicBezTo>
                  <a:pt x="12079360" y="1739545"/>
                  <a:pt x="12028000" y="1704985"/>
                  <a:pt x="12021760" y="1700825"/>
                </a:cubicBezTo>
                <a:lnTo>
                  <a:pt x="11984480" y="1677785"/>
                </a:lnTo>
                <a:cubicBezTo>
                  <a:pt x="11984320" y="1677625"/>
                  <a:pt x="11935840" y="1645465"/>
                  <a:pt x="11893600" y="1616025"/>
                </a:cubicBezTo>
                <a:cubicBezTo>
                  <a:pt x="11858720" y="1591705"/>
                  <a:pt x="11829920" y="1552345"/>
                  <a:pt x="11805121" y="1495385"/>
                </a:cubicBezTo>
                <a:cubicBezTo>
                  <a:pt x="11790240" y="1460985"/>
                  <a:pt x="11760640" y="1423865"/>
                  <a:pt x="11732000" y="1388025"/>
                </a:cubicBezTo>
                <a:cubicBezTo>
                  <a:pt x="11721280" y="1374745"/>
                  <a:pt x="11710880" y="1361625"/>
                  <a:pt x="11701440" y="1348985"/>
                </a:cubicBezTo>
                <a:cubicBezTo>
                  <a:pt x="11665280" y="1300345"/>
                  <a:pt x="11518880" y="1297625"/>
                  <a:pt x="11512640" y="1297465"/>
                </a:cubicBezTo>
                <a:lnTo>
                  <a:pt x="11312480" y="1306745"/>
                </a:lnTo>
                <a:lnTo>
                  <a:pt x="11116000" y="1306745"/>
                </a:lnTo>
                <a:cubicBezTo>
                  <a:pt x="11114560" y="1306745"/>
                  <a:pt x="10971040" y="1309305"/>
                  <a:pt x="10812640" y="1329785"/>
                </a:cubicBezTo>
                <a:cubicBezTo>
                  <a:pt x="10685760" y="1346105"/>
                  <a:pt x="10606560" y="1408185"/>
                  <a:pt x="10559200" y="1445305"/>
                </a:cubicBezTo>
                <a:cubicBezTo>
                  <a:pt x="10545920" y="1455705"/>
                  <a:pt x="10535520" y="1463865"/>
                  <a:pt x="10527200" y="1468665"/>
                </a:cubicBezTo>
                <a:cubicBezTo>
                  <a:pt x="10513440" y="1476665"/>
                  <a:pt x="10497121" y="1489305"/>
                  <a:pt x="10478240" y="1503865"/>
                </a:cubicBezTo>
                <a:cubicBezTo>
                  <a:pt x="10440800" y="1532825"/>
                  <a:pt x="10394080" y="1568985"/>
                  <a:pt x="10340000" y="1589945"/>
                </a:cubicBezTo>
                <a:cubicBezTo>
                  <a:pt x="10274080" y="1615545"/>
                  <a:pt x="10192640" y="1611225"/>
                  <a:pt x="10098240" y="1606265"/>
                </a:cubicBezTo>
                <a:cubicBezTo>
                  <a:pt x="10076800" y="1605145"/>
                  <a:pt x="10054720" y="1603865"/>
                  <a:pt x="10032160" y="1603065"/>
                </a:cubicBezTo>
                <a:cubicBezTo>
                  <a:pt x="9918080" y="1598745"/>
                  <a:pt x="9815040" y="1568665"/>
                  <a:pt x="9803680" y="1565305"/>
                </a:cubicBezTo>
                <a:cubicBezTo>
                  <a:pt x="9802080" y="1542265"/>
                  <a:pt x="9797600" y="1519225"/>
                  <a:pt x="9788320" y="1495705"/>
                </a:cubicBezTo>
                <a:cubicBezTo>
                  <a:pt x="9830560" y="1501145"/>
                  <a:pt x="9978400" y="1519545"/>
                  <a:pt x="10094080" y="1527225"/>
                </a:cubicBezTo>
                <a:cubicBezTo>
                  <a:pt x="10228800" y="1536345"/>
                  <a:pt x="10411360" y="1503065"/>
                  <a:pt x="10440800" y="1487225"/>
                </a:cubicBezTo>
                <a:cubicBezTo>
                  <a:pt x="10467040" y="1473145"/>
                  <a:pt x="10589440" y="1390585"/>
                  <a:pt x="10604640" y="1378425"/>
                </a:cubicBezTo>
                <a:cubicBezTo>
                  <a:pt x="10606400" y="1376985"/>
                  <a:pt x="10608800" y="1374745"/>
                  <a:pt x="10611840" y="1372025"/>
                </a:cubicBezTo>
                <a:cubicBezTo>
                  <a:pt x="10632800" y="1353145"/>
                  <a:pt x="10681760" y="1308505"/>
                  <a:pt x="10772160" y="1292825"/>
                </a:cubicBezTo>
                <a:cubicBezTo>
                  <a:pt x="10801760" y="1287705"/>
                  <a:pt x="10826880" y="1281945"/>
                  <a:pt x="10851360" y="1276505"/>
                </a:cubicBezTo>
                <a:cubicBezTo>
                  <a:pt x="10914880" y="1262265"/>
                  <a:pt x="10969760" y="1249945"/>
                  <a:pt x="11075840" y="1251545"/>
                </a:cubicBezTo>
                <a:cubicBezTo>
                  <a:pt x="11222720" y="1253785"/>
                  <a:pt x="11422400" y="1246905"/>
                  <a:pt x="11424320" y="1246905"/>
                </a:cubicBezTo>
                <a:cubicBezTo>
                  <a:pt x="11425440" y="1246905"/>
                  <a:pt x="11493440" y="1240185"/>
                  <a:pt x="11565920" y="1246905"/>
                </a:cubicBezTo>
                <a:cubicBezTo>
                  <a:pt x="11631360" y="1252985"/>
                  <a:pt x="11686240" y="1285785"/>
                  <a:pt x="11716640" y="1337145"/>
                </a:cubicBezTo>
                <a:cubicBezTo>
                  <a:pt x="11742720" y="1381305"/>
                  <a:pt x="11776000" y="1435385"/>
                  <a:pt x="11791360" y="1455225"/>
                </a:cubicBezTo>
                <a:lnTo>
                  <a:pt x="11795040" y="1460025"/>
                </a:lnTo>
                <a:cubicBezTo>
                  <a:pt x="11813121" y="1483545"/>
                  <a:pt x="11855200" y="1538425"/>
                  <a:pt x="11893760" y="1558425"/>
                </a:cubicBezTo>
                <a:cubicBezTo>
                  <a:pt x="11932160" y="1578425"/>
                  <a:pt x="11982720" y="1625625"/>
                  <a:pt x="11983200" y="1626105"/>
                </a:cubicBezTo>
                <a:cubicBezTo>
                  <a:pt x="12027200" y="1653785"/>
                  <a:pt x="12095680" y="1704985"/>
                  <a:pt x="12097600" y="1728825"/>
                </a:cubicBezTo>
                <a:lnTo>
                  <a:pt x="12097600" y="1755705"/>
                </a:lnTo>
                <a:cubicBezTo>
                  <a:pt x="12097600" y="1757945"/>
                  <a:pt x="12098560" y="1760025"/>
                  <a:pt x="12100160" y="1761625"/>
                </a:cubicBezTo>
                <a:cubicBezTo>
                  <a:pt x="12101920" y="1763065"/>
                  <a:pt x="12104000" y="1763865"/>
                  <a:pt x="12106240" y="1763705"/>
                </a:cubicBezTo>
                <a:lnTo>
                  <a:pt x="12168960" y="1759065"/>
                </a:lnTo>
                <a:cubicBezTo>
                  <a:pt x="12173280" y="1758745"/>
                  <a:pt x="12176640" y="1754905"/>
                  <a:pt x="12176320" y="1750425"/>
                </a:cubicBezTo>
                <a:cubicBezTo>
                  <a:pt x="12176000" y="1745945"/>
                  <a:pt x="12172160" y="1742585"/>
                  <a:pt x="12167840" y="1742905"/>
                </a:cubicBezTo>
                <a:lnTo>
                  <a:pt x="12113600" y="1746905"/>
                </a:lnTo>
                <a:lnTo>
                  <a:pt x="12113600" y="1728025"/>
                </a:lnTo>
                <a:cubicBezTo>
                  <a:pt x="12110400" y="1687705"/>
                  <a:pt x="12004800" y="1620665"/>
                  <a:pt x="11992800" y="1613145"/>
                </a:cubicBezTo>
                <a:cubicBezTo>
                  <a:pt x="11992000" y="1612025"/>
                  <a:pt x="11941440" y="1564825"/>
                  <a:pt x="11900960" y="1543865"/>
                </a:cubicBezTo>
                <a:cubicBezTo>
                  <a:pt x="11865600" y="1525625"/>
                  <a:pt x="11824960" y="1472505"/>
                  <a:pt x="11807520" y="1449945"/>
                </a:cubicBezTo>
                <a:lnTo>
                  <a:pt x="11803680" y="1444985"/>
                </a:lnTo>
                <a:cubicBezTo>
                  <a:pt x="11788800" y="1425785"/>
                  <a:pt x="11755840" y="1372345"/>
                  <a:pt x="11730080" y="1328665"/>
                </a:cubicBezTo>
                <a:cubicBezTo>
                  <a:pt x="11697121" y="1272825"/>
                  <a:pt x="11637760" y="1237145"/>
                  <a:pt x="11567040" y="1230585"/>
                </a:cubicBezTo>
                <a:cubicBezTo>
                  <a:pt x="11542240" y="1228345"/>
                  <a:pt x="11517920" y="1227545"/>
                  <a:pt x="11496640" y="1227545"/>
                </a:cubicBezTo>
                <a:cubicBezTo>
                  <a:pt x="11454240" y="1227545"/>
                  <a:pt x="11423360" y="1230585"/>
                  <a:pt x="11422880" y="1230585"/>
                </a:cubicBezTo>
                <a:cubicBezTo>
                  <a:pt x="11421280" y="1230585"/>
                  <a:pt x="11222080" y="1237305"/>
                  <a:pt x="11075680" y="1235065"/>
                </a:cubicBezTo>
                <a:cubicBezTo>
                  <a:pt x="10967680" y="1233305"/>
                  <a:pt x="10909280" y="1246425"/>
                  <a:pt x="10847360" y="1260345"/>
                </a:cubicBezTo>
                <a:cubicBezTo>
                  <a:pt x="10823040" y="1265785"/>
                  <a:pt x="10798080" y="1271385"/>
                  <a:pt x="10768800" y="1276505"/>
                </a:cubicBezTo>
                <a:cubicBezTo>
                  <a:pt x="10673760" y="1292985"/>
                  <a:pt x="10622400" y="1339705"/>
                  <a:pt x="10600480" y="1359705"/>
                </a:cubicBezTo>
                <a:cubicBezTo>
                  <a:pt x="10597760" y="1362105"/>
                  <a:pt x="10595520" y="1364185"/>
                  <a:pt x="10593920" y="1365465"/>
                </a:cubicBezTo>
                <a:cubicBezTo>
                  <a:pt x="10579360" y="1377145"/>
                  <a:pt x="10457280" y="1459385"/>
                  <a:pt x="10432480" y="1472665"/>
                </a:cubicBezTo>
                <a:cubicBezTo>
                  <a:pt x="10408800" y="1485305"/>
                  <a:pt x="10230720" y="1519865"/>
                  <a:pt x="10094400" y="1510745"/>
                </a:cubicBezTo>
                <a:cubicBezTo>
                  <a:pt x="9966720" y="1502105"/>
                  <a:pt x="9799360" y="1480665"/>
                  <a:pt x="9779840" y="1478105"/>
                </a:cubicBezTo>
                <a:cubicBezTo>
                  <a:pt x="9773760" y="1466105"/>
                  <a:pt x="9766560" y="1453785"/>
                  <a:pt x="9757440" y="1441305"/>
                </a:cubicBezTo>
                <a:cubicBezTo>
                  <a:pt x="9744640" y="1423705"/>
                  <a:pt x="9733440" y="1400505"/>
                  <a:pt x="9724000" y="1373945"/>
                </a:cubicBezTo>
                <a:cubicBezTo>
                  <a:pt x="9754880" y="1385945"/>
                  <a:pt x="9829600" y="1412985"/>
                  <a:pt x="9890880" y="1416665"/>
                </a:cubicBezTo>
                <a:cubicBezTo>
                  <a:pt x="9967200" y="1421145"/>
                  <a:pt x="10168800" y="1423545"/>
                  <a:pt x="10170880" y="1423545"/>
                </a:cubicBezTo>
                <a:cubicBezTo>
                  <a:pt x="10178080" y="1423545"/>
                  <a:pt x="10351840" y="1425625"/>
                  <a:pt x="10414560" y="1416505"/>
                </a:cubicBezTo>
                <a:cubicBezTo>
                  <a:pt x="10477920" y="1407225"/>
                  <a:pt x="10575200" y="1350585"/>
                  <a:pt x="10609600" y="1322905"/>
                </a:cubicBezTo>
                <a:cubicBezTo>
                  <a:pt x="10617280" y="1316665"/>
                  <a:pt x="10626400" y="1308025"/>
                  <a:pt x="10636800" y="1298105"/>
                </a:cubicBezTo>
                <a:cubicBezTo>
                  <a:pt x="10668800" y="1267545"/>
                  <a:pt x="10712640" y="1225785"/>
                  <a:pt x="10760480" y="1214105"/>
                </a:cubicBezTo>
                <a:cubicBezTo>
                  <a:pt x="10782400" y="1208825"/>
                  <a:pt x="10796800" y="1203065"/>
                  <a:pt x="10810880" y="1197465"/>
                </a:cubicBezTo>
                <a:cubicBezTo>
                  <a:pt x="10838880" y="1186425"/>
                  <a:pt x="10862880" y="1176985"/>
                  <a:pt x="10938560" y="1175385"/>
                </a:cubicBezTo>
                <a:cubicBezTo>
                  <a:pt x="10988640" y="1174265"/>
                  <a:pt x="11057280" y="1172825"/>
                  <a:pt x="11119360" y="1171545"/>
                </a:cubicBezTo>
                <a:cubicBezTo>
                  <a:pt x="11198880" y="1169785"/>
                  <a:pt x="11267360" y="1168345"/>
                  <a:pt x="11272160" y="1168345"/>
                </a:cubicBezTo>
                <a:cubicBezTo>
                  <a:pt x="11280640" y="1168345"/>
                  <a:pt x="11425760" y="1166265"/>
                  <a:pt x="11432000" y="1166105"/>
                </a:cubicBezTo>
                <a:cubicBezTo>
                  <a:pt x="11433600" y="1165945"/>
                  <a:pt x="11570400" y="1162105"/>
                  <a:pt x="11633121" y="1201625"/>
                </a:cubicBezTo>
                <a:cubicBezTo>
                  <a:pt x="11658080" y="1217305"/>
                  <a:pt x="11682240" y="1235545"/>
                  <a:pt x="11702560" y="1251865"/>
                </a:cubicBezTo>
                <a:cubicBezTo>
                  <a:pt x="11700800" y="1253945"/>
                  <a:pt x="11700160" y="1256985"/>
                  <a:pt x="11701280" y="1259865"/>
                </a:cubicBezTo>
                <a:cubicBezTo>
                  <a:pt x="11702880" y="1263545"/>
                  <a:pt x="11739520" y="1351385"/>
                  <a:pt x="11782880" y="1395705"/>
                </a:cubicBezTo>
                <a:cubicBezTo>
                  <a:pt x="11808480" y="1421785"/>
                  <a:pt x="11840000" y="1445465"/>
                  <a:pt x="11865440" y="1464505"/>
                </a:cubicBezTo>
                <a:cubicBezTo>
                  <a:pt x="11882880" y="1477465"/>
                  <a:pt x="11897760" y="1488825"/>
                  <a:pt x="11905600" y="1496825"/>
                </a:cubicBezTo>
                <a:cubicBezTo>
                  <a:pt x="11925600" y="1517625"/>
                  <a:pt x="11964640" y="1548985"/>
                  <a:pt x="11966240" y="1550265"/>
                </a:cubicBezTo>
                <a:cubicBezTo>
                  <a:pt x="11966560" y="1550585"/>
                  <a:pt x="12017600" y="1594105"/>
                  <a:pt x="12042880" y="1616665"/>
                </a:cubicBezTo>
                <a:cubicBezTo>
                  <a:pt x="12072960" y="1643545"/>
                  <a:pt x="12113440" y="1685625"/>
                  <a:pt x="12117920" y="1696505"/>
                </a:cubicBezTo>
                <a:cubicBezTo>
                  <a:pt x="12119040" y="1699225"/>
                  <a:pt x="12121600" y="1701145"/>
                  <a:pt x="12124480" y="1701465"/>
                </a:cubicBezTo>
                <a:lnTo>
                  <a:pt x="12170080" y="1706105"/>
                </a:lnTo>
                <a:cubicBezTo>
                  <a:pt x="12174720" y="1706585"/>
                  <a:pt x="12178400" y="1703385"/>
                  <a:pt x="12178880" y="1698905"/>
                </a:cubicBezTo>
                <a:cubicBezTo>
                  <a:pt x="12179360" y="1694425"/>
                  <a:pt x="12176000" y="1690585"/>
                  <a:pt x="12171680" y="1690105"/>
                </a:cubicBezTo>
                <a:lnTo>
                  <a:pt x="12130240" y="1685945"/>
                </a:lnTo>
                <a:cubicBezTo>
                  <a:pt x="12118240" y="1666585"/>
                  <a:pt x="12075200" y="1624185"/>
                  <a:pt x="12053600" y="1604825"/>
                </a:cubicBezTo>
                <a:cubicBezTo>
                  <a:pt x="12028160" y="1582105"/>
                  <a:pt x="11976960" y="1538585"/>
                  <a:pt x="11976480" y="1538105"/>
                </a:cubicBezTo>
                <a:cubicBezTo>
                  <a:pt x="11975840" y="1537625"/>
                  <a:pt x="11936480" y="1505945"/>
                  <a:pt x="11917121" y="1485785"/>
                </a:cubicBezTo>
                <a:cubicBezTo>
                  <a:pt x="11908320" y="1476825"/>
                  <a:pt x="11892960" y="1465305"/>
                  <a:pt x="11875040" y="1451865"/>
                </a:cubicBezTo>
                <a:cubicBezTo>
                  <a:pt x="11850080" y="1433145"/>
                  <a:pt x="11819040" y="1409945"/>
                  <a:pt x="11794400" y="1384665"/>
                </a:cubicBezTo>
                <a:cubicBezTo>
                  <a:pt x="11763520" y="1352985"/>
                  <a:pt x="11735040" y="1295705"/>
                  <a:pt x="11722720" y="1268665"/>
                </a:cubicBezTo>
                <a:cubicBezTo>
                  <a:pt x="11743680" y="1286425"/>
                  <a:pt x="11757280" y="1299385"/>
                  <a:pt x="11757600" y="1299705"/>
                </a:cubicBezTo>
                <a:cubicBezTo>
                  <a:pt x="11758560" y="1300665"/>
                  <a:pt x="11832160" y="1364345"/>
                  <a:pt x="11848960" y="1380185"/>
                </a:cubicBezTo>
                <a:lnTo>
                  <a:pt x="11866080" y="1396345"/>
                </a:lnTo>
                <a:cubicBezTo>
                  <a:pt x="11891680" y="1420665"/>
                  <a:pt x="11934560" y="1461305"/>
                  <a:pt x="11954720" y="1479225"/>
                </a:cubicBezTo>
                <a:cubicBezTo>
                  <a:pt x="11980000" y="1501785"/>
                  <a:pt x="12033920" y="1554265"/>
                  <a:pt x="12034400" y="1554745"/>
                </a:cubicBezTo>
                <a:lnTo>
                  <a:pt x="12094560" y="1607865"/>
                </a:lnTo>
                <a:lnTo>
                  <a:pt x="12123360" y="1631065"/>
                </a:lnTo>
                <a:cubicBezTo>
                  <a:pt x="12124320" y="1631865"/>
                  <a:pt x="12125440" y="1632345"/>
                  <a:pt x="12126720" y="1632665"/>
                </a:cubicBezTo>
                <a:lnTo>
                  <a:pt x="12169440" y="1641945"/>
                </a:lnTo>
                <a:cubicBezTo>
                  <a:pt x="12173600" y="1642905"/>
                  <a:pt x="12177920" y="1640025"/>
                  <a:pt x="12178880" y="1635705"/>
                </a:cubicBezTo>
                <a:cubicBezTo>
                  <a:pt x="12179840" y="1631385"/>
                  <a:pt x="12177121" y="1627065"/>
                  <a:pt x="12172800" y="1626105"/>
                </a:cubicBezTo>
                <a:lnTo>
                  <a:pt x="12131840" y="1617305"/>
                </a:lnTo>
                <a:lnTo>
                  <a:pt x="12104800" y="1595545"/>
                </a:lnTo>
                <a:lnTo>
                  <a:pt x="12045121" y="1542905"/>
                </a:lnTo>
                <a:cubicBezTo>
                  <a:pt x="12044800" y="1542585"/>
                  <a:pt x="11990720" y="1489945"/>
                  <a:pt x="11965280" y="1467065"/>
                </a:cubicBezTo>
                <a:cubicBezTo>
                  <a:pt x="11945280" y="1449145"/>
                  <a:pt x="11902560" y="1408665"/>
                  <a:pt x="11876960" y="1384505"/>
                </a:cubicBezTo>
                <a:lnTo>
                  <a:pt x="11859840" y="1368345"/>
                </a:lnTo>
                <a:cubicBezTo>
                  <a:pt x="11842880" y="1352345"/>
                  <a:pt x="11771360" y="1290265"/>
                  <a:pt x="11768320" y="1287705"/>
                </a:cubicBezTo>
                <a:cubicBezTo>
                  <a:pt x="11768000" y="1287385"/>
                  <a:pt x="11707360" y="1229465"/>
                  <a:pt x="11641760" y="1188185"/>
                </a:cubicBezTo>
                <a:cubicBezTo>
                  <a:pt x="11586400" y="1153465"/>
                  <a:pt x="11483360" y="1150105"/>
                  <a:pt x="11445760" y="1150105"/>
                </a:cubicBezTo>
                <a:cubicBezTo>
                  <a:pt x="11437920" y="1150105"/>
                  <a:pt x="11432800" y="1150265"/>
                  <a:pt x="11431840" y="1150265"/>
                </a:cubicBezTo>
                <a:cubicBezTo>
                  <a:pt x="11430400" y="1150265"/>
                  <a:pt x="11280800" y="1152505"/>
                  <a:pt x="11272320" y="1152505"/>
                </a:cubicBezTo>
                <a:cubicBezTo>
                  <a:pt x="11267520" y="1152505"/>
                  <a:pt x="11198720" y="1153945"/>
                  <a:pt x="11119200" y="1155705"/>
                </a:cubicBezTo>
                <a:cubicBezTo>
                  <a:pt x="11057121" y="1157145"/>
                  <a:pt x="10988480" y="1158585"/>
                  <a:pt x="10938400" y="1159545"/>
                </a:cubicBezTo>
                <a:cubicBezTo>
                  <a:pt x="10860000" y="1161145"/>
                  <a:pt x="10834560" y="1171065"/>
                  <a:pt x="10805280" y="1182745"/>
                </a:cubicBezTo>
                <a:cubicBezTo>
                  <a:pt x="10791680" y="1188185"/>
                  <a:pt x="10777760" y="1193625"/>
                  <a:pt x="10756960" y="1198745"/>
                </a:cubicBezTo>
                <a:cubicBezTo>
                  <a:pt x="10705121" y="1211385"/>
                  <a:pt x="10659360" y="1254905"/>
                  <a:pt x="10626080" y="1286585"/>
                </a:cubicBezTo>
                <a:cubicBezTo>
                  <a:pt x="10615840" y="1296185"/>
                  <a:pt x="10607040" y="1304505"/>
                  <a:pt x="10599840" y="1310425"/>
                </a:cubicBezTo>
                <a:cubicBezTo>
                  <a:pt x="10567520" y="1336505"/>
                  <a:pt x="10472000" y="1391865"/>
                  <a:pt x="10412480" y="1400665"/>
                </a:cubicBezTo>
                <a:cubicBezTo>
                  <a:pt x="10351040" y="1409785"/>
                  <a:pt x="10172960" y="1407545"/>
                  <a:pt x="10171200" y="1407545"/>
                </a:cubicBezTo>
                <a:cubicBezTo>
                  <a:pt x="10169280" y="1407545"/>
                  <a:pt x="9968000" y="1405145"/>
                  <a:pt x="9892000" y="1400665"/>
                </a:cubicBezTo>
                <a:cubicBezTo>
                  <a:pt x="9821920" y="1396505"/>
                  <a:pt x="9729760" y="1359065"/>
                  <a:pt x="9717440" y="1353945"/>
                </a:cubicBezTo>
                <a:cubicBezTo>
                  <a:pt x="9708000" y="1323385"/>
                  <a:pt x="9700480" y="1289305"/>
                  <a:pt x="9694720" y="1254585"/>
                </a:cubicBezTo>
                <a:cubicBezTo>
                  <a:pt x="9721600" y="1268185"/>
                  <a:pt x="9787680" y="1295705"/>
                  <a:pt x="9889760" y="1302265"/>
                </a:cubicBezTo>
                <a:cubicBezTo>
                  <a:pt x="9929440" y="1304825"/>
                  <a:pt x="9967840" y="1307545"/>
                  <a:pt x="10003520" y="1310105"/>
                </a:cubicBezTo>
                <a:cubicBezTo>
                  <a:pt x="10089280" y="1316345"/>
                  <a:pt x="10156960" y="1321305"/>
                  <a:pt x="10191840" y="1319225"/>
                </a:cubicBezTo>
                <a:cubicBezTo>
                  <a:pt x="10212960" y="1318105"/>
                  <a:pt x="10253440" y="1319545"/>
                  <a:pt x="10296160" y="1321145"/>
                </a:cubicBezTo>
                <a:cubicBezTo>
                  <a:pt x="10351840" y="1323225"/>
                  <a:pt x="10409280" y="1325305"/>
                  <a:pt x="10437280" y="1322105"/>
                </a:cubicBezTo>
                <a:cubicBezTo>
                  <a:pt x="10493121" y="1315705"/>
                  <a:pt x="10572000" y="1291065"/>
                  <a:pt x="10613280" y="1252345"/>
                </a:cubicBezTo>
                <a:cubicBezTo>
                  <a:pt x="10621440" y="1244665"/>
                  <a:pt x="10629440" y="1236665"/>
                  <a:pt x="10637280" y="1228825"/>
                </a:cubicBezTo>
                <a:cubicBezTo>
                  <a:pt x="10669760" y="1196345"/>
                  <a:pt x="10700480" y="1165785"/>
                  <a:pt x="10746560" y="1152665"/>
                </a:cubicBezTo>
                <a:cubicBezTo>
                  <a:pt x="10763840" y="1147705"/>
                  <a:pt x="10777600" y="1141785"/>
                  <a:pt x="10792000" y="1135385"/>
                </a:cubicBezTo>
                <a:cubicBezTo>
                  <a:pt x="10827040" y="1119865"/>
                  <a:pt x="10866880" y="1102425"/>
                  <a:pt x="10975840" y="1096505"/>
                </a:cubicBezTo>
                <a:cubicBezTo>
                  <a:pt x="11127680" y="1088185"/>
                  <a:pt x="11316160" y="1096505"/>
                  <a:pt x="11318080" y="1096505"/>
                </a:cubicBezTo>
                <a:cubicBezTo>
                  <a:pt x="11318720" y="1096505"/>
                  <a:pt x="11399360" y="1102105"/>
                  <a:pt x="11461920" y="1102105"/>
                </a:cubicBezTo>
                <a:cubicBezTo>
                  <a:pt x="11522080" y="1102105"/>
                  <a:pt x="11630080" y="1131225"/>
                  <a:pt x="11668160" y="1183705"/>
                </a:cubicBezTo>
                <a:cubicBezTo>
                  <a:pt x="11708480" y="1239385"/>
                  <a:pt x="11795200" y="1291545"/>
                  <a:pt x="11798880" y="1293785"/>
                </a:cubicBezTo>
                <a:cubicBezTo>
                  <a:pt x="11804160" y="1297625"/>
                  <a:pt x="11941600" y="1394905"/>
                  <a:pt x="11972960" y="1413305"/>
                </a:cubicBezTo>
                <a:cubicBezTo>
                  <a:pt x="11996160" y="1426745"/>
                  <a:pt x="12024000" y="1463385"/>
                  <a:pt x="12042400" y="1487545"/>
                </a:cubicBezTo>
                <a:cubicBezTo>
                  <a:pt x="12047840" y="1494745"/>
                  <a:pt x="12052640" y="1500985"/>
                  <a:pt x="12056480" y="1505625"/>
                </a:cubicBezTo>
                <a:cubicBezTo>
                  <a:pt x="12073280" y="1525945"/>
                  <a:pt x="12098720" y="1560185"/>
                  <a:pt x="12099040" y="1560505"/>
                </a:cubicBezTo>
                <a:cubicBezTo>
                  <a:pt x="12099520" y="1560985"/>
                  <a:pt x="12100000" y="1561465"/>
                  <a:pt x="12100480" y="1561945"/>
                </a:cubicBezTo>
                <a:lnTo>
                  <a:pt x="12132800" y="1587545"/>
                </a:lnTo>
                <a:cubicBezTo>
                  <a:pt x="12133920" y="1588345"/>
                  <a:pt x="12135360" y="1588985"/>
                  <a:pt x="12136800" y="1589145"/>
                </a:cubicBezTo>
                <a:lnTo>
                  <a:pt x="12172000" y="1593625"/>
                </a:lnTo>
                <a:cubicBezTo>
                  <a:pt x="12176320" y="1594265"/>
                  <a:pt x="12180320" y="1590905"/>
                  <a:pt x="12180960" y="1586585"/>
                </a:cubicBezTo>
                <a:cubicBezTo>
                  <a:pt x="12181600" y="1582265"/>
                  <a:pt x="12178400" y="1578105"/>
                  <a:pt x="12174080" y="1577625"/>
                </a:cubicBezTo>
                <a:lnTo>
                  <a:pt x="12140960" y="1573465"/>
                </a:lnTo>
                <a:lnTo>
                  <a:pt x="12111200" y="1549945"/>
                </a:lnTo>
                <a:cubicBezTo>
                  <a:pt x="12107200" y="1544505"/>
                  <a:pt x="12084320" y="1514105"/>
                  <a:pt x="12068800" y="1495385"/>
                </a:cubicBezTo>
                <a:cubicBezTo>
                  <a:pt x="12064960" y="1490905"/>
                  <a:pt x="12060320" y="1484825"/>
                  <a:pt x="12055040" y="1477785"/>
                </a:cubicBezTo>
                <a:cubicBezTo>
                  <a:pt x="12034720" y="1451065"/>
                  <a:pt x="12006880" y="1414585"/>
                  <a:pt x="11980960" y="1399385"/>
                </a:cubicBezTo>
                <a:cubicBezTo>
                  <a:pt x="11950240" y="1381465"/>
                  <a:pt x="11808960" y="1281305"/>
                  <a:pt x="11807520" y="1280345"/>
                </a:cubicBezTo>
                <a:cubicBezTo>
                  <a:pt x="11806080" y="1279545"/>
                  <a:pt x="11719520" y="1227385"/>
                  <a:pt x="11680960" y="1174265"/>
                </a:cubicBezTo>
                <a:cubicBezTo>
                  <a:pt x="11639360" y="1116825"/>
                  <a:pt x="11527040" y="1086105"/>
                  <a:pt x="11461920" y="1086105"/>
                </a:cubicBezTo>
                <a:cubicBezTo>
                  <a:pt x="11399840" y="1086105"/>
                  <a:pt x="11319680" y="1080505"/>
                  <a:pt x="11318880" y="1080505"/>
                </a:cubicBezTo>
                <a:cubicBezTo>
                  <a:pt x="11317440" y="1080505"/>
                  <a:pt x="11233280" y="1076825"/>
                  <a:pt x="11132160" y="1076825"/>
                </a:cubicBezTo>
                <a:cubicBezTo>
                  <a:pt x="11081280" y="1076825"/>
                  <a:pt x="11026080" y="1077625"/>
                  <a:pt x="10974880" y="1080505"/>
                </a:cubicBezTo>
                <a:cubicBezTo>
                  <a:pt x="10863040" y="1086745"/>
                  <a:pt x="10821920" y="1104825"/>
                  <a:pt x="10785600" y="1120665"/>
                </a:cubicBezTo>
                <a:cubicBezTo>
                  <a:pt x="10771520" y="1126745"/>
                  <a:pt x="10758400" y="1132505"/>
                  <a:pt x="10742080" y="1137145"/>
                </a:cubicBezTo>
                <a:cubicBezTo>
                  <a:pt x="10692160" y="1151225"/>
                  <a:pt x="10658400" y="1184825"/>
                  <a:pt x="10625920" y="1217305"/>
                </a:cubicBezTo>
                <a:cubicBezTo>
                  <a:pt x="10618080" y="1224985"/>
                  <a:pt x="10610240" y="1232825"/>
                  <a:pt x="10602240" y="1240345"/>
                </a:cubicBezTo>
                <a:cubicBezTo>
                  <a:pt x="10560960" y="1279225"/>
                  <a:pt x="10479680" y="1300825"/>
                  <a:pt x="10435200" y="1305945"/>
                </a:cubicBezTo>
                <a:cubicBezTo>
                  <a:pt x="10408320" y="1309145"/>
                  <a:pt x="10348960" y="1306905"/>
                  <a:pt x="10296480" y="1304985"/>
                </a:cubicBezTo>
                <a:cubicBezTo>
                  <a:pt x="10253280" y="1303385"/>
                  <a:pt x="10212480" y="1301945"/>
                  <a:pt x="10190560" y="1303225"/>
                </a:cubicBezTo>
                <a:cubicBezTo>
                  <a:pt x="10156640" y="1304985"/>
                  <a:pt x="10086080" y="1300025"/>
                  <a:pt x="10004320" y="1294105"/>
                </a:cubicBezTo>
                <a:cubicBezTo>
                  <a:pt x="9968640" y="1291545"/>
                  <a:pt x="9930240" y="1288825"/>
                  <a:pt x="9890560" y="1286265"/>
                </a:cubicBezTo>
                <a:cubicBezTo>
                  <a:pt x="9773121" y="1278745"/>
                  <a:pt x="9703680" y="1241785"/>
                  <a:pt x="9691520" y="1234745"/>
                </a:cubicBezTo>
                <a:cubicBezTo>
                  <a:pt x="9686240" y="1197785"/>
                  <a:pt x="9682880" y="1160505"/>
                  <a:pt x="9681760" y="1126425"/>
                </a:cubicBezTo>
                <a:cubicBezTo>
                  <a:pt x="9710560" y="1139705"/>
                  <a:pt x="9791840" y="1171705"/>
                  <a:pt x="9931840" y="1184185"/>
                </a:cubicBezTo>
                <a:lnTo>
                  <a:pt x="10020800" y="1192185"/>
                </a:lnTo>
                <a:cubicBezTo>
                  <a:pt x="10165440" y="1205145"/>
                  <a:pt x="10290400" y="1216345"/>
                  <a:pt x="10341280" y="1220025"/>
                </a:cubicBezTo>
                <a:lnTo>
                  <a:pt x="10350240" y="1220665"/>
                </a:lnTo>
                <a:cubicBezTo>
                  <a:pt x="10420960" y="1226105"/>
                  <a:pt x="10568000" y="1237305"/>
                  <a:pt x="10639680" y="1168505"/>
                </a:cubicBezTo>
                <a:cubicBezTo>
                  <a:pt x="10720320" y="1091065"/>
                  <a:pt x="10782560" y="1052985"/>
                  <a:pt x="10841280" y="1045145"/>
                </a:cubicBezTo>
                <a:cubicBezTo>
                  <a:pt x="10905920" y="1036345"/>
                  <a:pt x="11060160" y="1033945"/>
                  <a:pt x="11243840" y="1038425"/>
                </a:cubicBezTo>
                <a:cubicBezTo>
                  <a:pt x="11421121" y="1042745"/>
                  <a:pt x="11486240" y="1060345"/>
                  <a:pt x="11486880" y="1060505"/>
                </a:cubicBezTo>
                <a:cubicBezTo>
                  <a:pt x="11532640" y="1069145"/>
                  <a:pt x="11608960" y="1089145"/>
                  <a:pt x="11621760" y="1106905"/>
                </a:cubicBezTo>
                <a:cubicBezTo>
                  <a:pt x="11642080" y="1134905"/>
                  <a:pt x="11710560" y="1189945"/>
                  <a:pt x="11728320" y="1197145"/>
                </a:cubicBezTo>
                <a:cubicBezTo>
                  <a:pt x="11745920" y="1204185"/>
                  <a:pt x="11925280" y="1306745"/>
                  <a:pt x="11974240" y="1344025"/>
                </a:cubicBezTo>
                <a:cubicBezTo>
                  <a:pt x="12025920" y="1383385"/>
                  <a:pt x="12081600" y="1445145"/>
                  <a:pt x="12106400" y="1477145"/>
                </a:cubicBezTo>
                <a:cubicBezTo>
                  <a:pt x="12132640" y="1511065"/>
                  <a:pt x="12138560" y="1526425"/>
                  <a:pt x="12138560" y="1526585"/>
                </a:cubicBezTo>
                <a:cubicBezTo>
                  <a:pt x="12139520" y="1529465"/>
                  <a:pt x="12142240" y="1531545"/>
                  <a:pt x="12145280" y="1531865"/>
                </a:cubicBezTo>
                <a:lnTo>
                  <a:pt x="12165760" y="1533785"/>
                </a:lnTo>
                <a:cubicBezTo>
                  <a:pt x="12170080" y="1533945"/>
                  <a:pt x="12174080" y="1530905"/>
                  <a:pt x="12174400" y="1526425"/>
                </a:cubicBezTo>
                <a:cubicBezTo>
                  <a:pt x="12174880" y="1521945"/>
                  <a:pt x="12171520" y="1517945"/>
                  <a:pt x="12167200" y="1517625"/>
                </a:cubicBezTo>
                <a:lnTo>
                  <a:pt x="12151360" y="1516185"/>
                </a:lnTo>
                <a:cubicBezTo>
                  <a:pt x="12147680" y="1508825"/>
                  <a:pt x="12138880" y="1492985"/>
                  <a:pt x="12118880" y="1467225"/>
                </a:cubicBezTo>
                <a:cubicBezTo>
                  <a:pt x="12093600" y="1434585"/>
                  <a:pt x="12036640" y="1371545"/>
                  <a:pt x="11983680" y="1331225"/>
                </a:cubicBezTo>
                <a:cubicBezTo>
                  <a:pt x="11933920" y="1293625"/>
                  <a:pt x="11751840" y="1189465"/>
                  <a:pt x="11733920" y="1182265"/>
                </a:cubicBezTo>
                <a:cubicBezTo>
                  <a:pt x="11721280" y="1177145"/>
                  <a:pt x="11666400" y="1134265"/>
                  <a:pt x="11641600" y="1106265"/>
                </a:cubicBezTo>
                <a:cubicBezTo>
                  <a:pt x="11686560" y="1128665"/>
                  <a:pt x="11741760" y="1153305"/>
                  <a:pt x="11792480" y="1170585"/>
                </a:cubicBezTo>
                <a:cubicBezTo>
                  <a:pt x="11794400" y="1171225"/>
                  <a:pt x="11796480" y="1171865"/>
                  <a:pt x="11798400" y="1172505"/>
                </a:cubicBezTo>
                <a:cubicBezTo>
                  <a:pt x="11798880" y="1172985"/>
                  <a:pt x="11799200" y="1173465"/>
                  <a:pt x="11799840" y="1173785"/>
                </a:cubicBezTo>
                <a:cubicBezTo>
                  <a:pt x="11801280" y="1174585"/>
                  <a:pt x="11946720" y="1252825"/>
                  <a:pt x="11970880" y="1271705"/>
                </a:cubicBezTo>
                <a:cubicBezTo>
                  <a:pt x="11977440" y="1280025"/>
                  <a:pt x="12038400" y="1355385"/>
                  <a:pt x="12074400" y="1371865"/>
                </a:cubicBezTo>
                <a:cubicBezTo>
                  <a:pt x="12099520" y="1402425"/>
                  <a:pt x="12137760" y="1449625"/>
                  <a:pt x="12142400" y="1457945"/>
                </a:cubicBezTo>
                <a:cubicBezTo>
                  <a:pt x="12151360" y="1474105"/>
                  <a:pt x="12168800" y="1474265"/>
                  <a:pt x="12169600" y="1474265"/>
                </a:cubicBezTo>
                <a:cubicBezTo>
                  <a:pt x="12174080" y="1474265"/>
                  <a:pt x="12177600" y="1470585"/>
                  <a:pt x="12177600" y="1466265"/>
                </a:cubicBezTo>
                <a:cubicBezTo>
                  <a:pt x="12177600" y="1461945"/>
                  <a:pt x="12174080" y="1458265"/>
                  <a:pt x="12169600" y="1458265"/>
                </a:cubicBezTo>
                <a:cubicBezTo>
                  <a:pt x="12169280" y="1458265"/>
                  <a:pt x="12160640" y="1458105"/>
                  <a:pt x="12156320" y="1450265"/>
                </a:cubicBezTo>
                <a:cubicBezTo>
                  <a:pt x="12151680" y="1441785"/>
                  <a:pt x="12123680" y="1406905"/>
                  <a:pt x="12104160" y="1383065"/>
                </a:cubicBezTo>
                <a:cubicBezTo>
                  <a:pt x="12134880" y="1393145"/>
                  <a:pt x="12166880" y="1401305"/>
                  <a:pt x="12168640" y="1401785"/>
                </a:cubicBezTo>
                <a:cubicBezTo>
                  <a:pt x="12172960" y="1402745"/>
                  <a:pt x="12177280" y="1400185"/>
                  <a:pt x="12178400" y="1395865"/>
                </a:cubicBezTo>
                <a:cubicBezTo>
                  <a:pt x="12179520" y="1391545"/>
                  <a:pt x="12176960" y="1387225"/>
                  <a:pt x="12172640" y="1386105"/>
                </a:cubicBezTo>
                <a:cubicBezTo>
                  <a:pt x="12172000" y="1385945"/>
                  <a:pt x="12116800" y="1371865"/>
                  <a:pt x="12082400" y="1357945"/>
                </a:cubicBezTo>
                <a:cubicBezTo>
                  <a:pt x="12062880" y="1350105"/>
                  <a:pt x="12029920" y="1315865"/>
                  <a:pt x="12005920" y="1288505"/>
                </a:cubicBezTo>
                <a:cubicBezTo>
                  <a:pt x="12036640" y="1298585"/>
                  <a:pt x="12073121" y="1304345"/>
                  <a:pt x="12075360" y="1304665"/>
                </a:cubicBezTo>
                <a:lnTo>
                  <a:pt x="12169440" y="1321145"/>
                </a:lnTo>
                <a:cubicBezTo>
                  <a:pt x="12173760" y="1322105"/>
                  <a:pt x="12177920" y="1318905"/>
                  <a:pt x="12178720" y="1314585"/>
                </a:cubicBezTo>
                <a:cubicBezTo>
                  <a:pt x="12179360" y="1310265"/>
                  <a:pt x="12176480" y="1306105"/>
                  <a:pt x="12172160" y="1305305"/>
                </a:cubicBezTo>
                <a:lnTo>
                  <a:pt x="12077920" y="1288665"/>
                </a:lnTo>
                <a:cubicBezTo>
                  <a:pt x="12057121" y="1285465"/>
                  <a:pt x="11999360" y="1273945"/>
                  <a:pt x="11981440" y="1259545"/>
                </a:cubicBezTo>
                <a:cubicBezTo>
                  <a:pt x="11967040" y="1248025"/>
                  <a:pt x="11908800" y="1215225"/>
                  <a:pt x="11863520" y="1190265"/>
                </a:cubicBezTo>
                <a:cubicBezTo>
                  <a:pt x="11983040" y="1218265"/>
                  <a:pt x="12152640" y="1241785"/>
                  <a:pt x="12161440" y="1242905"/>
                </a:cubicBezTo>
                <a:cubicBezTo>
                  <a:pt x="12165760" y="1243705"/>
                  <a:pt x="12169760" y="1240505"/>
                  <a:pt x="12170400" y="1236025"/>
                </a:cubicBezTo>
                <a:cubicBezTo>
                  <a:pt x="12171040" y="1231545"/>
                  <a:pt x="12167840" y="1227545"/>
                  <a:pt x="12163520" y="1226905"/>
                </a:cubicBezTo>
                <a:cubicBezTo>
                  <a:pt x="12160960" y="1226585"/>
                  <a:pt x="11901280" y="1190745"/>
                  <a:pt x="11797440" y="1155545"/>
                </a:cubicBezTo>
                <a:cubicBezTo>
                  <a:pt x="11691680" y="1119545"/>
                  <a:pt x="11570880" y="1052985"/>
                  <a:pt x="11561121" y="1043065"/>
                </a:cubicBezTo>
                <a:cubicBezTo>
                  <a:pt x="11559680" y="1041625"/>
                  <a:pt x="11556960" y="1039225"/>
                  <a:pt x="11553280" y="1036185"/>
                </a:cubicBezTo>
                <a:cubicBezTo>
                  <a:pt x="11595840" y="1057625"/>
                  <a:pt x="11648960" y="1079225"/>
                  <a:pt x="11693600" y="1085945"/>
                </a:cubicBezTo>
                <a:cubicBezTo>
                  <a:pt x="11743680" y="1093305"/>
                  <a:pt x="11808320" y="1099705"/>
                  <a:pt x="11865280" y="1105305"/>
                </a:cubicBezTo>
                <a:cubicBezTo>
                  <a:pt x="11893600" y="1108025"/>
                  <a:pt x="11919200" y="1110585"/>
                  <a:pt x="11938880" y="1112825"/>
                </a:cubicBezTo>
                <a:cubicBezTo>
                  <a:pt x="11996320" y="1119385"/>
                  <a:pt x="12164800" y="1154905"/>
                  <a:pt x="12166560" y="1155225"/>
                </a:cubicBezTo>
                <a:cubicBezTo>
                  <a:pt x="12170880" y="1156185"/>
                  <a:pt x="12175040" y="1153305"/>
                  <a:pt x="12176000" y="1148985"/>
                </a:cubicBezTo>
                <a:cubicBezTo>
                  <a:pt x="12176800" y="1144505"/>
                  <a:pt x="12174080" y="1140345"/>
                  <a:pt x="12169760" y="1139385"/>
                </a:cubicBezTo>
                <a:cubicBezTo>
                  <a:pt x="12162720" y="1137945"/>
                  <a:pt x="11998880" y="1103385"/>
                  <a:pt x="11940640" y="1096665"/>
                </a:cubicBezTo>
                <a:cubicBezTo>
                  <a:pt x="11920800" y="1094425"/>
                  <a:pt x="11895040" y="1091865"/>
                  <a:pt x="11866720" y="1089145"/>
                </a:cubicBezTo>
                <a:cubicBezTo>
                  <a:pt x="11809920" y="1083545"/>
                  <a:pt x="11745440" y="1077145"/>
                  <a:pt x="11695840" y="1069785"/>
                </a:cubicBezTo>
                <a:cubicBezTo>
                  <a:pt x="11621760" y="1058745"/>
                  <a:pt x="11519200" y="1002425"/>
                  <a:pt x="11493600" y="981785"/>
                </a:cubicBezTo>
                <a:cubicBezTo>
                  <a:pt x="11482720" y="972985"/>
                  <a:pt x="11460800" y="960825"/>
                  <a:pt x="11437760" y="948825"/>
                </a:cubicBezTo>
                <a:cubicBezTo>
                  <a:pt x="11498560" y="966105"/>
                  <a:pt x="11562720" y="984985"/>
                  <a:pt x="11563680" y="985305"/>
                </a:cubicBezTo>
                <a:cubicBezTo>
                  <a:pt x="11565920" y="985785"/>
                  <a:pt x="11733440" y="1023065"/>
                  <a:pt x="11810720" y="1030585"/>
                </a:cubicBezTo>
                <a:cubicBezTo>
                  <a:pt x="11836480" y="1033145"/>
                  <a:pt x="11873760" y="1035225"/>
                  <a:pt x="11916800" y="1037785"/>
                </a:cubicBezTo>
                <a:cubicBezTo>
                  <a:pt x="12001760" y="1042745"/>
                  <a:pt x="12107520" y="1048825"/>
                  <a:pt x="12167360" y="1060505"/>
                </a:cubicBezTo>
                <a:cubicBezTo>
                  <a:pt x="12171840" y="1061465"/>
                  <a:pt x="12176000" y="1058425"/>
                  <a:pt x="12176800" y="1054105"/>
                </a:cubicBezTo>
                <a:cubicBezTo>
                  <a:pt x="12177600" y="1049785"/>
                  <a:pt x="12174720" y="1045465"/>
                  <a:pt x="12170400" y="1044665"/>
                </a:cubicBezTo>
                <a:cubicBezTo>
                  <a:pt x="12109600" y="1032825"/>
                  <a:pt x="12003200" y="1026585"/>
                  <a:pt x="11917760" y="1021625"/>
                </a:cubicBezTo>
                <a:cubicBezTo>
                  <a:pt x="11874720" y="1019065"/>
                  <a:pt x="11837600" y="1016825"/>
                  <a:pt x="11812160" y="1014425"/>
                </a:cubicBezTo>
                <a:cubicBezTo>
                  <a:pt x="11735840" y="1007065"/>
                  <a:pt x="11569121" y="969785"/>
                  <a:pt x="11567520" y="969465"/>
                </a:cubicBezTo>
                <a:cubicBezTo>
                  <a:pt x="11566560" y="969145"/>
                  <a:pt x="11414880" y="924345"/>
                  <a:pt x="11356320" y="909465"/>
                </a:cubicBezTo>
                <a:cubicBezTo>
                  <a:pt x="11325600" y="901625"/>
                  <a:pt x="11263840" y="873945"/>
                  <a:pt x="11212640" y="849785"/>
                </a:cubicBezTo>
                <a:cubicBezTo>
                  <a:pt x="11212160" y="849465"/>
                  <a:pt x="11211840" y="848985"/>
                  <a:pt x="11211360" y="848665"/>
                </a:cubicBezTo>
                <a:cubicBezTo>
                  <a:pt x="11196160" y="839385"/>
                  <a:pt x="11178880" y="831545"/>
                  <a:pt x="11160160" y="824505"/>
                </a:cubicBezTo>
                <a:cubicBezTo>
                  <a:pt x="11144960" y="817145"/>
                  <a:pt x="11134560" y="811865"/>
                  <a:pt x="11131840" y="810425"/>
                </a:cubicBezTo>
                <a:cubicBezTo>
                  <a:pt x="11130240" y="809145"/>
                  <a:pt x="11125280" y="805305"/>
                  <a:pt x="11117600" y="799705"/>
                </a:cubicBezTo>
                <a:cubicBezTo>
                  <a:pt x="11155200" y="817785"/>
                  <a:pt x="11202560" y="838425"/>
                  <a:pt x="11229920" y="841945"/>
                </a:cubicBezTo>
                <a:cubicBezTo>
                  <a:pt x="11277121" y="847865"/>
                  <a:pt x="11416960" y="873945"/>
                  <a:pt x="11418400" y="874265"/>
                </a:cubicBezTo>
                <a:cubicBezTo>
                  <a:pt x="11424640" y="876025"/>
                  <a:pt x="11585760" y="919065"/>
                  <a:pt x="11666240" y="923065"/>
                </a:cubicBezTo>
                <a:cubicBezTo>
                  <a:pt x="11746080" y="927065"/>
                  <a:pt x="11871680" y="931225"/>
                  <a:pt x="11872960" y="931225"/>
                </a:cubicBezTo>
                <a:cubicBezTo>
                  <a:pt x="11942560" y="933465"/>
                  <a:pt x="12129920" y="942745"/>
                  <a:pt x="12161760" y="958745"/>
                </a:cubicBezTo>
                <a:cubicBezTo>
                  <a:pt x="12165760" y="960665"/>
                  <a:pt x="12170560" y="959065"/>
                  <a:pt x="12172480" y="955065"/>
                </a:cubicBezTo>
                <a:cubicBezTo>
                  <a:pt x="12174560" y="951065"/>
                  <a:pt x="12172960" y="946105"/>
                  <a:pt x="12168960" y="944185"/>
                </a:cubicBezTo>
                <a:cubicBezTo>
                  <a:pt x="12127520" y="923385"/>
                  <a:pt x="11883840" y="915225"/>
                  <a:pt x="11873440" y="914905"/>
                </a:cubicBezTo>
                <a:cubicBezTo>
                  <a:pt x="11872160" y="914745"/>
                  <a:pt x="11746720" y="910745"/>
                  <a:pt x="11667040" y="906745"/>
                </a:cubicBezTo>
                <a:cubicBezTo>
                  <a:pt x="11588320" y="902745"/>
                  <a:pt x="11423520" y="858745"/>
                  <a:pt x="11421920" y="858265"/>
                </a:cubicBezTo>
                <a:cubicBezTo>
                  <a:pt x="11420000" y="857945"/>
                  <a:pt x="11279520" y="831705"/>
                  <a:pt x="11232000" y="825625"/>
                </a:cubicBezTo>
                <a:cubicBezTo>
                  <a:pt x="11186240" y="819865"/>
                  <a:pt x="11072960" y="758585"/>
                  <a:pt x="11071040" y="757625"/>
                </a:cubicBezTo>
                <a:cubicBezTo>
                  <a:pt x="11071360" y="757625"/>
                  <a:pt x="11040320" y="732825"/>
                  <a:pt x="10971200" y="683065"/>
                </a:cubicBezTo>
                <a:cubicBezTo>
                  <a:pt x="10900640" y="632345"/>
                  <a:pt x="10792800" y="588665"/>
                  <a:pt x="10788160" y="586745"/>
                </a:cubicBezTo>
                <a:cubicBezTo>
                  <a:pt x="10731680" y="572985"/>
                  <a:pt x="10594560" y="503225"/>
                  <a:pt x="10593121" y="502585"/>
                </a:cubicBezTo>
                <a:cubicBezTo>
                  <a:pt x="10590400" y="501145"/>
                  <a:pt x="10312960" y="355225"/>
                  <a:pt x="10172320" y="282745"/>
                </a:cubicBezTo>
                <a:cubicBezTo>
                  <a:pt x="10029280" y="208985"/>
                  <a:pt x="9598080" y="126265"/>
                  <a:pt x="9447040" y="116985"/>
                </a:cubicBezTo>
                <a:cubicBezTo>
                  <a:pt x="9296320" y="107705"/>
                  <a:pt x="8855360" y="61945"/>
                  <a:pt x="8714240" y="39225"/>
                </a:cubicBezTo>
                <a:cubicBezTo>
                  <a:pt x="8683440" y="34265"/>
                  <a:pt x="8645150" y="26505"/>
                  <a:pt x="8602560" y="16200"/>
                </a:cubicBezTo>
                <a:lnTo>
                  <a:pt x="8544402" y="0"/>
                </a:lnTo>
                <a:lnTo>
                  <a:pt x="8484000" y="0"/>
                </a:lnTo>
                <a:lnTo>
                  <a:pt x="8515040" y="9885"/>
                </a:lnTo>
                <a:cubicBezTo>
                  <a:pt x="8591080" y="31665"/>
                  <a:pt x="8660960" y="47145"/>
                  <a:pt x="8711200" y="55225"/>
                </a:cubicBezTo>
                <a:cubicBezTo>
                  <a:pt x="8852640" y="77945"/>
                  <a:pt x="9294720" y="123865"/>
                  <a:pt x="9445600" y="133145"/>
                </a:cubicBezTo>
                <a:cubicBezTo>
                  <a:pt x="9595680" y="142425"/>
                  <a:pt x="10023200" y="224185"/>
                  <a:pt x="10164640" y="297145"/>
                </a:cubicBezTo>
                <a:cubicBezTo>
                  <a:pt x="10305280" y="369465"/>
                  <a:pt x="10582720" y="515385"/>
                  <a:pt x="10585440" y="516825"/>
                </a:cubicBezTo>
                <a:cubicBezTo>
                  <a:pt x="10591200" y="519865"/>
                  <a:pt x="10725760" y="588185"/>
                  <a:pt x="10782880" y="601945"/>
                </a:cubicBezTo>
                <a:cubicBezTo>
                  <a:pt x="10782880" y="602105"/>
                  <a:pt x="10868000" y="636505"/>
                  <a:pt x="10935360" y="678425"/>
                </a:cubicBezTo>
                <a:cubicBezTo>
                  <a:pt x="10847360" y="642585"/>
                  <a:pt x="10742400" y="620825"/>
                  <a:pt x="10675200" y="609465"/>
                </a:cubicBezTo>
                <a:cubicBezTo>
                  <a:pt x="10623520" y="600665"/>
                  <a:pt x="10548160" y="562745"/>
                  <a:pt x="10452800" y="514745"/>
                </a:cubicBezTo>
                <a:cubicBezTo>
                  <a:pt x="10405600" y="491065"/>
                  <a:pt x="10352160" y="464025"/>
                  <a:pt x="10295680" y="437945"/>
                </a:cubicBezTo>
                <a:cubicBezTo>
                  <a:pt x="10140000" y="365785"/>
                  <a:pt x="9886080" y="310905"/>
                  <a:pt x="9777600" y="287385"/>
                </a:cubicBezTo>
                <a:lnTo>
                  <a:pt x="9753280" y="282105"/>
                </a:lnTo>
                <a:cubicBezTo>
                  <a:pt x="9661600" y="261945"/>
                  <a:pt x="9279680" y="224665"/>
                  <a:pt x="9102400" y="211065"/>
                </a:cubicBezTo>
                <a:cubicBezTo>
                  <a:pt x="8952960" y="199705"/>
                  <a:pt x="8661600" y="107705"/>
                  <a:pt x="8582400" y="82105"/>
                </a:cubicBezTo>
                <a:cubicBezTo>
                  <a:pt x="8543040" y="64025"/>
                  <a:pt x="8499040" y="42905"/>
                  <a:pt x="8454720" y="20665"/>
                </a:cubicBezTo>
                <a:cubicBezTo>
                  <a:pt x="8453920" y="19865"/>
                  <a:pt x="8452960" y="19065"/>
                  <a:pt x="8451680" y="18585"/>
                </a:cubicBezTo>
                <a:cubicBezTo>
                  <a:pt x="8450720" y="18265"/>
                  <a:pt x="8449600" y="17945"/>
                  <a:pt x="8448640" y="17625"/>
                </a:cubicBezTo>
                <a:lnTo>
                  <a:pt x="8416307" y="0"/>
                </a:lnTo>
                <a:lnTo>
                  <a:pt x="8326146" y="0"/>
                </a:lnTo>
                <a:lnTo>
                  <a:pt x="8440960" y="32025"/>
                </a:lnTo>
                <a:cubicBezTo>
                  <a:pt x="8444000" y="33625"/>
                  <a:pt x="8447040" y="35065"/>
                  <a:pt x="8449920" y="36505"/>
                </a:cubicBezTo>
                <a:cubicBezTo>
                  <a:pt x="8319360" y="11705"/>
                  <a:pt x="8207680" y="1145"/>
                  <a:pt x="8096320" y="1145"/>
                </a:cubicBezTo>
                <a:cubicBezTo>
                  <a:pt x="7972640" y="1145"/>
                  <a:pt x="7849280" y="14265"/>
                  <a:pt x="7700800" y="35705"/>
                </a:cubicBezTo>
                <a:cubicBezTo>
                  <a:pt x="7423360" y="75705"/>
                  <a:pt x="7122720" y="200025"/>
                  <a:pt x="6896640" y="368025"/>
                </a:cubicBezTo>
                <a:cubicBezTo>
                  <a:pt x="6683520" y="526265"/>
                  <a:pt x="6527520" y="534425"/>
                  <a:pt x="6525920" y="534425"/>
                </a:cubicBezTo>
                <a:cubicBezTo>
                  <a:pt x="6525600" y="534425"/>
                  <a:pt x="6525280" y="534745"/>
                  <a:pt x="6524800" y="534745"/>
                </a:cubicBezTo>
                <a:cubicBezTo>
                  <a:pt x="6455840" y="494425"/>
                  <a:pt x="6384800" y="458745"/>
                  <a:pt x="6312800" y="428505"/>
                </a:cubicBezTo>
                <a:cubicBezTo>
                  <a:pt x="6393600" y="419065"/>
                  <a:pt x="6614881" y="385625"/>
                  <a:pt x="6799520" y="289945"/>
                </a:cubicBezTo>
                <a:cubicBezTo>
                  <a:pt x="7020800" y="175385"/>
                  <a:pt x="7249600" y="56985"/>
                  <a:pt x="7484000" y="12025"/>
                </a:cubicBezTo>
                <a:lnTo>
                  <a:pt x="7548576" y="0"/>
                </a:lnTo>
                <a:lnTo>
                  <a:pt x="7467293" y="0"/>
                </a:lnTo>
                <a:lnTo>
                  <a:pt x="7304915" y="42920"/>
                </a:lnTo>
                <a:cubicBezTo>
                  <a:pt x="7130000" y="100895"/>
                  <a:pt x="6959000" y="189425"/>
                  <a:pt x="6792320" y="275705"/>
                </a:cubicBezTo>
                <a:cubicBezTo>
                  <a:pt x="6573600" y="388825"/>
                  <a:pt x="6302400" y="413945"/>
                  <a:pt x="6281280" y="415705"/>
                </a:cubicBezTo>
                <a:cubicBezTo>
                  <a:pt x="6215520" y="389465"/>
                  <a:pt x="6149120" y="367865"/>
                  <a:pt x="6083200" y="351705"/>
                </a:cubicBezTo>
                <a:cubicBezTo>
                  <a:pt x="6042560" y="341465"/>
                  <a:pt x="5999520" y="330745"/>
                  <a:pt x="5954080" y="320025"/>
                </a:cubicBezTo>
                <a:cubicBezTo>
                  <a:pt x="6086080" y="320185"/>
                  <a:pt x="6373760" y="309625"/>
                  <a:pt x="6606400" y="224185"/>
                </a:cubicBezTo>
                <a:cubicBezTo>
                  <a:pt x="6681760" y="196505"/>
                  <a:pt x="6754720" y="168025"/>
                  <a:pt x="6825280" y="140665"/>
                </a:cubicBezTo>
                <a:cubicBezTo>
                  <a:pt x="6935440" y="97865"/>
                  <a:pt x="7042520" y="56265"/>
                  <a:pt x="7148760" y="21265"/>
                </a:cubicBezTo>
                <a:lnTo>
                  <a:pt x="7220896" y="0"/>
                </a:lnTo>
                <a:lnTo>
                  <a:pt x="7163274" y="0"/>
                </a:lnTo>
                <a:lnTo>
                  <a:pt x="7144320" y="5585"/>
                </a:lnTo>
                <a:cubicBezTo>
                  <a:pt x="7037560" y="40745"/>
                  <a:pt x="6930080" y="82505"/>
                  <a:pt x="6819520" y="125465"/>
                </a:cubicBezTo>
                <a:cubicBezTo>
                  <a:pt x="6748960" y="152825"/>
                  <a:pt x="6676000" y="181145"/>
                  <a:pt x="6600800" y="208825"/>
                </a:cubicBezTo>
                <a:cubicBezTo>
                  <a:pt x="6292800" y="321945"/>
                  <a:pt x="5886720" y="302425"/>
                  <a:pt x="5882560" y="302265"/>
                </a:cubicBezTo>
                <a:cubicBezTo>
                  <a:pt x="5881600" y="302105"/>
                  <a:pt x="5880640" y="302265"/>
                  <a:pt x="5879680" y="302585"/>
                </a:cubicBezTo>
                <a:cubicBezTo>
                  <a:pt x="5746561" y="272985"/>
                  <a:pt x="5593760" y="244665"/>
                  <a:pt x="5416640" y="227865"/>
                </a:cubicBezTo>
                <a:cubicBezTo>
                  <a:pt x="5599360" y="221945"/>
                  <a:pt x="5902720" y="209785"/>
                  <a:pt x="6049920" y="188985"/>
                </a:cubicBezTo>
                <a:cubicBezTo>
                  <a:pt x="6258080" y="159705"/>
                  <a:pt x="6573600" y="94905"/>
                  <a:pt x="6809280" y="16185"/>
                </a:cubicBezTo>
                <a:lnTo>
                  <a:pt x="6858652" y="0"/>
                </a:lnTo>
                <a:lnTo>
                  <a:pt x="6807814" y="0"/>
                </a:lnTo>
                <a:lnTo>
                  <a:pt x="6804320" y="1145"/>
                </a:lnTo>
                <a:cubicBezTo>
                  <a:pt x="6569600" y="79545"/>
                  <a:pt x="6255200" y="144025"/>
                  <a:pt x="6047680" y="173305"/>
                </a:cubicBezTo>
                <a:cubicBezTo>
                  <a:pt x="5830882" y="203705"/>
                  <a:pt x="5272480" y="215865"/>
                  <a:pt x="5266881" y="216025"/>
                </a:cubicBezTo>
                <a:cubicBezTo>
                  <a:pt x="5265600" y="216025"/>
                  <a:pt x="5264480" y="216505"/>
                  <a:pt x="5263360" y="216985"/>
                </a:cubicBezTo>
                <a:cubicBezTo>
                  <a:pt x="5138881" y="210745"/>
                  <a:pt x="5003360" y="210425"/>
                  <a:pt x="4855520" y="219225"/>
                </a:cubicBezTo>
                <a:cubicBezTo>
                  <a:pt x="4830560" y="220665"/>
                  <a:pt x="4806561" y="222105"/>
                  <a:pt x="4783040" y="223385"/>
                </a:cubicBezTo>
                <a:cubicBezTo>
                  <a:pt x="4948480" y="200665"/>
                  <a:pt x="5185440" y="168985"/>
                  <a:pt x="5302560" y="158265"/>
                </a:cubicBezTo>
                <a:cubicBezTo>
                  <a:pt x="5496800" y="140345"/>
                  <a:pt x="6117600" y="73785"/>
                  <a:pt x="6275360" y="47545"/>
                </a:cubicBezTo>
                <a:cubicBezTo>
                  <a:pt x="6314840" y="40985"/>
                  <a:pt x="6374510" y="26725"/>
                  <a:pt x="6441883" y="9003"/>
                </a:cubicBezTo>
                <a:lnTo>
                  <a:pt x="6474169" y="0"/>
                </a:lnTo>
                <a:lnTo>
                  <a:pt x="6411221" y="0"/>
                </a:lnTo>
                <a:lnTo>
                  <a:pt x="6345238" y="16526"/>
                </a:lnTo>
                <a:cubicBezTo>
                  <a:pt x="6317085" y="23103"/>
                  <a:pt x="6292420" y="28285"/>
                  <a:pt x="6272800" y="31545"/>
                </a:cubicBezTo>
                <a:cubicBezTo>
                  <a:pt x="6115360" y="57785"/>
                  <a:pt x="5495200" y="124185"/>
                  <a:pt x="5301120" y="142105"/>
                </a:cubicBezTo>
                <a:cubicBezTo>
                  <a:pt x="5110882" y="159705"/>
                  <a:pt x="4606240" y="231705"/>
                  <a:pt x="4601121" y="232505"/>
                </a:cubicBezTo>
                <a:cubicBezTo>
                  <a:pt x="4600640" y="232505"/>
                  <a:pt x="4600160" y="232825"/>
                  <a:pt x="4599680" y="232985"/>
                </a:cubicBezTo>
                <a:cubicBezTo>
                  <a:pt x="4390081" y="242905"/>
                  <a:pt x="4242241" y="245785"/>
                  <a:pt x="4119200" y="241145"/>
                </a:cubicBezTo>
                <a:cubicBezTo>
                  <a:pt x="4246881" y="229465"/>
                  <a:pt x="4463200" y="207705"/>
                  <a:pt x="4614080" y="183385"/>
                </a:cubicBezTo>
                <a:cubicBezTo>
                  <a:pt x="4688800" y="171225"/>
                  <a:pt x="4768320" y="157145"/>
                  <a:pt x="4845120" y="143385"/>
                </a:cubicBezTo>
                <a:cubicBezTo>
                  <a:pt x="5006400" y="114585"/>
                  <a:pt x="5158881" y="87385"/>
                  <a:pt x="5272960" y="78105"/>
                </a:cubicBezTo>
                <a:cubicBezTo>
                  <a:pt x="5359600" y="71145"/>
                  <a:pt x="5516240" y="49065"/>
                  <a:pt x="5673260" y="23725"/>
                </a:cubicBezTo>
                <a:lnTo>
                  <a:pt x="5811518" y="0"/>
                </a:lnTo>
                <a:lnTo>
                  <a:pt x="5716293" y="0"/>
                </a:lnTo>
                <a:lnTo>
                  <a:pt x="5670700" y="7825"/>
                </a:lnTo>
                <a:cubicBezTo>
                  <a:pt x="5514120" y="33105"/>
                  <a:pt x="5357920" y="55145"/>
                  <a:pt x="5271521" y="62105"/>
                </a:cubicBezTo>
                <a:cubicBezTo>
                  <a:pt x="5156640" y="71385"/>
                  <a:pt x="5003840" y="98585"/>
                  <a:pt x="4842080" y="127545"/>
                </a:cubicBezTo>
                <a:cubicBezTo>
                  <a:pt x="4765280" y="141305"/>
                  <a:pt x="4685920" y="155545"/>
                  <a:pt x="4611200" y="167545"/>
                </a:cubicBezTo>
                <a:cubicBezTo>
                  <a:pt x="4386721" y="203705"/>
                  <a:pt x="4015680" y="234265"/>
                  <a:pt x="4012000" y="234585"/>
                </a:cubicBezTo>
                <a:cubicBezTo>
                  <a:pt x="4011520" y="234585"/>
                  <a:pt x="4011200" y="234745"/>
                  <a:pt x="4010880" y="234905"/>
                </a:cubicBezTo>
                <a:cubicBezTo>
                  <a:pt x="3954560" y="230265"/>
                  <a:pt x="3901440" y="223705"/>
                  <a:pt x="3847040" y="215225"/>
                </a:cubicBezTo>
                <a:cubicBezTo>
                  <a:pt x="3804640" y="208505"/>
                  <a:pt x="3702240" y="190905"/>
                  <a:pt x="3688800" y="188665"/>
                </a:cubicBezTo>
                <a:lnTo>
                  <a:pt x="3686080" y="187065"/>
                </a:lnTo>
                <a:cubicBezTo>
                  <a:pt x="3760480" y="193145"/>
                  <a:pt x="3940480" y="203545"/>
                  <a:pt x="4118880" y="179065"/>
                </a:cubicBezTo>
                <a:cubicBezTo>
                  <a:pt x="4349601" y="147385"/>
                  <a:pt x="4982881" y="28985"/>
                  <a:pt x="4989281" y="27865"/>
                </a:cubicBezTo>
                <a:cubicBezTo>
                  <a:pt x="4990721" y="27585"/>
                  <a:pt x="5027191" y="21095"/>
                  <a:pt x="5085393" y="10528"/>
                </a:cubicBezTo>
                <a:lnTo>
                  <a:pt x="5142959" y="0"/>
                </a:lnTo>
                <a:lnTo>
                  <a:pt x="5052859" y="0"/>
                </a:lnTo>
                <a:lnTo>
                  <a:pt x="5013430" y="7107"/>
                </a:lnTo>
                <a:cubicBezTo>
                  <a:pt x="4996878" y="10070"/>
                  <a:pt x="4987420" y="11745"/>
                  <a:pt x="4986720" y="11865"/>
                </a:cubicBezTo>
                <a:cubicBezTo>
                  <a:pt x="4980160" y="12985"/>
                  <a:pt x="4347201" y="131225"/>
                  <a:pt x="4116960" y="162905"/>
                </a:cubicBezTo>
                <a:cubicBezTo>
                  <a:pt x="3896320" y="193145"/>
                  <a:pt x="3672960" y="169625"/>
                  <a:pt x="3654080" y="167545"/>
                </a:cubicBezTo>
                <a:lnTo>
                  <a:pt x="3542880" y="101305"/>
                </a:lnTo>
                <a:cubicBezTo>
                  <a:pt x="3643680" y="111065"/>
                  <a:pt x="3936800" y="128985"/>
                  <a:pt x="4261920" y="55225"/>
                </a:cubicBezTo>
                <a:cubicBezTo>
                  <a:pt x="4311820" y="43905"/>
                  <a:pt x="4366110" y="31433"/>
                  <a:pt x="4422927" y="18270"/>
                </a:cubicBezTo>
                <a:lnTo>
                  <a:pt x="4501235" y="0"/>
                </a:lnTo>
                <a:lnTo>
                  <a:pt x="4429111" y="0"/>
                </a:lnTo>
                <a:lnTo>
                  <a:pt x="4419354" y="2276"/>
                </a:lnTo>
                <a:cubicBezTo>
                  <a:pt x="4362553" y="15435"/>
                  <a:pt x="4308280" y="27905"/>
                  <a:pt x="4258400" y="39225"/>
                </a:cubicBezTo>
                <a:cubicBezTo>
                  <a:pt x="3867680" y="127865"/>
                  <a:pt x="3524000" y="83225"/>
                  <a:pt x="3508640" y="81145"/>
                </a:cubicBezTo>
                <a:cubicBezTo>
                  <a:pt x="3496480" y="76025"/>
                  <a:pt x="3431360" y="49945"/>
                  <a:pt x="3321600" y="22905"/>
                </a:cubicBezTo>
                <a:cubicBezTo>
                  <a:pt x="3387680" y="33145"/>
                  <a:pt x="3463200" y="40825"/>
                  <a:pt x="3540480" y="39385"/>
                </a:cubicBezTo>
                <a:cubicBezTo>
                  <a:pt x="3605040" y="38125"/>
                  <a:pt x="3727808" y="25165"/>
                  <a:pt x="3865870" y="5509"/>
                </a:cubicBezTo>
                <a:lnTo>
                  <a:pt x="3901801" y="0"/>
                </a:lnTo>
                <a:lnTo>
                  <a:pt x="3786669" y="0"/>
                </a:lnTo>
                <a:lnTo>
                  <a:pt x="3733143" y="7015"/>
                </a:lnTo>
                <a:cubicBezTo>
                  <a:pt x="3651540" y="16705"/>
                  <a:pt x="3583000" y="22705"/>
                  <a:pt x="3540160" y="23545"/>
                </a:cubicBezTo>
                <a:cubicBezTo>
                  <a:pt x="3474080" y="24825"/>
                  <a:pt x="3409280" y="19345"/>
                  <a:pt x="3350580" y="11245"/>
                </a:cubicBezTo>
                <a:lnTo>
                  <a:pt x="3289186" y="0"/>
                </a:lnTo>
                <a:lnTo>
                  <a:pt x="3106849" y="0"/>
                </a:lnTo>
                <a:lnTo>
                  <a:pt x="3159680" y="5945"/>
                </a:lnTo>
                <a:cubicBezTo>
                  <a:pt x="3378560" y="42745"/>
                  <a:pt x="3502080" y="95865"/>
                  <a:pt x="3503360" y="96345"/>
                </a:cubicBezTo>
                <a:lnTo>
                  <a:pt x="3598400" y="152985"/>
                </a:lnTo>
                <a:cubicBezTo>
                  <a:pt x="3572320" y="140985"/>
                  <a:pt x="3544320" y="128505"/>
                  <a:pt x="3513440" y="115385"/>
                </a:cubicBezTo>
                <a:cubicBezTo>
                  <a:pt x="3377600" y="57785"/>
                  <a:pt x="3192160" y="42745"/>
                  <a:pt x="3035520" y="42745"/>
                </a:cubicBezTo>
                <a:cubicBezTo>
                  <a:pt x="2896640" y="42745"/>
                  <a:pt x="2780320" y="54585"/>
                  <a:pt x="2740800" y="59065"/>
                </a:cubicBezTo>
                <a:cubicBezTo>
                  <a:pt x="2572000" y="78585"/>
                  <a:pt x="2458400" y="135865"/>
                  <a:pt x="2209600" y="261305"/>
                </a:cubicBezTo>
                <a:cubicBezTo>
                  <a:pt x="2179040" y="276665"/>
                  <a:pt x="2146560" y="293145"/>
                  <a:pt x="2111680" y="310585"/>
                </a:cubicBezTo>
                <a:cubicBezTo>
                  <a:pt x="1820800" y="456345"/>
                  <a:pt x="1633280" y="798905"/>
                  <a:pt x="1566080" y="939545"/>
                </a:cubicBezTo>
                <a:cubicBezTo>
                  <a:pt x="1552960" y="967225"/>
                  <a:pt x="1530560" y="1014585"/>
                  <a:pt x="1505920" y="1067065"/>
                </a:cubicBezTo>
                <a:cubicBezTo>
                  <a:pt x="1460160" y="1164505"/>
                  <a:pt x="1403200" y="1285625"/>
                  <a:pt x="1385600" y="1320025"/>
                </a:cubicBezTo>
                <a:cubicBezTo>
                  <a:pt x="1361760" y="1366585"/>
                  <a:pt x="1202720" y="1532505"/>
                  <a:pt x="1056480" y="1566585"/>
                </a:cubicBezTo>
                <a:cubicBezTo>
                  <a:pt x="949760" y="1591545"/>
                  <a:pt x="843200" y="1657145"/>
                  <a:pt x="772640" y="1700505"/>
                </a:cubicBezTo>
                <a:cubicBezTo>
                  <a:pt x="745120" y="1717465"/>
                  <a:pt x="723520" y="1730745"/>
                  <a:pt x="708960" y="1737465"/>
                </a:cubicBezTo>
                <a:cubicBezTo>
                  <a:pt x="693440" y="1744665"/>
                  <a:pt x="671200" y="1757305"/>
                  <a:pt x="645440" y="1772185"/>
                </a:cubicBezTo>
                <a:cubicBezTo>
                  <a:pt x="579680" y="1809945"/>
                  <a:pt x="489600" y="1861785"/>
                  <a:pt x="410880" y="1879225"/>
                </a:cubicBezTo>
                <a:cubicBezTo>
                  <a:pt x="402400" y="1881145"/>
                  <a:pt x="394560" y="1883225"/>
                  <a:pt x="386560" y="1885305"/>
                </a:cubicBezTo>
                <a:cubicBezTo>
                  <a:pt x="385440" y="1884825"/>
                  <a:pt x="384320" y="1884505"/>
                  <a:pt x="383200" y="1884505"/>
                </a:cubicBezTo>
                <a:cubicBezTo>
                  <a:pt x="376480" y="1884345"/>
                  <a:pt x="369760" y="1884185"/>
                  <a:pt x="363360" y="1884185"/>
                </a:cubicBezTo>
                <a:cubicBezTo>
                  <a:pt x="341120" y="1884185"/>
                  <a:pt x="320960" y="1885305"/>
                  <a:pt x="302720" y="1887225"/>
                </a:cubicBezTo>
                <a:cubicBezTo>
                  <a:pt x="284960" y="1887385"/>
                  <a:pt x="256000" y="1888665"/>
                  <a:pt x="224800" y="1890905"/>
                </a:cubicBezTo>
                <a:cubicBezTo>
                  <a:pt x="224160" y="1887865"/>
                  <a:pt x="221920" y="1885305"/>
                  <a:pt x="218720" y="1884665"/>
                </a:cubicBezTo>
                <a:cubicBezTo>
                  <a:pt x="207680" y="1882265"/>
                  <a:pt x="191680" y="1880825"/>
                  <a:pt x="173600" y="1879705"/>
                </a:cubicBezTo>
                <a:cubicBezTo>
                  <a:pt x="216640" y="1878425"/>
                  <a:pt x="262560" y="1870905"/>
                  <a:pt x="303520" y="1851705"/>
                </a:cubicBezTo>
                <a:cubicBezTo>
                  <a:pt x="346880" y="1831385"/>
                  <a:pt x="384800" y="1812025"/>
                  <a:pt x="418240" y="1795065"/>
                </a:cubicBezTo>
                <a:cubicBezTo>
                  <a:pt x="476640" y="1765305"/>
                  <a:pt x="527200" y="1739545"/>
                  <a:pt x="581760" y="1720985"/>
                </a:cubicBezTo>
                <a:cubicBezTo>
                  <a:pt x="610080" y="1711385"/>
                  <a:pt x="638560" y="1700025"/>
                  <a:pt x="668480" y="1687705"/>
                </a:cubicBezTo>
                <a:cubicBezTo>
                  <a:pt x="731360" y="1662425"/>
                  <a:pt x="796320" y="1636505"/>
                  <a:pt x="869600" y="1622105"/>
                </a:cubicBezTo>
                <a:cubicBezTo>
                  <a:pt x="977120" y="1601145"/>
                  <a:pt x="1126560" y="1509785"/>
                  <a:pt x="1177120" y="1434105"/>
                </a:cubicBezTo>
                <a:lnTo>
                  <a:pt x="1186720" y="1419705"/>
                </a:lnTo>
                <a:cubicBezTo>
                  <a:pt x="1238720" y="1342425"/>
                  <a:pt x="1335360" y="1198745"/>
                  <a:pt x="1407200" y="1015065"/>
                </a:cubicBezTo>
                <a:cubicBezTo>
                  <a:pt x="1461280" y="876825"/>
                  <a:pt x="1608160" y="537145"/>
                  <a:pt x="1803680" y="368025"/>
                </a:cubicBezTo>
                <a:cubicBezTo>
                  <a:pt x="1982080" y="213785"/>
                  <a:pt x="2143040" y="112025"/>
                  <a:pt x="2438240" y="48665"/>
                </a:cubicBezTo>
                <a:cubicBezTo>
                  <a:pt x="2516360" y="31905"/>
                  <a:pt x="2587170" y="18615"/>
                  <a:pt x="2652778" y="8668"/>
                </a:cubicBezTo>
                <a:lnTo>
                  <a:pt x="2732454" y="0"/>
                </a:lnTo>
                <a:lnTo>
                  <a:pt x="2610292" y="0"/>
                </a:lnTo>
                <a:lnTo>
                  <a:pt x="2576358" y="5273"/>
                </a:lnTo>
                <a:cubicBezTo>
                  <a:pt x="2531940" y="13185"/>
                  <a:pt x="2485120" y="22465"/>
                  <a:pt x="2435360" y="33145"/>
                </a:cubicBezTo>
                <a:cubicBezTo>
                  <a:pt x="2136800" y="97305"/>
                  <a:pt x="1974080" y="200025"/>
                  <a:pt x="1793760" y="356025"/>
                </a:cubicBezTo>
                <a:cubicBezTo>
                  <a:pt x="1595520" y="527545"/>
                  <a:pt x="1447360" y="870105"/>
                  <a:pt x="1392800" y="1009465"/>
                </a:cubicBezTo>
                <a:cubicBezTo>
                  <a:pt x="1321600" y="1191385"/>
                  <a:pt x="1225600" y="1334265"/>
                  <a:pt x="1174080" y="1410905"/>
                </a:cubicBezTo>
                <a:lnTo>
                  <a:pt x="1164320" y="1425305"/>
                </a:lnTo>
                <a:cubicBezTo>
                  <a:pt x="1121440" y="1489625"/>
                  <a:pt x="979200" y="1584665"/>
                  <a:pt x="867040" y="1606585"/>
                </a:cubicBezTo>
                <a:cubicBezTo>
                  <a:pt x="828640" y="1614105"/>
                  <a:pt x="792640" y="1624665"/>
                  <a:pt x="758240" y="1636665"/>
                </a:cubicBezTo>
                <a:cubicBezTo>
                  <a:pt x="823040" y="1609145"/>
                  <a:pt x="886240" y="1571545"/>
                  <a:pt x="921600" y="1521305"/>
                </a:cubicBezTo>
                <a:lnTo>
                  <a:pt x="956160" y="1472345"/>
                </a:lnTo>
                <a:cubicBezTo>
                  <a:pt x="1048480" y="1341945"/>
                  <a:pt x="1174880" y="1163225"/>
                  <a:pt x="1217280" y="1076345"/>
                </a:cubicBezTo>
                <a:cubicBezTo>
                  <a:pt x="1245280" y="1018745"/>
                  <a:pt x="1301760" y="889145"/>
                  <a:pt x="1351520" y="774745"/>
                </a:cubicBezTo>
                <a:cubicBezTo>
                  <a:pt x="1385760" y="695865"/>
                  <a:pt x="1418080" y="621465"/>
                  <a:pt x="1434240" y="586905"/>
                </a:cubicBezTo>
                <a:cubicBezTo>
                  <a:pt x="1470720" y="508665"/>
                  <a:pt x="1619840" y="277145"/>
                  <a:pt x="1868960" y="146905"/>
                </a:cubicBezTo>
                <a:cubicBezTo>
                  <a:pt x="1986720" y="85385"/>
                  <a:pt x="2086720" y="40305"/>
                  <a:pt x="2201280" y="8805"/>
                </a:cubicBezTo>
                <a:lnTo>
                  <a:pt x="2245232" y="0"/>
                </a:lnTo>
                <a:lnTo>
                  <a:pt x="2177543" y="0"/>
                </a:lnTo>
                <a:lnTo>
                  <a:pt x="2030843" y="51448"/>
                </a:lnTo>
                <a:cubicBezTo>
                  <a:pt x="1976310" y="74565"/>
                  <a:pt x="1921360" y="101465"/>
                  <a:pt x="1861920" y="132505"/>
                </a:cubicBezTo>
                <a:cubicBezTo>
                  <a:pt x="1608800" y="264825"/>
                  <a:pt x="1457120" y="500345"/>
                  <a:pt x="1420000" y="580025"/>
                </a:cubicBezTo>
                <a:cubicBezTo>
                  <a:pt x="1403680" y="614745"/>
                  <a:pt x="1371360" y="689305"/>
                  <a:pt x="1336960" y="768185"/>
                </a:cubicBezTo>
                <a:cubicBezTo>
                  <a:pt x="1287360" y="882265"/>
                  <a:pt x="1231040" y="1011705"/>
                  <a:pt x="1203040" y="1068985"/>
                </a:cubicBezTo>
                <a:cubicBezTo>
                  <a:pt x="1161280" y="1154745"/>
                  <a:pt x="1035200" y="1332825"/>
                  <a:pt x="943200" y="1462745"/>
                </a:cubicBezTo>
                <a:lnTo>
                  <a:pt x="908640" y="1511705"/>
                </a:lnTo>
                <a:cubicBezTo>
                  <a:pt x="820480" y="1636665"/>
                  <a:pt x="539200" y="1682585"/>
                  <a:pt x="536320" y="1683065"/>
                </a:cubicBezTo>
                <a:cubicBezTo>
                  <a:pt x="533760" y="1683545"/>
                  <a:pt x="339040" y="1728985"/>
                  <a:pt x="210240" y="1760025"/>
                </a:cubicBezTo>
                <a:cubicBezTo>
                  <a:pt x="84000" y="1790585"/>
                  <a:pt x="19200" y="1777625"/>
                  <a:pt x="18560" y="1777465"/>
                </a:cubicBezTo>
                <a:cubicBezTo>
                  <a:pt x="14240" y="1776665"/>
                  <a:pt x="10080" y="1779385"/>
                  <a:pt x="9120" y="1783705"/>
                </a:cubicBezTo>
                <a:cubicBezTo>
                  <a:pt x="8160" y="1788185"/>
                  <a:pt x="10880" y="1792345"/>
                  <a:pt x="15200" y="1793305"/>
                </a:cubicBezTo>
                <a:cubicBezTo>
                  <a:pt x="17920" y="1793945"/>
                  <a:pt x="83680" y="1807385"/>
                  <a:pt x="214080" y="1775865"/>
                </a:cubicBezTo>
                <a:cubicBezTo>
                  <a:pt x="342720" y="1744825"/>
                  <a:pt x="537600" y="1699545"/>
                  <a:pt x="539520" y="1699065"/>
                </a:cubicBezTo>
                <a:cubicBezTo>
                  <a:pt x="545120" y="1698265"/>
                  <a:pt x="614400" y="1686905"/>
                  <a:pt x="694560" y="1660345"/>
                </a:cubicBezTo>
                <a:cubicBezTo>
                  <a:pt x="684000" y="1664505"/>
                  <a:pt x="673440" y="1668665"/>
                  <a:pt x="663040" y="1672825"/>
                </a:cubicBezTo>
                <a:cubicBezTo>
                  <a:pt x="633120" y="1684825"/>
                  <a:pt x="604800" y="1696185"/>
                  <a:pt x="576960" y="1705625"/>
                </a:cubicBezTo>
                <a:cubicBezTo>
                  <a:pt x="521280" y="1724505"/>
                  <a:pt x="470400" y="1750425"/>
                  <a:pt x="411360" y="1780505"/>
                </a:cubicBezTo>
                <a:cubicBezTo>
                  <a:pt x="377920" y="1797465"/>
                  <a:pt x="340160" y="1816665"/>
                  <a:pt x="296960" y="1836985"/>
                </a:cubicBezTo>
                <a:cubicBezTo>
                  <a:pt x="181440" y="1891225"/>
                  <a:pt x="18400" y="1844985"/>
                  <a:pt x="16800" y="1844505"/>
                </a:cubicBezTo>
                <a:cubicBezTo>
                  <a:pt x="12480" y="1843385"/>
                  <a:pt x="8160" y="1845785"/>
                  <a:pt x="6880" y="1850105"/>
                </a:cubicBezTo>
                <a:cubicBezTo>
                  <a:pt x="5600" y="1854265"/>
                  <a:pt x="8000" y="1858745"/>
                  <a:pt x="12320" y="1860025"/>
                </a:cubicBezTo>
                <a:cubicBezTo>
                  <a:pt x="15840" y="1860985"/>
                  <a:pt x="57600" y="1872825"/>
                  <a:pt x="113600" y="1877625"/>
                </a:cubicBezTo>
                <a:cubicBezTo>
                  <a:pt x="108160" y="1877625"/>
                  <a:pt x="102720" y="1877625"/>
                  <a:pt x="97280" y="1877625"/>
                </a:cubicBezTo>
                <a:cubicBezTo>
                  <a:pt x="54400" y="1877625"/>
                  <a:pt x="17440" y="1878905"/>
                  <a:pt x="14400" y="1879065"/>
                </a:cubicBezTo>
                <a:cubicBezTo>
                  <a:pt x="10080" y="1879225"/>
                  <a:pt x="6560" y="1882905"/>
                  <a:pt x="6720" y="1887385"/>
                </a:cubicBezTo>
                <a:cubicBezTo>
                  <a:pt x="6880" y="1891865"/>
                  <a:pt x="10400" y="1894745"/>
                  <a:pt x="15040" y="1895225"/>
                </a:cubicBezTo>
                <a:cubicBezTo>
                  <a:pt x="16320" y="1895225"/>
                  <a:pt x="108800" y="1892025"/>
                  <a:pt x="172160" y="1895705"/>
                </a:cubicBezTo>
                <a:cubicBezTo>
                  <a:pt x="152480" y="1897945"/>
                  <a:pt x="134080" y="1900505"/>
                  <a:pt x="119520" y="1903385"/>
                </a:cubicBezTo>
                <a:cubicBezTo>
                  <a:pt x="67360" y="1913945"/>
                  <a:pt x="14400" y="1919385"/>
                  <a:pt x="13920" y="1919385"/>
                </a:cubicBezTo>
                <a:cubicBezTo>
                  <a:pt x="9440" y="1919865"/>
                  <a:pt x="6240" y="1923705"/>
                  <a:pt x="6720" y="1928185"/>
                </a:cubicBezTo>
                <a:cubicBezTo>
                  <a:pt x="7200" y="1932665"/>
                  <a:pt x="11200" y="1935865"/>
                  <a:pt x="15520" y="1935385"/>
                </a:cubicBezTo>
                <a:cubicBezTo>
                  <a:pt x="16000" y="1935385"/>
                  <a:pt x="69600" y="1929945"/>
                  <a:pt x="122560" y="1919225"/>
                </a:cubicBezTo>
                <a:cubicBezTo>
                  <a:pt x="144480" y="1914905"/>
                  <a:pt x="175200" y="1911225"/>
                  <a:pt x="205760" y="1908665"/>
                </a:cubicBezTo>
                <a:cubicBezTo>
                  <a:pt x="184800" y="1916185"/>
                  <a:pt x="167680" y="1924345"/>
                  <a:pt x="152640" y="1931705"/>
                </a:cubicBezTo>
                <a:lnTo>
                  <a:pt x="148800" y="1933625"/>
                </a:lnTo>
                <a:cubicBezTo>
                  <a:pt x="107840" y="1953465"/>
                  <a:pt x="11200" y="1963705"/>
                  <a:pt x="10240" y="1963865"/>
                </a:cubicBezTo>
                <a:cubicBezTo>
                  <a:pt x="5760" y="1964345"/>
                  <a:pt x="2560" y="1968185"/>
                  <a:pt x="3040" y="1972665"/>
                </a:cubicBezTo>
                <a:cubicBezTo>
                  <a:pt x="3520" y="1977145"/>
                  <a:pt x="7360" y="1980505"/>
                  <a:pt x="11840" y="1979865"/>
                </a:cubicBezTo>
                <a:cubicBezTo>
                  <a:pt x="15840" y="1979385"/>
                  <a:pt x="112160" y="1968985"/>
                  <a:pt x="155680" y="1948025"/>
                </a:cubicBezTo>
                <a:lnTo>
                  <a:pt x="159520" y="1946105"/>
                </a:lnTo>
                <a:cubicBezTo>
                  <a:pt x="191680" y="1930585"/>
                  <a:pt x="232800" y="1910585"/>
                  <a:pt x="303840" y="1903225"/>
                </a:cubicBezTo>
                <a:cubicBezTo>
                  <a:pt x="304800" y="1903225"/>
                  <a:pt x="305920" y="1903225"/>
                  <a:pt x="306880" y="1903225"/>
                </a:cubicBezTo>
                <a:cubicBezTo>
                  <a:pt x="307680" y="1903225"/>
                  <a:pt x="308480" y="1902905"/>
                  <a:pt x="309120" y="1902745"/>
                </a:cubicBezTo>
                <a:cubicBezTo>
                  <a:pt x="317440" y="1901945"/>
                  <a:pt x="326080" y="1901465"/>
                  <a:pt x="335360" y="1900985"/>
                </a:cubicBezTo>
                <a:cubicBezTo>
                  <a:pt x="278560" y="1921145"/>
                  <a:pt x="235360" y="1945465"/>
                  <a:pt x="196000" y="1967865"/>
                </a:cubicBezTo>
                <a:cubicBezTo>
                  <a:pt x="187360" y="1972825"/>
                  <a:pt x="178880" y="1977625"/>
                  <a:pt x="170560" y="1982265"/>
                </a:cubicBezTo>
                <a:cubicBezTo>
                  <a:pt x="110880" y="2015385"/>
                  <a:pt x="12480" y="2033945"/>
                  <a:pt x="11520" y="2034105"/>
                </a:cubicBezTo>
                <a:cubicBezTo>
                  <a:pt x="7200" y="2034905"/>
                  <a:pt x="4320" y="2039225"/>
                  <a:pt x="5120" y="2043545"/>
                </a:cubicBezTo>
                <a:cubicBezTo>
                  <a:pt x="5920" y="2047865"/>
                  <a:pt x="10080" y="2050585"/>
                  <a:pt x="14400" y="2049945"/>
                </a:cubicBezTo>
                <a:cubicBezTo>
                  <a:pt x="18560" y="2049145"/>
                  <a:pt x="116320" y="2030745"/>
                  <a:pt x="178240" y="1996505"/>
                </a:cubicBezTo>
                <a:cubicBezTo>
                  <a:pt x="186720" y="1991865"/>
                  <a:pt x="195200" y="1987065"/>
                  <a:pt x="203840" y="1982105"/>
                </a:cubicBezTo>
                <a:cubicBezTo>
                  <a:pt x="254400" y="1953465"/>
                  <a:pt x="311520" y="1921305"/>
                  <a:pt x="396160" y="1899865"/>
                </a:cubicBezTo>
                <a:cubicBezTo>
                  <a:pt x="306080" y="1933145"/>
                  <a:pt x="226080" y="1999225"/>
                  <a:pt x="158400" y="2061465"/>
                </a:cubicBezTo>
                <a:cubicBezTo>
                  <a:pt x="93920" y="2120985"/>
                  <a:pt x="14400" y="2147705"/>
                  <a:pt x="13600" y="2148025"/>
                </a:cubicBezTo>
                <a:cubicBezTo>
                  <a:pt x="9440" y="2149465"/>
                  <a:pt x="7040" y="2154105"/>
                  <a:pt x="8480" y="2158265"/>
                </a:cubicBezTo>
                <a:cubicBezTo>
                  <a:pt x="9920" y="2162425"/>
                  <a:pt x="14400" y="2164825"/>
                  <a:pt x="18560" y="2163385"/>
                </a:cubicBezTo>
                <a:cubicBezTo>
                  <a:pt x="21920" y="2162265"/>
                  <a:pt x="101920" y="2135385"/>
                  <a:pt x="169120" y="2073465"/>
                </a:cubicBezTo>
                <a:cubicBezTo>
                  <a:pt x="245600" y="2003065"/>
                  <a:pt x="337920" y="1927705"/>
                  <a:pt x="441920" y="1902745"/>
                </a:cubicBezTo>
                <a:cubicBezTo>
                  <a:pt x="461440" y="1898105"/>
                  <a:pt x="484000" y="1892985"/>
                  <a:pt x="508000" y="1887385"/>
                </a:cubicBezTo>
                <a:cubicBezTo>
                  <a:pt x="534560" y="1881305"/>
                  <a:pt x="562880" y="1874745"/>
                  <a:pt x="591040" y="1868025"/>
                </a:cubicBezTo>
                <a:cubicBezTo>
                  <a:pt x="571520" y="1873945"/>
                  <a:pt x="550560" y="1880345"/>
                  <a:pt x="528160" y="1887225"/>
                </a:cubicBezTo>
                <a:cubicBezTo>
                  <a:pt x="404640" y="1924985"/>
                  <a:pt x="353120" y="1981305"/>
                  <a:pt x="250400" y="2093625"/>
                </a:cubicBezTo>
                <a:cubicBezTo>
                  <a:pt x="236480" y="2108825"/>
                  <a:pt x="221600" y="2125145"/>
                  <a:pt x="205440" y="2142585"/>
                </a:cubicBezTo>
                <a:cubicBezTo>
                  <a:pt x="77600" y="2280345"/>
                  <a:pt x="18880" y="2283865"/>
                  <a:pt x="18240" y="2283865"/>
                </a:cubicBezTo>
                <a:cubicBezTo>
                  <a:pt x="13920" y="2284025"/>
                  <a:pt x="10400" y="2287545"/>
                  <a:pt x="10400" y="2292025"/>
                </a:cubicBezTo>
                <a:cubicBezTo>
                  <a:pt x="10560" y="2296505"/>
                  <a:pt x="14080" y="2300025"/>
                  <a:pt x="18400" y="2300025"/>
                </a:cubicBezTo>
                <a:cubicBezTo>
                  <a:pt x="20960" y="2300025"/>
                  <a:pt x="83040" y="2298425"/>
                  <a:pt x="217280" y="2153625"/>
                </a:cubicBezTo>
                <a:cubicBezTo>
                  <a:pt x="233440" y="2136185"/>
                  <a:pt x="248480" y="2119865"/>
                  <a:pt x="262400" y="2104505"/>
                </a:cubicBezTo>
                <a:cubicBezTo>
                  <a:pt x="363040" y="1994265"/>
                  <a:pt x="413600" y="1939065"/>
                  <a:pt x="532960" y="1902585"/>
                </a:cubicBezTo>
                <a:cubicBezTo>
                  <a:pt x="582880" y="1887225"/>
                  <a:pt x="625760" y="1874105"/>
                  <a:pt x="660480" y="1863385"/>
                </a:cubicBezTo>
                <a:cubicBezTo>
                  <a:pt x="637440" y="1875385"/>
                  <a:pt x="614400" y="1888185"/>
                  <a:pt x="592320" y="1900505"/>
                </a:cubicBezTo>
                <a:cubicBezTo>
                  <a:pt x="573440" y="1911225"/>
                  <a:pt x="555360" y="1921305"/>
                  <a:pt x="539040" y="1929785"/>
                </a:cubicBezTo>
                <a:cubicBezTo>
                  <a:pt x="457440" y="1972185"/>
                  <a:pt x="337440" y="2078425"/>
                  <a:pt x="244960" y="2249625"/>
                </a:cubicBezTo>
                <a:cubicBezTo>
                  <a:pt x="152640" y="2420665"/>
                  <a:pt x="13120" y="2460185"/>
                  <a:pt x="11680" y="2460505"/>
                </a:cubicBezTo>
                <a:cubicBezTo>
                  <a:pt x="7520" y="2461785"/>
                  <a:pt x="4960" y="2466105"/>
                  <a:pt x="6080" y="2470425"/>
                </a:cubicBezTo>
                <a:cubicBezTo>
                  <a:pt x="7200" y="2474745"/>
                  <a:pt x="11680" y="2477305"/>
                  <a:pt x="15840" y="2476185"/>
                </a:cubicBezTo>
                <a:cubicBezTo>
                  <a:pt x="21760" y="2474585"/>
                  <a:pt x="163200" y="2434745"/>
                  <a:pt x="259040" y="2257305"/>
                </a:cubicBezTo>
                <a:cubicBezTo>
                  <a:pt x="349760" y="2089305"/>
                  <a:pt x="467040" y="1985305"/>
                  <a:pt x="546400" y="1944025"/>
                </a:cubicBezTo>
                <a:cubicBezTo>
                  <a:pt x="562880" y="1935545"/>
                  <a:pt x="580960" y="1925305"/>
                  <a:pt x="600160" y="1914585"/>
                </a:cubicBezTo>
                <a:cubicBezTo>
                  <a:pt x="649120" y="1887065"/>
                  <a:pt x="707200" y="1854585"/>
                  <a:pt x="759200" y="1838105"/>
                </a:cubicBezTo>
                <a:cubicBezTo>
                  <a:pt x="712160" y="1861785"/>
                  <a:pt x="659040" y="1896185"/>
                  <a:pt x="595040" y="1943865"/>
                </a:cubicBezTo>
                <a:cubicBezTo>
                  <a:pt x="507520" y="2009145"/>
                  <a:pt x="466880" y="2099705"/>
                  <a:pt x="420000" y="2204505"/>
                </a:cubicBezTo>
                <a:cubicBezTo>
                  <a:pt x="395040" y="2260345"/>
                  <a:pt x="369120" y="2318105"/>
                  <a:pt x="333280" y="2379865"/>
                </a:cubicBezTo>
                <a:cubicBezTo>
                  <a:pt x="231680" y="2554425"/>
                  <a:pt x="17600" y="2573305"/>
                  <a:pt x="15520" y="2573465"/>
                </a:cubicBezTo>
                <a:cubicBezTo>
                  <a:pt x="11040" y="2573785"/>
                  <a:pt x="7840" y="2577785"/>
                  <a:pt x="8160" y="2582105"/>
                </a:cubicBezTo>
                <a:cubicBezTo>
                  <a:pt x="8480" y="2586425"/>
                  <a:pt x="12480" y="2590105"/>
                  <a:pt x="16800" y="2589465"/>
                </a:cubicBezTo>
                <a:cubicBezTo>
                  <a:pt x="19040" y="2589305"/>
                  <a:pt x="241280" y="2569785"/>
                  <a:pt x="347040" y="2387865"/>
                </a:cubicBezTo>
                <a:cubicBezTo>
                  <a:pt x="383360" y="2325465"/>
                  <a:pt x="409440" y="2267225"/>
                  <a:pt x="434560" y="2211065"/>
                </a:cubicBezTo>
                <a:cubicBezTo>
                  <a:pt x="480640" y="2108345"/>
                  <a:pt x="520320" y="2019545"/>
                  <a:pt x="604640" y="1956665"/>
                </a:cubicBezTo>
                <a:cubicBezTo>
                  <a:pt x="700640" y="1884985"/>
                  <a:pt x="763840" y="1850585"/>
                  <a:pt x="809920" y="1832825"/>
                </a:cubicBezTo>
                <a:cubicBezTo>
                  <a:pt x="700960" y="1899865"/>
                  <a:pt x="652640" y="2017465"/>
                  <a:pt x="631520" y="2069305"/>
                </a:cubicBezTo>
                <a:cubicBezTo>
                  <a:pt x="629280" y="2074585"/>
                  <a:pt x="627520" y="2079225"/>
                  <a:pt x="625760" y="2083225"/>
                </a:cubicBezTo>
                <a:lnTo>
                  <a:pt x="617600" y="2102425"/>
                </a:lnTo>
                <a:cubicBezTo>
                  <a:pt x="588800" y="2170585"/>
                  <a:pt x="528800" y="2312345"/>
                  <a:pt x="466720" y="2412185"/>
                </a:cubicBezTo>
                <a:cubicBezTo>
                  <a:pt x="399360" y="2520505"/>
                  <a:pt x="219360" y="2547385"/>
                  <a:pt x="160160" y="2556185"/>
                </a:cubicBezTo>
                <a:cubicBezTo>
                  <a:pt x="95040" y="2565945"/>
                  <a:pt x="15360" y="2610905"/>
                  <a:pt x="12000" y="2612825"/>
                </a:cubicBezTo>
                <a:cubicBezTo>
                  <a:pt x="8160" y="2615065"/>
                  <a:pt x="6720" y="2620025"/>
                  <a:pt x="8960" y="2623865"/>
                </a:cubicBezTo>
                <a:cubicBezTo>
                  <a:pt x="11040" y="2627705"/>
                  <a:pt x="16000" y="2629145"/>
                  <a:pt x="19840" y="2626905"/>
                </a:cubicBezTo>
                <a:cubicBezTo>
                  <a:pt x="20640" y="2626425"/>
                  <a:pt x="100320" y="2581465"/>
                  <a:pt x="162400" y="2572185"/>
                </a:cubicBezTo>
                <a:cubicBezTo>
                  <a:pt x="191360" y="2568025"/>
                  <a:pt x="240640" y="2560505"/>
                  <a:pt x="293280" y="2544505"/>
                </a:cubicBezTo>
                <a:cubicBezTo>
                  <a:pt x="243520" y="2565785"/>
                  <a:pt x="196480" y="2588985"/>
                  <a:pt x="173280" y="2605625"/>
                </a:cubicBezTo>
                <a:cubicBezTo>
                  <a:pt x="128960" y="2637465"/>
                  <a:pt x="15680" y="2698425"/>
                  <a:pt x="14560" y="2699065"/>
                </a:cubicBezTo>
                <a:cubicBezTo>
                  <a:pt x="10560" y="2701145"/>
                  <a:pt x="9120" y="2705945"/>
                  <a:pt x="11200" y="2709945"/>
                </a:cubicBezTo>
                <a:cubicBezTo>
                  <a:pt x="13280" y="2713945"/>
                  <a:pt x="18240" y="2715385"/>
                  <a:pt x="22080" y="2713305"/>
                </a:cubicBezTo>
                <a:cubicBezTo>
                  <a:pt x="26720" y="2710905"/>
                  <a:pt x="137440" y="2651385"/>
                  <a:pt x="181920" y="2618905"/>
                </a:cubicBezTo>
                <a:cubicBezTo>
                  <a:pt x="224480" y="2588345"/>
                  <a:pt x="373120" y="2524665"/>
                  <a:pt x="438720" y="2508985"/>
                </a:cubicBezTo>
                <a:cubicBezTo>
                  <a:pt x="339840" y="2553465"/>
                  <a:pt x="279520" y="2614425"/>
                  <a:pt x="208640" y="2692985"/>
                </a:cubicBezTo>
                <a:cubicBezTo>
                  <a:pt x="128160" y="2781945"/>
                  <a:pt x="9440" y="2867065"/>
                  <a:pt x="8320" y="2867865"/>
                </a:cubicBezTo>
                <a:cubicBezTo>
                  <a:pt x="4640" y="2870425"/>
                  <a:pt x="3840" y="2875385"/>
                  <a:pt x="6400" y="2879065"/>
                </a:cubicBezTo>
                <a:cubicBezTo>
                  <a:pt x="8960" y="2882745"/>
                  <a:pt x="13920" y="2883545"/>
                  <a:pt x="17600" y="2880985"/>
                </a:cubicBezTo>
                <a:cubicBezTo>
                  <a:pt x="18880" y="2880025"/>
                  <a:pt x="138880" y="2794105"/>
                  <a:pt x="220480" y="2703705"/>
                </a:cubicBezTo>
                <a:cubicBezTo>
                  <a:pt x="298880" y="2616825"/>
                  <a:pt x="363680" y="2551865"/>
                  <a:pt x="483840" y="2507705"/>
                </a:cubicBezTo>
                <a:cubicBezTo>
                  <a:pt x="580480" y="2472025"/>
                  <a:pt x="808160" y="2375225"/>
                  <a:pt x="830560" y="2245625"/>
                </a:cubicBezTo>
                <a:cubicBezTo>
                  <a:pt x="838560" y="2199225"/>
                  <a:pt x="846720" y="2148665"/>
                  <a:pt x="854080" y="2101945"/>
                </a:cubicBezTo>
                <a:cubicBezTo>
                  <a:pt x="865600" y="2029465"/>
                  <a:pt x="875680" y="1966745"/>
                  <a:pt x="881760" y="1943705"/>
                </a:cubicBezTo>
                <a:cubicBezTo>
                  <a:pt x="892800" y="1902105"/>
                  <a:pt x="947680" y="1795705"/>
                  <a:pt x="996480" y="1775865"/>
                </a:cubicBezTo>
                <a:cubicBezTo>
                  <a:pt x="996480" y="1775705"/>
                  <a:pt x="996640" y="1775705"/>
                  <a:pt x="996640" y="1775705"/>
                </a:cubicBezTo>
                <a:cubicBezTo>
                  <a:pt x="1051520" y="1753625"/>
                  <a:pt x="1168960" y="1684185"/>
                  <a:pt x="1217280" y="1645305"/>
                </a:cubicBezTo>
                <a:cubicBezTo>
                  <a:pt x="1242720" y="1624825"/>
                  <a:pt x="1327360" y="1566905"/>
                  <a:pt x="1409280" y="1510905"/>
                </a:cubicBezTo>
                <a:cubicBezTo>
                  <a:pt x="1481120" y="1461945"/>
                  <a:pt x="1548800" y="1415545"/>
                  <a:pt x="1575840" y="1395065"/>
                </a:cubicBezTo>
                <a:cubicBezTo>
                  <a:pt x="1636800" y="1348985"/>
                  <a:pt x="1749120" y="1218745"/>
                  <a:pt x="1797280" y="1085945"/>
                </a:cubicBezTo>
                <a:cubicBezTo>
                  <a:pt x="1811360" y="1046905"/>
                  <a:pt x="1941440" y="701145"/>
                  <a:pt x="2152640" y="572825"/>
                </a:cubicBezTo>
                <a:cubicBezTo>
                  <a:pt x="2331040" y="464345"/>
                  <a:pt x="2603200" y="351705"/>
                  <a:pt x="2605920" y="350585"/>
                </a:cubicBezTo>
                <a:cubicBezTo>
                  <a:pt x="2608480" y="349465"/>
                  <a:pt x="2822080" y="248825"/>
                  <a:pt x="2932640" y="224505"/>
                </a:cubicBezTo>
                <a:cubicBezTo>
                  <a:pt x="3047200" y="199385"/>
                  <a:pt x="3346880" y="197625"/>
                  <a:pt x="3449280" y="210905"/>
                </a:cubicBezTo>
                <a:cubicBezTo>
                  <a:pt x="3551360" y="224185"/>
                  <a:pt x="3807520" y="311065"/>
                  <a:pt x="3900000" y="380025"/>
                </a:cubicBezTo>
                <a:cubicBezTo>
                  <a:pt x="3958720" y="423705"/>
                  <a:pt x="4024640" y="473945"/>
                  <a:pt x="4065280" y="510265"/>
                </a:cubicBezTo>
                <a:lnTo>
                  <a:pt x="4100160" y="546425"/>
                </a:lnTo>
                <a:cubicBezTo>
                  <a:pt x="4103840" y="551865"/>
                  <a:pt x="4109120" y="559545"/>
                  <a:pt x="4115200" y="568665"/>
                </a:cubicBezTo>
                <a:cubicBezTo>
                  <a:pt x="4098720" y="550585"/>
                  <a:pt x="4086240" y="537305"/>
                  <a:pt x="4084800" y="535705"/>
                </a:cubicBezTo>
                <a:cubicBezTo>
                  <a:pt x="4077120" y="529625"/>
                  <a:pt x="3918240" y="407225"/>
                  <a:pt x="3839680" y="371545"/>
                </a:cubicBezTo>
                <a:cubicBezTo>
                  <a:pt x="3778080" y="343705"/>
                  <a:pt x="3607040" y="277785"/>
                  <a:pt x="3348000" y="271865"/>
                </a:cubicBezTo>
                <a:cubicBezTo>
                  <a:pt x="3339680" y="271705"/>
                  <a:pt x="3331360" y="271545"/>
                  <a:pt x="3323040" y="271545"/>
                </a:cubicBezTo>
                <a:cubicBezTo>
                  <a:pt x="3109600" y="271545"/>
                  <a:pt x="2905280" y="332825"/>
                  <a:pt x="2793600" y="366425"/>
                </a:cubicBezTo>
                <a:lnTo>
                  <a:pt x="2766400" y="374585"/>
                </a:lnTo>
                <a:cubicBezTo>
                  <a:pt x="2664800" y="404665"/>
                  <a:pt x="2475680" y="460505"/>
                  <a:pt x="2277760" y="589625"/>
                </a:cubicBezTo>
                <a:cubicBezTo>
                  <a:pt x="2158880" y="667225"/>
                  <a:pt x="2041760" y="817465"/>
                  <a:pt x="1948000" y="1012825"/>
                </a:cubicBezTo>
                <a:cubicBezTo>
                  <a:pt x="1945920" y="1017305"/>
                  <a:pt x="1944480" y="1020345"/>
                  <a:pt x="1943680" y="1021785"/>
                </a:cubicBezTo>
                <a:lnTo>
                  <a:pt x="1939840" y="1028985"/>
                </a:lnTo>
                <a:cubicBezTo>
                  <a:pt x="1925760" y="1055865"/>
                  <a:pt x="1892800" y="1118585"/>
                  <a:pt x="1862560" y="1155225"/>
                </a:cubicBezTo>
                <a:cubicBezTo>
                  <a:pt x="1852480" y="1167385"/>
                  <a:pt x="1837920" y="1183225"/>
                  <a:pt x="1819680" y="1203225"/>
                </a:cubicBezTo>
                <a:cubicBezTo>
                  <a:pt x="1775680" y="1251545"/>
                  <a:pt x="1708960" y="1324665"/>
                  <a:pt x="1613120" y="1444185"/>
                </a:cubicBezTo>
                <a:cubicBezTo>
                  <a:pt x="1498880" y="1586585"/>
                  <a:pt x="1323520" y="1648825"/>
                  <a:pt x="1182720" y="1698905"/>
                </a:cubicBezTo>
                <a:cubicBezTo>
                  <a:pt x="1157120" y="1708025"/>
                  <a:pt x="1132960" y="1716665"/>
                  <a:pt x="1110720" y="1725145"/>
                </a:cubicBezTo>
                <a:cubicBezTo>
                  <a:pt x="952960" y="1785625"/>
                  <a:pt x="933120" y="2009465"/>
                  <a:pt x="931360" y="2034745"/>
                </a:cubicBezTo>
                <a:cubicBezTo>
                  <a:pt x="924320" y="2136505"/>
                  <a:pt x="906880" y="2214265"/>
                  <a:pt x="881120" y="2259705"/>
                </a:cubicBezTo>
                <a:cubicBezTo>
                  <a:pt x="844640" y="2324025"/>
                  <a:pt x="637760" y="2452025"/>
                  <a:pt x="547200" y="2484505"/>
                </a:cubicBezTo>
                <a:cubicBezTo>
                  <a:pt x="449600" y="2519385"/>
                  <a:pt x="282880" y="2651065"/>
                  <a:pt x="234720" y="2822745"/>
                </a:cubicBezTo>
                <a:cubicBezTo>
                  <a:pt x="188480" y="2988025"/>
                  <a:pt x="11520" y="3086425"/>
                  <a:pt x="9760" y="3087385"/>
                </a:cubicBezTo>
                <a:cubicBezTo>
                  <a:pt x="5920" y="3089465"/>
                  <a:pt x="4480" y="3094425"/>
                  <a:pt x="6560" y="3098265"/>
                </a:cubicBezTo>
                <a:cubicBezTo>
                  <a:pt x="8640" y="3102105"/>
                  <a:pt x="13600" y="3103545"/>
                  <a:pt x="17440" y="3101465"/>
                </a:cubicBezTo>
                <a:cubicBezTo>
                  <a:pt x="24960" y="3097305"/>
                  <a:pt x="202080" y="2998905"/>
                  <a:pt x="250080" y="2827385"/>
                </a:cubicBezTo>
                <a:cubicBezTo>
                  <a:pt x="296640" y="2661145"/>
                  <a:pt x="458080" y="2533625"/>
                  <a:pt x="552480" y="2499865"/>
                </a:cubicBezTo>
                <a:cubicBezTo>
                  <a:pt x="647360" y="2465945"/>
                  <a:pt x="856320" y="2336025"/>
                  <a:pt x="895040" y="2267865"/>
                </a:cubicBezTo>
                <a:cubicBezTo>
                  <a:pt x="922080" y="2220345"/>
                  <a:pt x="940160" y="2140185"/>
                  <a:pt x="947360" y="2036025"/>
                </a:cubicBezTo>
                <a:cubicBezTo>
                  <a:pt x="949120" y="2011705"/>
                  <a:pt x="968000" y="1797305"/>
                  <a:pt x="1116480" y="1740345"/>
                </a:cubicBezTo>
                <a:cubicBezTo>
                  <a:pt x="1138560" y="1731865"/>
                  <a:pt x="1162560" y="1723225"/>
                  <a:pt x="1188000" y="1714265"/>
                </a:cubicBezTo>
                <a:cubicBezTo>
                  <a:pt x="1330720" y="1663545"/>
                  <a:pt x="1508480" y="1600345"/>
                  <a:pt x="1625440" y="1454425"/>
                </a:cubicBezTo>
                <a:cubicBezTo>
                  <a:pt x="1720960" y="1335225"/>
                  <a:pt x="1787360" y="1262425"/>
                  <a:pt x="1831360" y="1214265"/>
                </a:cubicBezTo>
                <a:cubicBezTo>
                  <a:pt x="1849760" y="1194105"/>
                  <a:pt x="1864320" y="1178105"/>
                  <a:pt x="1874720" y="1165625"/>
                </a:cubicBezTo>
                <a:cubicBezTo>
                  <a:pt x="1906080" y="1127865"/>
                  <a:pt x="1939680" y="1064025"/>
                  <a:pt x="1953920" y="1036665"/>
                </a:cubicBezTo>
                <a:lnTo>
                  <a:pt x="1957600" y="1029465"/>
                </a:lnTo>
                <a:cubicBezTo>
                  <a:pt x="1958400" y="1027865"/>
                  <a:pt x="1960000" y="1024665"/>
                  <a:pt x="1962240" y="1019865"/>
                </a:cubicBezTo>
                <a:cubicBezTo>
                  <a:pt x="2054720" y="827225"/>
                  <a:pt x="2169760" y="679225"/>
                  <a:pt x="2286240" y="603225"/>
                </a:cubicBezTo>
                <a:cubicBezTo>
                  <a:pt x="2482080" y="475225"/>
                  <a:pt x="2669920" y="419865"/>
                  <a:pt x="2770720" y="390105"/>
                </a:cubicBezTo>
                <a:lnTo>
                  <a:pt x="2798080" y="381945"/>
                </a:lnTo>
                <a:cubicBezTo>
                  <a:pt x="2913280" y="347385"/>
                  <a:pt x="3127680" y="283065"/>
                  <a:pt x="3347680" y="288025"/>
                </a:cubicBezTo>
                <a:cubicBezTo>
                  <a:pt x="3603840" y="293945"/>
                  <a:pt x="3772480" y="358745"/>
                  <a:pt x="3833120" y="386425"/>
                </a:cubicBezTo>
                <a:cubicBezTo>
                  <a:pt x="3909920" y="421465"/>
                  <a:pt x="4072480" y="546585"/>
                  <a:pt x="4074080" y="547865"/>
                </a:cubicBezTo>
                <a:cubicBezTo>
                  <a:pt x="4074080" y="548025"/>
                  <a:pt x="4175200" y="656665"/>
                  <a:pt x="4191680" y="683225"/>
                </a:cubicBezTo>
                <a:cubicBezTo>
                  <a:pt x="4200000" y="696825"/>
                  <a:pt x="4212480" y="726585"/>
                  <a:pt x="4222720" y="752505"/>
                </a:cubicBezTo>
                <a:cubicBezTo>
                  <a:pt x="4182080" y="704025"/>
                  <a:pt x="4109600" y="620825"/>
                  <a:pt x="4053440" y="575545"/>
                </a:cubicBezTo>
                <a:cubicBezTo>
                  <a:pt x="3962720" y="502425"/>
                  <a:pt x="3728480" y="362745"/>
                  <a:pt x="3491840" y="356985"/>
                </a:cubicBezTo>
                <a:cubicBezTo>
                  <a:pt x="3479520" y="356665"/>
                  <a:pt x="3467200" y="356505"/>
                  <a:pt x="3454880" y="356505"/>
                </a:cubicBezTo>
                <a:cubicBezTo>
                  <a:pt x="3181120" y="356505"/>
                  <a:pt x="2948160" y="428825"/>
                  <a:pt x="2921440" y="437465"/>
                </a:cubicBezTo>
                <a:cubicBezTo>
                  <a:pt x="2892160" y="446905"/>
                  <a:pt x="2848480" y="457625"/>
                  <a:pt x="2797920" y="470105"/>
                </a:cubicBezTo>
                <a:cubicBezTo>
                  <a:pt x="2692640" y="496025"/>
                  <a:pt x="2548480" y="531545"/>
                  <a:pt x="2437600" y="580185"/>
                </a:cubicBezTo>
                <a:cubicBezTo>
                  <a:pt x="2275200" y="651545"/>
                  <a:pt x="2144640" y="847865"/>
                  <a:pt x="2139200" y="856185"/>
                </a:cubicBezTo>
                <a:cubicBezTo>
                  <a:pt x="2137920" y="858425"/>
                  <a:pt x="2038880" y="1034745"/>
                  <a:pt x="1945120" y="1118905"/>
                </a:cubicBezTo>
                <a:cubicBezTo>
                  <a:pt x="1888000" y="1170265"/>
                  <a:pt x="1859680" y="1223865"/>
                  <a:pt x="1823680" y="1291705"/>
                </a:cubicBezTo>
                <a:cubicBezTo>
                  <a:pt x="1798720" y="1338905"/>
                  <a:pt x="1770400" y="1392345"/>
                  <a:pt x="1726400" y="1455865"/>
                </a:cubicBezTo>
                <a:cubicBezTo>
                  <a:pt x="1624800" y="1602745"/>
                  <a:pt x="1437600" y="1660825"/>
                  <a:pt x="1427680" y="1663865"/>
                </a:cubicBezTo>
                <a:cubicBezTo>
                  <a:pt x="1410400" y="1666265"/>
                  <a:pt x="1394080" y="1669145"/>
                  <a:pt x="1378720" y="1672665"/>
                </a:cubicBezTo>
                <a:cubicBezTo>
                  <a:pt x="1322880" y="1683225"/>
                  <a:pt x="1230240" y="1702585"/>
                  <a:pt x="1162720" y="1725945"/>
                </a:cubicBezTo>
                <a:cubicBezTo>
                  <a:pt x="1057440" y="1762265"/>
                  <a:pt x="1024640" y="1929305"/>
                  <a:pt x="1024640" y="1985945"/>
                </a:cubicBezTo>
                <a:cubicBezTo>
                  <a:pt x="1024640" y="2029945"/>
                  <a:pt x="989600" y="2111385"/>
                  <a:pt x="970720" y="2138745"/>
                </a:cubicBezTo>
                <a:cubicBezTo>
                  <a:pt x="957600" y="2157785"/>
                  <a:pt x="948320" y="2180665"/>
                  <a:pt x="935360" y="2212505"/>
                </a:cubicBezTo>
                <a:cubicBezTo>
                  <a:pt x="929440" y="2227065"/>
                  <a:pt x="922880" y="2243225"/>
                  <a:pt x="914720" y="2261945"/>
                </a:cubicBezTo>
                <a:cubicBezTo>
                  <a:pt x="890080" y="2318745"/>
                  <a:pt x="778240" y="2406265"/>
                  <a:pt x="777120" y="2407225"/>
                </a:cubicBezTo>
                <a:cubicBezTo>
                  <a:pt x="775520" y="2408345"/>
                  <a:pt x="613280" y="2533145"/>
                  <a:pt x="500160" y="2633145"/>
                </a:cubicBezTo>
                <a:cubicBezTo>
                  <a:pt x="385920" y="2734105"/>
                  <a:pt x="355360" y="2821785"/>
                  <a:pt x="331840" y="2910265"/>
                </a:cubicBezTo>
                <a:cubicBezTo>
                  <a:pt x="309760" y="2993465"/>
                  <a:pt x="236000" y="3086585"/>
                  <a:pt x="209280" y="3108025"/>
                </a:cubicBezTo>
                <a:lnTo>
                  <a:pt x="98720" y="3197145"/>
                </a:lnTo>
                <a:lnTo>
                  <a:pt x="108640" y="3209785"/>
                </a:lnTo>
                <a:lnTo>
                  <a:pt x="218720" y="3120825"/>
                </a:lnTo>
                <a:cubicBezTo>
                  <a:pt x="250400" y="3095385"/>
                  <a:pt x="324320" y="2999545"/>
                  <a:pt x="346880" y="2914745"/>
                </a:cubicBezTo>
                <a:cubicBezTo>
                  <a:pt x="369760" y="2828825"/>
                  <a:pt x="399520" y="2743545"/>
                  <a:pt x="510400" y="2645625"/>
                </a:cubicBezTo>
                <a:cubicBezTo>
                  <a:pt x="623200" y="2546105"/>
                  <a:pt x="784960" y="2421625"/>
                  <a:pt x="786560" y="2420345"/>
                </a:cubicBezTo>
                <a:cubicBezTo>
                  <a:pt x="791360" y="2416505"/>
                  <a:pt x="902720" y="2329145"/>
                  <a:pt x="929120" y="2268665"/>
                </a:cubicBezTo>
                <a:cubicBezTo>
                  <a:pt x="937280" y="2249785"/>
                  <a:pt x="944000" y="2233465"/>
                  <a:pt x="949920" y="2218905"/>
                </a:cubicBezTo>
                <a:cubicBezTo>
                  <a:pt x="962560" y="2188025"/>
                  <a:pt x="971520" y="2165785"/>
                  <a:pt x="983680" y="2148185"/>
                </a:cubicBezTo>
                <a:cubicBezTo>
                  <a:pt x="1003200" y="2120025"/>
                  <a:pt x="1040480" y="2034905"/>
                  <a:pt x="1040480" y="1986265"/>
                </a:cubicBezTo>
                <a:cubicBezTo>
                  <a:pt x="1040480" y="1934745"/>
                  <a:pt x="1071840" y="1774585"/>
                  <a:pt x="1167840" y="1741465"/>
                </a:cubicBezTo>
                <a:cubicBezTo>
                  <a:pt x="1199200" y="1730585"/>
                  <a:pt x="1236000" y="1720665"/>
                  <a:pt x="1272160" y="1712025"/>
                </a:cubicBezTo>
                <a:cubicBezTo>
                  <a:pt x="1164960" y="1771225"/>
                  <a:pt x="1142400" y="1863705"/>
                  <a:pt x="1138240" y="1909625"/>
                </a:cubicBezTo>
                <a:cubicBezTo>
                  <a:pt x="1131840" y="1979705"/>
                  <a:pt x="1069120" y="2069465"/>
                  <a:pt x="1031040" y="2109465"/>
                </a:cubicBezTo>
                <a:cubicBezTo>
                  <a:pt x="989440" y="2153145"/>
                  <a:pt x="951520" y="2247225"/>
                  <a:pt x="951520" y="2306745"/>
                </a:cubicBezTo>
                <a:cubicBezTo>
                  <a:pt x="951520" y="2363705"/>
                  <a:pt x="933920" y="2411545"/>
                  <a:pt x="899040" y="2448985"/>
                </a:cubicBezTo>
                <a:cubicBezTo>
                  <a:pt x="859840" y="2491225"/>
                  <a:pt x="668640" y="2652665"/>
                  <a:pt x="636000" y="2678905"/>
                </a:cubicBezTo>
                <a:cubicBezTo>
                  <a:pt x="596640" y="2710745"/>
                  <a:pt x="507040" y="2800825"/>
                  <a:pt x="450400" y="2914905"/>
                </a:cubicBezTo>
                <a:cubicBezTo>
                  <a:pt x="392000" y="3032345"/>
                  <a:pt x="321600" y="3104665"/>
                  <a:pt x="290240" y="3118425"/>
                </a:cubicBezTo>
                <a:cubicBezTo>
                  <a:pt x="253760" y="3134585"/>
                  <a:pt x="202720" y="3190585"/>
                  <a:pt x="200640" y="3192985"/>
                </a:cubicBezTo>
                <a:cubicBezTo>
                  <a:pt x="197600" y="3196185"/>
                  <a:pt x="197920" y="3201305"/>
                  <a:pt x="201120" y="3204345"/>
                </a:cubicBezTo>
                <a:cubicBezTo>
                  <a:pt x="204480" y="3207385"/>
                  <a:pt x="209440" y="3207225"/>
                  <a:pt x="212480" y="3203865"/>
                </a:cubicBezTo>
                <a:cubicBezTo>
                  <a:pt x="212960" y="3203385"/>
                  <a:pt x="263200" y="3148025"/>
                  <a:pt x="296640" y="3133305"/>
                </a:cubicBezTo>
                <a:cubicBezTo>
                  <a:pt x="335840" y="3116185"/>
                  <a:pt x="408160" y="3036345"/>
                  <a:pt x="464800" y="2922265"/>
                </a:cubicBezTo>
                <a:cubicBezTo>
                  <a:pt x="520160" y="2810745"/>
                  <a:pt x="607680" y="2722745"/>
                  <a:pt x="646080" y="2691705"/>
                </a:cubicBezTo>
                <a:cubicBezTo>
                  <a:pt x="678880" y="2665465"/>
                  <a:pt x="871200" y="2502905"/>
                  <a:pt x="910880" y="2460345"/>
                </a:cubicBezTo>
                <a:cubicBezTo>
                  <a:pt x="948640" y="2419705"/>
                  <a:pt x="967840" y="2368185"/>
                  <a:pt x="967840" y="2307065"/>
                </a:cubicBezTo>
                <a:cubicBezTo>
                  <a:pt x="967840" y="2251865"/>
                  <a:pt x="1004320" y="2161465"/>
                  <a:pt x="1042880" y="2120825"/>
                </a:cubicBezTo>
                <a:cubicBezTo>
                  <a:pt x="1082400" y="2079225"/>
                  <a:pt x="1147680" y="1985465"/>
                  <a:pt x="1154560" y="1911225"/>
                </a:cubicBezTo>
                <a:cubicBezTo>
                  <a:pt x="1159520" y="1856345"/>
                  <a:pt x="1192480" y="1731225"/>
                  <a:pt x="1383360" y="1688505"/>
                </a:cubicBezTo>
                <a:cubicBezTo>
                  <a:pt x="1408320" y="1683865"/>
                  <a:pt x="1425760" y="1680825"/>
                  <a:pt x="1429920" y="1680185"/>
                </a:cubicBezTo>
                <a:cubicBezTo>
                  <a:pt x="1430240" y="1680185"/>
                  <a:pt x="1430400" y="1680025"/>
                  <a:pt x="1430720" y="1680025"/>
                </a:cubicBezTo>
                <a:cubicBezTo>
                  <a:pt x="1440320" y="1678745"/>
                  <a:pt x="1666400" y="1647225"/>
                  <a:pt x="1782880" y="1532665"/>
                </a:cubicBezTo>
                <a:cubicBezTo>
                  <a:pt x="1864160" y="1452825"/>
                  <a:pt x="1884800" y="1393785"/>
                  <a:pt x="1901440" y="1346425"/>
                </a:cubicBezTo>
                <a:cubicBezTo>
                  <a:pt x="1908800" y="1325465"/>
                  <a:pt x="1915200" y="1307225"/>
                  <a:pt x="1925760" y="1290265"/>
                </a:cubicBezTo>
                <a:cubicBezTo>
                  <a:pt x="1936960" y="1272185"/>
                  <a:pt x="1948480" y="1248505"/>
                  <a:pt x="1960640" y="1223545"/>
                </a:cubicBezTo>
                <a:cubicBezTo>
                  <a:pt x="1986720" y="1169945"/>
                  <a:pt x="2016160" y="1109145"/>
                  <a:pt x="2052000" y="1085465"/>
                </a:cubicBezTo>
                <a:cubicBezTo>
                  <a:pt x="2089280" y="1060825"/>
                  <a:pt x="2155040" y="984345"/>
                  <a:pt x="2247200" y="858105"/>
                </a:cubicBezTo>
                <a:lnTo>
                  <a:pt x="2251360" y="852345"/>
                </a:lnTo>
                <a:cubicBezTo>
                  <a:pt x="2286560" y="803545"/>
                  <a:pt x="2380320" y="673945"/>
                  <a:pt x="2600000" y="614905"/>
                </a:cubicBezTo>
                <a:cubicBezTo>
                  <a:pt x="2828960" y="553465"/>
                  <a:pt x="3099040" y="491225"/>
                  <a:pt x="3101760" y="490585"/>
                </a:cubicBezTo>
                <a:cubicBezTo>
                  <a:pt x="3104000" y="490265"/>
                  <a:pt x="3375360" y="447065"/>
                  <a:pt x="3523680" y="467385"/>
                </a:cubicBezTo>
                <a:cubicBezTo>
                  <a:pt x="3655520" y="485305"/>
                  <a:pt x="3857600" y="539385"/>
                  <a:pt x="3993440" y="631865"/>
                </a:cubicBezTo>
                <a:cubicBezTo>
                  <a:pt x="4116960" y="716025"/>
                  <a:pt x="4293121" y="885785"/>
                  <a:pt x="4294881" y="887545"/>
                </a:cubicBezTo>
                <a:cubicBezTo>
                  <a:pt x="4296960" y="889305"/>
                  <a:pt x="4318881" y="908665"/>
                  <a:pt x="4345760" y="930745"/>
                </a:cubicBezTo>
                <a:cubicBezTo>
                  <a:pt x="4343040" y="929465"/>
                  <a:pt x="4340320" y="928185"/>
                  <a:pt x="4337760" y="927065"/>
                </a:cubicBezTo>
                <a:cubicBezTo>
                  <a:pt x="4287680" y="905625"/>
                  <a:pt x="4166880" y="813785"/>
                  <a:pt x="4108960" y="769625"/>
                </a:cubicBezTo>
                <a:lnTo>
                  <a:pt x="4096800" y="760345"/>
                </a:lnTo>
                <a:cubicBezTo>
                  <a:pt x="4043520" y="719705"/>
                  <a:pt x="3977120" y="669145"/>
                  <a:pt x="3796800" y="596505"/>
                </a:cubicBezTo>
                <a:cubicBezTo>
                  <a:pt x="3613120" y="522585"/>
                  <a:pt x="3371360" y="522105"/>
                  <a:pt x="3283040" y="533465"/>
                </a:cubicBezTo>
                <a:cubicBezTo>
                  <a:pt x="3251840" y="537465"/>
                  <a:pt x="3210880" y="544665"/>
                  <a:pt x="3167520" y="552345"/>
                </a:cubicBezTo>
                <a:cubicBezTo>
                  <a:pt x="3102720" y="563545"/>
                  <a:pt x="3029440" y="576505"/>
                  <a:pt x="2975520" y="580985"/>
                </a:cubicBezTo>
                <a:cubicBezTo>
                  <a:pt x="2889440" y="588025"/>
                  <a:pt x="2802080" y="601465"/>
                  <a:pt x="2632160" y="646265"/>
                </a:cubicBezTo>
                <a:cubicBezTo>
                  <a:pt x="2492480" y="683065"/>
                  <a:pt x="2402240" y="777145"/>
                  <a:pt x="2353760" y="827705"/>
                </a:cubicBezTo>
                <a:cubicBezTo>
                  <a:pt x="2345760" y="836185"/>
                  <a:pt x="2338880" y="843225"/>
                  <a:pt x="2333440" y="848345"/>
                </a:cubicBezTo>
                <a:cubicBezTo>
                  <a:pt x="2319200" y="861785"/>
                  <a:pt x="2300480" y="883705"/>
                  <a:pt x="2280800" y="906905"/>
                </a:cubicBezTo>
                <a:cubicBezTo>
                  <a:pt x="2247840" y="945625"/>
                  <a:pt x="2210400" y="989465"/>
                  <a:pt x="2182240" y="1007705"/>
                </a:cubicBezTo>
                <a:cubicBezTo>
                  <a:pt x="2149120" y="1029145"/>
                  <a:pt x="2113600" y="1079865"/>
                  <a:pt x="2072640" y="1138585"/>
                </a:cubicBezTo>
                <a:cubicBezTo>
                  <a:pt x="2053600" y="1165945"/>
                  <a:pt x="2033920" y="1194105"/>
                  <a:pt x="2012480" y="1222425"/>
                </a:cubicBezTo>
                <a:cubicBezTo>
                  <a:pt x="1947680" y="1307705"/>
                  <a:pt x="1885120" y="1452345"/>
                  <a:pt x="1878400" y="1468025"/>
                </a:cubicBezTo>
                <a:cubicBezTo>
                  <a:pt x="1742080" y="1610425"/>
                  <a:pt x="1582720" y="1648185"/>
                  <a:pt x="1466400" y="1675705"/>
                </a:cubicBezTo>
                <a:cubicBezTo>
                  <a:pt x="1435840" y="1682905"/>
                  <a:pt x="1406880" y="1689785"/>
                  <a:pt x="1382240" y="1697625"/>
                </a:cubicBezTo>
                <a:cubicBezTo>
                  <a:pt x="1263360" y="1735385"/>
                  <a:pt x="1225760" y="1845625"/>
                  <a:pt x="1215200" y="1891225"/>
                </a:cubicBezTo>
                <a:cubicBezTo>
                  <a:pt x="1207520" y="1924025"/>
                  <a:pt x="1157280" y="2017145"/>
                  <a:pt x="1116640" y="2086745"/>
                </a:cubicBezTo>
                <a:cubicBezTo>
                  <a:pt x="1087040" y="2137305"/>
                  <a:pt x="1079840" y="2229625"/>
                  <a:pt x="1096960" y="2339865"/>
                </a:cubicBezTo>
                <a:cubicBezTo>
                  <a:pt x="1112480" y="2439865"/>
                  <a:pt x="1079680" y="2518745"/>
                  <a:pt x="1004480" y="2561945"/>
                </a:cubicBezTo>
                <a:cubicBezTo>
                  <a:pt x="958400" y="2588505"/>
                  <a:pt x="866880" y="2651385"/>
                  <a:pt x="800000" y="2697465"/>
                </a:cubicBezTo>
                <a:cubicBezTo>
                  <a:pt x="771040" y="2717465"/>
                  <a:pt x="746080" y="2734585"/>
                  <a:pt x="730400" y="2744985"/>
                </a:cubicBezTo>
                <a:cubicBezTo>
                  <a:pt x="675680" y="2781305"/>
                  <a:pt x="591040" y="2892665"/>
                  <a:pt x="523200" y="2982105"/>
                </a:cubicBezTo>
                <a:cubicBezTo>
                  <a:pt x="456480" y="3070105"/>
                  <a:pt x="275200" y="3191705"/>
                  <a:pt x="273920" y="3193465"/>
                </a:cubicBezTo>
                <a:cubicBezTo>
                  <a:pt x="270240" y="3196025"/>
                  <a:pt x="269280" y="3200985"/>
                  <a:pt x="271680" y="3204665"/>
                </a:cubicBezTo>
                <a:cubicBezTo>
                  <a:pt x="274080" y="3208345"/>
                  <a:pt x="279040" y="3209305"/>
                  <a:pt x="282720" y="3206905"/>
                </a:cubicBezTo>
                <a:cubicBezTo>
                  <a:pt x="290240" y="3201945"/>
                  <a:pt x="468000" y="3082425"/>
                  <a:pt x="536480" y="2992345"/>
                </a:cubicBezTo>
                <a:cubicBezTo>
                  <a:pt x="600160" y="2908505"/>
                  <a:pt x="687200" y="2793625"/>
                  <a:pt x="739680" y="2758905"/>
                </a:cubicBezTo>
                <a:cubicBezTo>
                  <a:pt x="755520" y="2748345"/>
                  <a:pt x="780480" y="2731225"/>
                  <a:pt x="809440" y="2711225"/>
                </a:cubicBezTo>
                <a:cubicBezTo>
                  <a:pt x="876000" y="2665305"/>
                  <a:pt x="967360" y="2602585"/>
                  <a:pt x="1012800" y="2576345"/>
                </a:cubicBezTo>
                <a:cubicBezTo>
                  <a:pt x="1059840" y="2549305"/>
                  <a:pt x="1135520" y="2482265"/>
                  <a:pt x="1113120" y="2337785"/>
                </a:cubicBezTo>
                <a:cubicBezTo>
                  <a:pt x="1096800" y="2232825"/>
                  <a:pt x="1103360" y="2142265"/>
                  <a:pt x="1130720" y="2095385"/>
                </a:cubicBezTo>
                <a:cubicBezTo>
                  <a:pt x="1145600" y="2069785"/>
                  <a:pt x="1220640" y="1940025"/>
                  <a:pt x="1231040" y="1895385"/>
                </a:cubicBezTo>
                <a:cubicBezTo>
                  <a:pt x="1241120" y="1852505"/>
                  <a:pt x="1276320" y="1748825"/>
                  <a:pt x="1387360" y="1713465"/>
                </a:cubicBezTo>
                <a:cubicBezTo>
                  <a:pt x="1411520" y="1705785"/>
                  <a:pt x="1440160" y="1699065"/>
                  <a:pt x="1470400" y="1691865"/>
                </a:cubicBezTo>
                <a:cubicBezTo>
                  <a:pt x="1517600" y="1680665"/>
                  <a:pt x="1571840" y="1667705"/>
                  <a:pt x="1628800" y="1647065"/>
                </a:cubicBezTo>
                <a:cubicBezTo>
                  <a:pt x="1577280" y="1670905"/>
                  <a:pt x="1529760" y="1688185"/>
                  <a:pt x="1491520" y="1698745"/>
                </a:cubicBezTo>
                <a:cubicBezTo>
                  <a:pt x="1380640" y="1729465"/>
                  <a:pt x="1298720" y="1802105"/>
                  <a:pt x="1261120" y="1903385"/>
                </a:cubicBezTo>
                <a:cubicBezTo>
                  <a:pt x="1257920" y="1911705"/>
                  <a:pt x="1256160" y="1921785"/>
                  <a:pt x="1253760" y="1934585"/>
                </a:cubicBezTo>
                <a:cubicBezTo>
                  <a:pt x="1248000" y="1966265"/>
                  <a:pt x="1239200" y="2013945"/>
                  <a:pt x="1207840" y="2072825"/>
                </a:cubicBezTo>
                <a:cubicBezTo>
                  <a:pt x="1160160" y="2162585"/>
                  <a:pt x="1210240" y="2296025"/>
                  <a:pt x="1260960" y="2414105"/>
                </a:cubicBezTo>
                <a:cubicBezTo>
                  <a:pt x="1279040" y="2456185"/>
                  <a:pt x="1278880" y="2499225"/>
                  <a:pt x="1260320" y="2542265"/>
                </a:cubicBezTo>
                <a:cubicBezTo>
                  <a:pt x="1231680" y="2608665"/>
                  <a:pt x="1161600" y="2667385"/>
                  <a:pt x="1072800" y="2699385"/>
                </a:cubicBezTo>
                <a:cubicBezTo>
                  <a:pt x="965120" y="2738105"/>
                  <a:pt x="883200" y="2801305"/>
                  <a:pt x="828960" y="2843065"/>
                </a:cubicBezTo>
                <a:cubicBezTo>
                  <a:pt x="812320" y="2855865"/>
                  <a:pt x="798080" y="2866905"/>
                  <a:pt x="786400" y="2874585"/>
                </a:cubicBezTo>
                <a:cubicBezTo>
                  <a:pt x="766880" y="2887545"/>
                  <a:pt x="742880" y="2913305"/>
                  <a:pt x="715200" y="2942905"/>
                </a:cubicBezTo>
                <a:cubicBezTo>
                  <a:pt x="670720" y="2990585"/>
                  <a:pt x="615520" y="3049785"/>
                  <a:pt x="559360" y="3074585"/>
                </a:cubicBezTo>
                <a:cubicBezTo>
                  <a:pt x="467840" y="3114905"/>
                  <a:pt x="348640" y="3196185"/>
                  <a:pt x="347520" y="3196985"/>
                </a:cubicBezTo>
                <a:cubicBezTo>
                  <a:pt x="343840" y="3199545"/>
                  <a:pt x="342880" y="3204505"/>
                  <a:pt x="345440" y="3208185"/>
                </a:cubicBezTo>
                <a:cubicBezTo>
                  <a:pt x="347840" y="3211705"/>
                  <a:pt x="352800" y="3212665"/>
                  <a:pt x="356480" y="321026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9538D8-903B-474F-805E-201A32D6082E}"/>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F2BAE9B0-192B-424C-A65C-C5C0521A01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839BF4D3-B92C-405E-BB8C-7AAD5419E054}"/>
              </a:ext>
            </a:extLst>
          </p:cNvPr>
          <p:cNvSpPr>
            <a:spLocks noGrp="1"/>
          </p:cNvSpPr>
          <p:nvPr>
            <p:ph type="dt" sz="half" idx="10"/>
          </p:nvPr>
        </p:nvSpPr>
        <p:spPr/>
        <p:txBody>
          <a:bodyPr/>
          <a:lstStyle/>
          <a:p>
            <a:fld id="{F7229FAC-8232-4795-BD9C-B19C6CFC23BA}" type="datetimeFigureOut">
              <a:rPr lang="zh-CN" altLang="en-US" smtClean="0"/>
              <a:t>2021/4/6</a:t>
            </a:fld>
            <a:endParaRPr lang="zh-CN" altLang="en-US"/>
          </a:p>
        </p:txBody>
      </p:sp>
      <p:sp>
        <p:nvSpPr>
          <p:cNvPr id="5" name="页脚占位符 4">
            <a:extLst>
              <a:ext uri="{FF2B5EF4-FFF2-40B4-BE49-F238E27FC236}">
                <a16:creationId xmlns:a16="http://schemas.microsoft.com/office/drawing/2014/main" id="{025EF2C0-6428-4866-8698-A936F33178F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29517C4-A976-47C8-810A-76D3D22E359C}"/>
              </a:ext>
            </a:extLst>
          </p:cNvPr>
          <p:cNvSpPr>
            <a:spLocks noGrp="1"/>
          </p:cNvSpPr>
          <p:nvPr>
            <p:ph type="sldNum" sz="quarter" idx="12"/>
          </p:nvPr>
        </p:nvSpPr>
        <p:spPr/>
        <p:txBody>
          <a:bodyPr/>
          <a:lstStyle/>
          <a:p>
            <a:fld id="{C179A8D5-FD42-4AEF-993D-1338B8965A78}" type="slidenum">
              <a:rPr lang="zh-CN" altLang="en-US" smtClean="0"/>
              <a:t>‹#›</a:t>
            </a:fld>
            <a:endParaRPr lang="zh-CN" altLang="en-US"/>
          </a:p>
        </p:txBody>
      </p:sp>
    </p:spTree>
    <p:extLst>
      <p:ext uri="{BB962C8B-B14F-4D97-AF65-F5344CB8AC3E}">
        <p14:creationId xmlns:p14="http://schemas.microsoft.com/office/powerpoint/2010/main" val="2478782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4" userDrawn="1">
          <p15:clr>
            <a:srgbClr val="F26B43"/>
          </p15:clr>
        </p15:guide>
        <p15:guide id="2" pos="7224" userDrawn="1">
          <p15:clr>
            <a:srgbClr val="F26B43"/>
          </p15:clr>
        </p15:guide>
        <p15:guide id="3" orient="horz" pos="456" userDrawn="1">
          <p15:clr>
            <a:srgbClr val="F26B43"/>
          </p15:clr>
        </p15:guide>
        <p15:guide id="4" orient="horz" pos="564" userDrawn="1">
          <p15:clr>
            <a:srgbClr val="F26B43"/>
          </p15:clr>
        </p15:guide>
        <p15:guide id="5" orient="horz" pos="3774"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4.xml"/><Relationship Id="rId1" Type="http://schemas.openxmlformats.org/officeDocument/2006/relationships/themeOverride" Target="../theme/themeOverr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hemeOverride" Target="../theme/themeOverr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4.xml"/><Relationship Id="rId1" Type="http://schemas.openxmlformats.org/officeDocument/2006/relationships/themeOverride" Target="../theme/themeOverride11.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hemeOverride" Target="../theme/themeOverride1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hemeOverride" Target="../theme/themeOverride14.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hemeOverride" Target="../theme/themeOverr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hemeOverride" Target="../theme/themeOverride17.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themeOverride" Target="../theme/themeOverride18.xml"/><Relationship Id="rId4" Type="http://schemas.openxmlformats.org/officeDocument/2006/relationships/image" Target="../media/image24.emf"/></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4.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hemeOverride" Target="../theme/themeOverride5.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4.xml"/><Relationship Id="rId1" Type="http://schemas.openxmlformats.org/officeDocument/2006/relationships/themeOverride" Target="../theme/themeOverride6.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themeOverride" Target="../theme/themeOverride7.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5AF24602-030D-4483-A040-777528E17A42}"/>
              </a:ext>
            </a:extLst>
          </p:cNvPr>
          <p:cNvSpPr>
            <a:spLocks noGrp="1"/>
          </p:cNvSpPr>
          <p:nvPr>
            <p:ph type="body" sz="quarter" idx="10"/>
          </p:nvPr>
        </p:nvSpPr>
        <p:spPr>
          <a:xfrm>
            <a:off x="4103370" y="2044064"/>
            <a:ext cx="7438597" cy="1474043"/>
          </a:xfrm>
        </p:spPr>
        <p:txBody>
          <a:bodyPr/>
          <a:lstStyle/>
          <a:p>
            <a:r>
              <a:rPr lang="zh-CN" altLang="en-US" sz="4400" b="1" dirty="0"/>
              <a:t>轻小说</a:t>
            </a:r>
            <a:r>
              <a:rPr lang="ja-JP" altLang="en-US" sz="4400" b="1" dirty="0"/>
              <a:t>の</a:t>
            </a:r>
            <a:endParaRPr lang="en-US" altLang="zh-CN" sz="4400" b="1" dirty="0"/>
          </a:p>
          <a:p>
            <a:r>
              <a:rPr lang="zh-CN" altLang="en-US" sz="4400" b="1" dirty="0"/>
              <a:t>发展历程与特征分析</a:t>
            </a:r>
            <a:endParaRPr lang="zh-CN" altLang="en-US" sz="5400" b="1" dirty="0"/>
          </a:p>
        </p:txBody>
      </p:sp>
      <p:sp>
        <p:nvSpPr>
          <p:cNvPr id="3" name="文本占位符 2">
            <a:extLst>
              <a:ext uri="{FF2B5EF4-FFF2-40B4-BE49-F238E27FC236}">
                <a16:creationId xmlns:a16="http://schemas.microsoft.com/office/drawing/2014/main" id="{C23168E9-F6CE-4983-BC66-C227542A3565}"/>
              </a:ext>
            </a:extLst>
          </p:cNvPr>
          <p:cNvSpPr>
            <a:spLocks noGrp="1"/>
          </p:cNvSpPr>
          <p:nvPr>
            <p:ph type="body" sz="quarter" idx="11"/>
          </p:nvPr>
        </p:nvSpPr>
        <p:spPr>
          <a:xfrm>
            <a:off x="4040618" y="3518107"/>
            <a:ext cx="7438597" cy="425243"/>
          </a:xfrm>
        </p:spPr>
        <p:txBody>
          <a:bodyPr/>
          <a:lstStyle/>
          <a:p>
            <a:r>
              <a:rPr lang="zh-CN" altLang="en-US" dirty="0">
                <a:solidFill>
                  <a:schemeClr val="tx1">
                    <a:alpha val="60000"/>
                  </a:schemeClr>
                </a:solidFill>
              </a:rPr>
              <a:t>日本轻小说模式的演变及特征</a:t>
            </a:r>
          </a:p>
        </p:txBody>
      </p:sp>
      <p:sp>
        <p:nvSpPr>
          <p:cNvPr id="5" name="文本占位符 4">
            <a:extLst>
              <a:ext uri="{FF2B5EF4-FFF2-40B4-BE49-F238E27FC236}">
                <a16:creationId xmlns:a16="http://schemas.microsoft.com/office/drawing/2014/main" id="{9E3B83EF-C882-4ECD-B843-D12C057D1985}"/>
              </a:ext>
            </a:extLst>
          </p:cNvPr>
          <p:cNvSpPr>
            <a:spLocks noGrp="1"/>
          </p:cNvSpPr>
          <p:nvPr>
            <p:ph type="body" sz="quarter" idx="19"/>
          </p:nvPr>
        </p:nvSpPr>
        <p:spPr/>
        <p:txBody>
          <a:bodyPr anchor="b" anchorCtr="0"/>
          <a:lstStyle/>
          <a:p>
            <a:r>
              <a:rPr lang="zh-CN" altLang="en-US" dirty="0">
                <a:solidFill>
                  <a:schemeClr val="tx1">
                    <a:alpha val="60000"/>
                  </a:schemeClr>
                </a:solidFill>
              </a:rPr>
              <a:t>唐晨超</a:t>
            </a:r>
            <a:r>
              <a:rPr lang="en-US" altLang="zh-CN" dirty="0">
                <a:solidFill>
                  <a:schemeClr val="tx1">
                    <a:alpha val="60000"/>
                  </a:schemeClr>
                </a:solidFill>
              </a:rPr>
              <a:t> </a:t>
            </a:r>
            <a:r>
              <a:rPr lang="zh-CN" altLang="en-US" dirty="0">
                <a:solidFill>
                  <a:schemeClr val="tx1">
                    <a:alpha val="60000"/>
                  </a:schemeClr>
                </a:solidFill>
              </a:rPr>
              <a:t>机械工程 </a:t>
            </a:r>
            <a:r>
              <a:rPr lang="en-US" altLang="zh-CN" dirty="0">
                <a:solidFill>
                  <a:schemeClr val="tx1">
                    <a:alpha val="60000"/>
                  </a:schemeClr>
                </a:solidFill>
              </a:rPr>
              <a:t>20-1 </a:t>
            </a:r>
            <a:r>
              <a:rPr lang="zh-CN" altLang="en-US" dirty="0">
                <a:solidFill>
                  <a:schemeClr val="tx1">
                    <a:alpha val="60000"/>
                  </a:schemeClr>
                </a:solidFill>
              </a:rPr>
              <a:t>班</a:t>
            </a:r>
            <a:endParaRPr lang="en-US" altLang="zh-CN" dirty="0">
              <a:solidFill>
                <a:schemeClr val="tx1">
                  <a:alpha val="60000"/>
                </a:schemeClr>
              </a:solidFill>
            </a:endParaRPr>
          </a:p>
        </p:txBody>
      </p:sp>
      <p:sp>
        <p:nvSpPr>
          <p:cNvPr id="6" name="文本框 5">
            <a:extLst>
              <a:ext uri="{FF2B5EF4-FFF2-40B4-BE49-F238E27FC236}">
                <a16:creationId xmlns:a16="http://schemas.microsoft.com/office/drawing/2014/main" id="{C8209ECF-9DA9-4D3D-8146-1FBE63BB8475}"/>
              </a:ext>
            </a:extLst>
          </p:cNvPr>
          <p:cNvSpPr txBox="1"/>
          <p:nvPr/>
        </p:nvSpPr>
        <p:spPr>
          <a:xfrm>
            <a:off x="669925" y="629503"/>
            <a:ext cx="1560042" cy="369332"/>
          </a:xfrm>
          <a:prstGeom prst="rect">
            <a:avLst/>
          </a:prstGeom>
          <a:noFill/>
        </p:spPr>
        <p:txBody>
          <a:bodyPr wrap="none" rtlCol="0">
            <a:spAutoFit/>
          </a:bodyPr>
          <a:lstStyle/>
          <a:p>
            <a:r>
              <a:rPr lang="ja-JP" altLang="en-US" dirty="0">
                <a:solidFill>
                  <a:schemeClr val="tx1">
                    <a:alpha val="60000"/>
                  </a:schemeClr>
                </a:solidFill>
              </a:rPr>
              <a:t>ライトノベル</a:t>
            </a:r>
            <a:endParaRPr lang="zh-CN" altLang="en-US" dirty="0">
              <a:solidFill>
                <a:schemeClr val="tx1">
                  <a:alpha val="60000"/>
                </a:schemeClr>
              </a:solidFill>
            </a:endParaRPr>
          </a:p>
        </p:txBody>
      </p:sp>
    </p:spTree>
    <p:extLst>
      <p:ext uri="{BB962C8B-B14F-4D97-AF65-F5344CB8AC3E}">
        <p14:creationId xmlns:p14="http://schemas.microsoft.com/office/powerpoint/2010/main" val="4188713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sym typeface="+mn-lt"/>
              </a:rPr>
              <a:t>强调故事性与情节</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轻小说的创作特征</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5" name="矩形 4">
            <a:extLst>
              <a:ext uri="{FF2B5EF4-FFF2-40B4-BE49-F238E27FC236}">
                <a16:creationId xmlns:a16="http://schemas.microsoft.com/office/drawing/2014/main" id="{675EF23B-4C26-44A4-B5DB-31DDCB50285F}"/>
              </a:ext>
            </a:extLst>
          </p:cNvPr>
          <p:cNvSpPr/>
          <p:nvPr/>
        </p:nvSpPr>
        <p:spPr>
          <a:xfrm>
            <a:off x="1007476" y="1174656"/>
            <a:ext cx="6800783" cy="4690387"/>
          </a:xfrm>
          <a:prstGeom prst="rect">
            <a:avLst/>
          </a:prstGeom>
          <a:noFill/>
        </p:spPr>
        <p:txBody>
          <a:bodyPr wrap="square" rtlCol="0">
            <a:spAutoFit/>
          </a:bodyPr>
          <a:lstStyle/>
          <a:p>
            <a:pPr>
              <a:lnSpc>
                <a:spcPct val="150000"/>
              </a:lnSpc>
              <a:spcBef>
                <a:spcPts val="600"/>
              </a:spcBef>
            </a:pPr>
            <a:r>
              <a:rPr lang="en-US" altLang="ja-JP" dirty="0"/>
              <a:t>        </a:t>
            </a:r>
            <a:r>
              <a:rPr lang="zh-CN" altLang="en-US" dirty="0"/>
              <a:t>在创作轻小说时，创作者们一般不那么看重发掘作品的深层意蕴，而是将故事性和可读性作为关注的重点，创作者们希望他们的故事能够更加有趣，吸引更多读者。在情节的设计上，他们希望能够达到让读者难以预料故事走向的目标，于是抛出大量伏笔、悬念、具有误导性的线索以及让人意想不到的转折，引领读者收获独特的阅读体验。一卷轻小说的末尾总是“戛然而止”，它可能切断了一个令人提心吊胆的战斗场面，可能切断了一场终于能够互诉衷肠的告白，也可能使某个重要角色变得未知生死，如</a:t>
            </a:r>
            <a:r>
              <a:rPr lang="en-US" altLang="zh-CN" dirty="0"/>
              <a:t>《Re</a:t>
            </a:r>
            <a:r>
              <a:rPr lang="zh-CN" altLang="en-US" dirty="0"/>
              <a:t>：从零开始的异世界生活</a:t>
            </a:r>
            <a:r>
              <a:rPr lang="en-US" altLang="zh-CN" dirty="0"/>
              <a:t>》</a:t>
            </a:r>
            <a:r>
              <a:rPr lang="zh-CN" altLang="en-US" dirty="0"/>
              <a:t>（长月达平著）中蕾姆昏迷不醒，所有人都遗忘了她的存在，只有菜月昴决心拯救她。把握故事节奏，可以说是轻小说创作者重要技能之一。</a:t>
            </a:r>
          </a:p>
        </p:txBody>
      </p:sp>
      <p:pic>
        <p:nvPicPr>
          <p:cNvPr id="13314" name="Picture 2">
            <a:extLst>
              <a:ext uri="{FF2B5EF4-FFF2-40B4-BE49-F238E27FC236}">
                <a16:creationId xmlns:a16="http://schemas.microsoft.com/office/drawing/2014/main" id="{25FF2EDB-8DD8-4087-8E8B-8750B9DD97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9577" y="1344706"/>
            <a:ext cx="3068794" cy="432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759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sym typeface="+mn-lt"/>
              </a:rPr>
              <a:t>角色形象中心制</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轻小说的创作特征</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5" name="矩形 4">
            <a:extLst>
              <a:ext uri="{FF2B5EF4-FFF2-40B4-BE49-F238E27FC236}">
                <a16:creationId xmlns:a16="http://schemas.microsoft.com/office/drawing/2014/main" id="{675EF23B-4C26-44A4-B5DB-31DDCB50285F}"/>
              </a:ext>
            </a:extLst>
          </p:cNvPr>
          <p:cNvSpPr/>
          <p:nvPr/>
        </p:nvSpPr>
        <p:spPr>
          <a:xfrm>
            <a:off x="1007476" y="1201551"/>
            <a:ext cx="6800783" cy="4351832"/>
          </a:xfrm>
          <a:prstGeom prst="rect">
            <a:avLst/>
          </a:prstGeom>
          <a:noFill/>
        </p:spPr>
        <p:txBody>
          <a:bodyPr wrap="square" rtlCol="0">
            <a:spAutoFit/>
          </a:bodyPr>
          <a:lstStyle/>
          <a:p>
            <a:pPr>
              <a:lnSpc>
                <a:spcPct val="150000"/>
              </a:lnSpc>
              <a:spcBef>
                <a:spcPts val="600"/>
              </a:spcBef>
            </a:pPr>
            <a:r>
              <a:rPr lang="zh-CN" altLang="en-US" dirty="0"/>
              <a:t>       轻小说中更为常见的是使用第一人称叙述，最主要的角色是 “我” 和 “你”。 男主角 （我） 与女主角 （你） 为中心的关系 （我和你）。全知全能的视角则比较少见。这样在读者能够拥有代入感的同时，第一人称的信息不对称性也可以为剧情留下悬念，从而使读者更好地全身心投入故事情节当中，收获沉浸式的体验。不同人物的第一视角切换叙述的方式也时常出现，多见于推理题材的轻小说中，读者能够收集到更多线索，逐步接近真相，从而增添了趣味性。</a:t>
            </a:r>
            <a:endParaRPr lang="en-US" altLang="zh-CN" dirty="0"/>
          </a:p>
          <a:p>
            <a:pPr>
              <a:lnSpc>
                <a:spcPct val="150000"/>
              </a:lnSpc>
              <a:spcBef>
                <a:spcPts val="600"/>
              </a:spcBef>
            </a:pPr>
            <a:r>
              <a:rPr lang="en-US" altLang="zh-CN" dirty="0"/>
              <a:t>       </a:t>
            </a:r>
            <a:r>
              <a:rPr lang="zh-CN" altLang="en-US" dirty="0"/>
              <a:t>如</a:t>
            </a:r>
            <a:r>
              <a:rPr lang="en-US" altLang="zh-CN" dirty="0"/>
              <a:t>《</a:t>
            </a:r>
            <a:r>
              <a:rPr lang="zh-CN" altLang="en-US" dirty="0"/>
              <a:t>冰菓</a:t>
            </a:r>
            <a:r>
              <a:rPr lang="en-US" altLang="zh-CN" dirty="0"/>
              <a:t>》</a:t>
            </a:r>
            <a:r>
              <a:rPr lang="zh-CN" altLang="en-US" dirty="0"/>
              <a:t>（米泽穗信著）中，由千反田爱瑠“我很好奇”这一口头禅开启新故事，由折木奉太郎搜集线索并进行推理。</a:t>
            </a:r>
          </a:p>
        </p:txBody>
      </p:sp>
      <p:pic>
        <p:nvPicPr>
          <p:cNvPr id="1026" name="Picture 2">
            <a:extLst>
              <a:ext uri="{FF2B5EF4-FFF2-40B4-BE49-F238E27FC236}">
                <a16:creationId xmlns:a16="http://schemas.microsoft.com/office/drawing/2014/main" id="{5C945046-65CC-4881-8308-F70668DDA5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5280" y="1330044"/>
            <a:ext cx="2883694" cy="4094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11701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sym typeface="+mn-lt"/>
              </a:rPr>
              <a:t>全面视觉化</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轻小说的创作特征</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5" name="矩形 4">
            <a:extLst>
              <a:ext uri="{FF2B5EF4-FFF2-40B4-BE49-F238E27FC236}">
                <a16:creationId xmlns:a16="http://schemas.microsoft.com/office/drawing/2014/main" id="{675EF23B-4C26-44A4-B5DB-31DDCB50285F}"/>
              </a:ext>
            </a:extLst>
          </p:cNvPr>
          <p:cNvSpPr/>
          <p:nvPr/>
        </p:nvSpPr>
        <p:spPr>
          <a:xfrm>
            <a:off x="1007476" y="1344981"/>
            <a:ext cx="6800783" cy="4274888"/>
          </a:xfrm>
          <a:prstGeom prst="rect">
            <a:avLst/>
          </a:prstGeom>
          <a:noFill/>
        </p:spPr>
        <p:txBody>
          <a:bodyPr wrap="square" rtlCol="0">
            <a:spAutoFit/>
          </a:bodyPr>
          <a:lstStyle/>
          <a:p>
            <a:pPr>
              <a:lnSpc>
                <a:spcPct val="150000"/>
              </a:lnSpc>
              <a:spcBef>
                <a:spcPts val="600"/>
              </a:spcBef>
            </a:pPr>
            <a:r>
              <a:rPr lang="zh-CN" altLang="en-US" dirty="0"/>
              <a:t>       为了达到轻松阅读的目的， 轻小说写作上强调构图和画面感， 力求使读者 “望文生图”， 大幅的插画和配图是轻小说的标配。 有戏谑的说法称轻小说为 “买插画送厕纸”， 甚至出现专门为轻小说作插图的画师。其核心思路归结为两点： 依靠封面彩图进行主要角色的偶像化； 通过黑白插页实现关键戏剧场景的视觉化。</a:t>
            </a:r>
            <a:endParaRPr lang="en-US" altLang="zh-CN" dirty="0"/>
          </a:p>
          <a:p>
            <a:pPr>
              <a:lnSpc>
                <a:spcPct val="150000"/>
              </a:lnSpc>
              <a:spcBef>
                <a:spcPts val="600"/>
              </a:spcBef>
            </a:pPr>
            <a:r>
              <a:rPr lang="zh-CN" altLang="en-US" dirty="0"/>
              <a:t>       在轻小说标题的制作上， 编辑和作者为了突出与其他作品的差异， 会采用各种策略。 如在标题长度上做文章。 比较典型的， 一本有着超长名字的轻小说 </a:t>
            </a:r>
            <a:r>
              <a:rPr lang="en-US" altLang="zh-CN" dirty="0"/>
              <a:t>《</a:t>
            </a:r>
            <a:r>
              <a:rPr lang="zh-CN" altLang="en-US" dirty="0"/>
              <a:t>普通攻击是全体攻击而且能二次攻击的老妈你喜欢吗？</a:t>
            </a:r>
            <a:r>
              <a:rPr lang="en-US" altLang="zh-CN" dirty="0"/>
              <a:t>》</a:t>
            </a:r>
            <a:r>
              <a:rPr lang="zh-CN" altLang="en-US" dirty="0"/>
              <a:t>靠标题长度吸引市场注意力， 在两周时间， 作品销量过万， 带来火爆的人气。</a:t>
            </a:r>
          </a:p>
        </p:txBody>
      </p:sp>
      <p:pic>
        <p:nvPicPr>
          <p:cNvPr id="15362" name="Picture 2">
            <a:extLst>
              <a:ext uri="{FF2B5EF4-FFF2-40B4-BE49-F238E27FC236}">
                <a16:creationId xmlns:a16="http://schemas.microsoft.com/office/drawing/2014/main" id="{CF38D4FE-4D12-4FFE-B6BB-6C6C2F857D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1482" y="1321144"/>
            <a:ext cx="3071465" cy="4361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98508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2728594" y="2564921"/>
            <a:ext cx="5419185" cy="1015623"/>
          </a:xfrm>
        </p:spPr>
        <p:txBody>
          <a:bodyPr>
            <a:normAutofit/>
          </a:bodyPr>
          <a:lstStyle/>
          <a:p>
            <a:pPr lvl="0" algn="r"/>
            <a:r>
              <a:rPr lang="zh-CN" altLang="en-US" sz="1800" dirty="0">
                <a:solidFill>
                  <a:schemeClr val="tx1">
                    <a:lumMod val="85000"/>
                    <a:lumOff val="15000"/>
                  </a:schemeClr>
                </a:solidFill>
              </a:rPr>
              <a:t>日本轻小说的产业模式</a:t>
            </a:r>
            <a:endParaRPr lang="en-US" altLang="zh-CN" sz="1800" dirty="0">
              <a:solidFill>
                <a:schemeClr val="tx1">
                  <a:lumMod val="85000"/>
                  <a:lumOff val="15000"/>
                </a:schemeClr>
              </a:solidFill>
            </a:endParaRPr>
          </a:p>
          <a:p>
            <a:pPr lvl="0" algn="r"/>
            <a:r>
              <a:rPr lang="zh-CN" altLang="en-US" dirty="0">
                <a:solidFill>
                  <a:schemeClr val="tx1">
                    <a:lumMod val="85000"/>
                    <a:lumOff val="15000"/>
                  </a:schemeClr>
                </a:solidFill>
              </a:rPr>
              <a:t>轻小说的创作和商业运营已经形成了成熟的产业模式</a:t>
            </a:r>
          </a:p>
        </p:txBody>
      </p:sp>
      <p:sp>
        <p:nvSpPr>
          <p:cNvPr id="9" name="文本框 8">
            <a:extLst>
              <a:ext uri="{FF2B5EF4-FFF2-40B4-BE49-F238E27FC236}">
                <a16:creationId xmlns:a16="http://schemas.microsoft.com/office/drawing/2014/main" id="{04F69230-F3A6-4586-9371-A858F4763E9F}"/>
              </a:ext>
            </a:extLst>
          </p:cNvPr>
          <p:cNvSpPr txBox="1"/>
          <p:nvPr/>
        </p:nvSpPr>
        <p:spPr>
          <a:xfrm>
            <a:off x="8439890" y="232092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100" dirty="0">
                <a:solidFill>
                  <a:schemeClr val="tx1">
                    <a:lumMod val="85000"/>
                    <a:lumOff val="15000"/>
                  </a:schemeClr>
                </a:solidFill>
                <a:latin typeface="Impact" panose="020B0806030902050204" pitchFamily="34" charset="0"/>
                <a:cs typeface="Arial" panose="020B0604020202020204" pitchFamily="34" charset="0"/>
              </a:rPr>
              <a:t> </a:t>
            </a:r>
            <a:r>
              <a:rPr lang="en-US" altLang="zh-CN" spc="100" dirty="0">
                <a:solidFill>
                  <a:schemeClr val="tx1">
                    <a:lumMod val="85000"/>
                    <a:lumOff val="15000"/>
                  </a:schemeClr>
                </a:solidFill>
                <a:latin typeface="Impact" panose="020B0806030902050204" pitchFamily="34" charset="0"/>
                <a:cs typeface="Arial" panose="020B0604020202020204" pitchFamily="34" charset="0"/>
              </a:rPr>
              <a:t>03</a:t>
            </a:r>
            <a:endParaRPr lang="zh-CN" altLang="en-US" spc="100" dirty="0">
              <a:solidFill>
                <a:schemeClr val="tx1">
                  <a:lumMod val="85000"/>
                  <a:lumOff val="15000"/>
                </a:schemeClr>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1640179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sym typeface="+mn-lt"/>
              </a:rPr>
              <a:t>新人奖的海选机制</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日本轻小说的产业模式</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矩形 4">
            <a:extLst>
              <a:ext uri="{FF2B5EF4-FFF2-40B4-BE49-F238E27FC236}">
                <a16:creationId xmlns:a16="http://schemas.microsoft.com/office/drawing/2014/main" id="{675EF23B-4C26-44A4-B5DB-31DDCB50285F}"/>
              </a:ext>
            </a:extLst>
          </p:cNvPr>
          <p:cNvSpPr/>
          <p:nvPr/>
        </p:nvSpPr>
        <p:spPr>
          <a:xfrm>
            <a:off x="1007476" y="1344981"/>
            <a:ext cx="6800783" cy="4274888"/>
          </a:xfrm>
          <a:prstGeom prst="rect">
            <a:avLst/>
          </a:prstGeom>
          <a:noFill/>
        </p:spPr>
        <p:txBody>
          <a:bodyPr wrap="square" rtlCol="0">
            <a:spAutoFit/>
          </a:bodyPr>
          <a:lstStyle/>
          <a:p>
            <a:pPr>
              <a:lnSpc>
                <a:spcPct val="150000"/>
              </a:lnSpc>
              <a:spcBef>
                <a:spcPts val="600"/>
              </a:spcBef>
            </a:pPr>
            <a:r>
              <a:rPr lang="zh-CN" altLang="en-US" dirty="0"/>
              <a:t>       日本每年出版的轻小说有 </a:t>
            </a:r>
            <a:r>
              <a:rPr lang="en-US" altLang="zh-CN" dirty="0"/>
              <a:t>2000 </a:t>
            </a:r>
            <a:r>
              <a:rPr lang="zh-CN" altLang="en-US" dirty="0"/>
              <a:t>余种， 印刷量数百万册， 但最后真正能够热卖的作品并不太多。 为了从海量作品中发现有潜质的轻小说， 日本出版界以文学大奖赛的形式建立了层层选拔的海选机制。</a:t>
            </a:r>
            <a:endParaRPr lang="en-US" altLang="zh-CN" dirty="0"/>
          </a:p>
          <a:p>
            <a:pPr>
              <a:lnSpc>
                <a:spcPct val="150000"/>
              </a:lnSpc>
              <a:spcBef>
                <a:spcPts val="600"/>
              </a:spcBef>
            </a:pPr>
            <a:r>
              <a:rPr lang="zh-CN" altLang="en-US" dirty="0"/>
              <a:t>       在轻小说领域， 电击文库是目前市场占有率最高的文库， 创刊于 </a:t>
            </a:r>
            <a:r>
              <a:rPr lang="en-US" altLang="zh-CN" dirty="0"/>
              <a:t>1993 </a:t>
            </a:r>
            <a:r>
              <a:rPr lang="zh-CN" altLang="en-US" dirty="0"/>
              <a:t>年 </a:t>
            </a:r>
            <a:r>
              <a:rPr lang="en-US" altLang="zh-CN" dirty="0"/>
              <a:t>6 </a:t>
            </a:r>
            <a:r>
              <a:rPr lang="zh-CN" altLang="en-US" dirty="0"/>
              <a:t>月， 每年都会举办电击小说大奖的征稿活动， 主要分为大奖、 金赏、 银 赏， 大奖正赏</a:t>
            </a:r>
            <a:r>
              <a:rPr lang="en-US" altLang="zh-CN" dirty="0"/>
              <a:t>+</a:t>
            </a:r>
            <a:r>
              <a:rPr lang="zh-CN" altLang="en-US" dirty="0"/>
              <a:t>副赏可得 </a:t>
            </a:r>
            <a:r>
              <a:rPr lang="en-US" altLang="zh-CN" dirty="0"/>
              <a:t>100 </a:t>
            </a:r>
            <a:r>
              <a:rPr lang="zh-CN" altLang="en-US" dirty="0"/>
              <a:t>万日元 金赏正赏</a:t>
            </a:r>
            <a:r>
              <a:rPr lang="en-US" altLang="zh-CN" dirty="0"/>
              <a:t>+</a:t>
            </a:r>
            <a:r>
              <a:rPr lang="zh-CN" altLang="en-US" dirty="0"/>
              <a:t>副赏可得 </a:t>
            </a:r>
            <a:r>
              <a:rPr lang="en-US" altLang="zh-CN" dirty="0"/>
              <a:t>50 </a:t>
            </a:r>
            <a:r>
              <a:rPr lang="zh-CN" altLang="en-US" dirty="0"/>
              <a:t>万日元， 银赏正赏</a:t>
            </a:r>
            <a:r>
              <a:rPr lang="en-US" altLang="zh-CN" dirty="0"/>
              <a:t>+</a:t>
            </a:r>
            <a:r>
              <a:rPr lang="zh-CN" altLang="en-US" dirty="0"/>
              <a:t>副赏可得 </a:t>
            </a:r>
            <a:r>
              <a:rPr lang="en-US" altLang="zh-CN" dirty="0"/>
              <a:t>30 </a:t>
            </a:r>
            <a:r>
              <a:rPr lang="zh-CN" altLang="en-US" dirty="0"/>
              <a:t>万日元， 还有名为选考委员奖励赏的特别赏。 获奖的新人作品将会发行单行本， 专业的评论媒体会对新人作品进行专业的书评。</a:t>
            </a:r>
            <a:endParaRPr lang="en-US" altLang="zh-CN" dirty="0"/>
          </a:p>
        </p:txBody>
      </p:sp>
      <p:pic>
        <p:nvPicPr>
          <p:cNvPr id="16386" name="Picture 2">
            <a:extLst>
              <a:ext uri="{FF2B5EF4-FFF2-40B4-BE49-F238E27FC236}">
                <a16:creationId xmlns:a16="http://schemas.microsoft.com/office/drawing/2014/main" id="{A747C0AF-B67F-4C6F-87EC-7F32ADEC90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7736" y="1284787"/>
            <a:ext cx="3024468" cy="4288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68425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sym typeface="+mn-lt"/>
              </a:rPr>
              <a:t>残酷的作家生存曲线</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日本轻小说的产业模式</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矩形 4">
            <a:extLst>
              <a:ext uri="{FF2B5EF4-FFF2-40B4-BE49-F238E27FC236}">
                <a16:creationId xmlns:a16="http://schemas.microsoft.com/office/drawing/2014/main" id="{675EF23B-4C26-44A4-B5DB-31DDCB50285F}"/>
              </a:ext>
            </a:extLst>
          </p:cNvPr>
          <p:cNvSpPr/>
          <p:nvPr/>
        </p:nvSpPr>
        <p:spPr>
          <a:xfrm>
            <a:off x="1007476" y="1344981"/>
            <a:ext cx="6800783" cy="4274888"/>
          </a:xfrm>
          <a:prstGeom prst="rect">
            <a:avLst/>
          </a:prstGeom>
          <a:noFill/>
        </p:spPr>
        <p:txBody>
          <a:bodyPr wrap="square" rtlCol="0">
            <a:spAutoFit/>
          </a:bodyPr>
          <a:lstStyle/>
          <a:p>
            <a:pPr>
              <a:lnSpc>
                <a:spcPct val="150000"/>
              </a:lnSpc>
              <a:spcBef>
                <a:spcPts val="600"/>
              </a:spcBef>
            </a:pPr>
            <a:r>
              <a:rPr lang="zh-CN" altLang="en-US" dirty="0"/>
              <a:t>       从 </a:t>
            </a:r>
            <a:r>
              <a:rPr lang="en-US" altLang="zh-CN" dirty="0"/>
              <a:t>1975 </a:t>
            </a:r>
            <a:r>
              <a:rPr lang="zh-CN" altLang="en-US" dirty="0"/>
              <a:t>年到 </a:t>
            </a:r>
            <a:r>
              <a:rPr lang="en-US" altLang="zh-CN" dirty="0"/>
              <a:t>2015 </a:t>
            </a:r>
            <a:r>
              <a:rPr lang="zh-CN" altLang="en-US" dirty="0"/>
              <a:t>年， 日本共计有 </a:t>
            </a:r>
            <a:r>
              <a:rPr lang="en-US" altLang="zh-CN" dirty="0"/>
              <a:t>4000 </a:t>
            </a:r>
            <a:r>
              <a:rPr lang="zh-CN" altLang="en-US" dirty="0"/>
              <a:t>多位轻小说作家出版作品， 其中， </a:t>
            </a:r>
            <a:r>
              <a:rPr lang="en-US" altLang="zh-CN" dirty="0"/>
              <a:t>22.7%</a:t>
            </a:r>
            <a:r>
              <a:rPr lang="zh-CN" altLang="en-US" dirty="0"/>
              <a:t>的轻小说作者在出完第一本小说后就离开了轻小说的创作。 其余 </a:t>
            </a:r>
            <a:r>
              <a:rPr lang="en-US" altLang="zh-CN" dirty="0"/>
              <a:t>77.3%</a:t>
            </a:r>
            <a:r>
              <a:rPr lang="zh-CN" altLang="en-US" dirty="0"/>
              <a:t>的轻小说作者， 在出道 </a:t>
            </a:r>
            <a:r>
              <a:rPr lang="en-US" altLang="zh-CN" dirty="0"/>
              <a:t>5 </a:t>
            </a:r>
            <a:r>
              <a:rPr lang="zh-CN" altLang="en-US" dirty="0"/>
              <a:t>年后的残留率 为 </a:t>
            </a:r>
            <a:r>
              <a:rPr lang="en-US" altLang="zh-CN" dirty="0"/>
              <a:t>41%</a:t>
            </a:r>
            <a:r>
              <a:rPr lang="zh-CN" altLang="en-US" dirty="0"/>
              <a:t>， 每</a:t>
            </a:r>
            <a:r>
              <a:rPr lang="en-US" altLang="zh-CN" dirty="0"/>
              <a:t>2.5 </a:t>
            </a:r>
            <a:r>
              <a:rPr lang="zh-CN" altLang="en-US" dirty="0"/>
              <a:t>位轻小说作者就有一位能在 </a:t>
            </a:r>
            <a:r>
              <a:rPr lang="en-US" altLang="zh-CN" dirty="0"/>
              <a:t>5 </a:t>
            </a:r>
            <a:r>
              <a:rPr lang="zh-CN" altLang="en-US" dirty="0"/>
              <a:t>年后继续推出自己的轻小说。 而到了出道第 </a:t>
            </a:r>
            <a:r>
              <a:rPr lang="en-US" altLang="zh-CN" dirty="0"/>
              <a:t>10 </a:t>
            </a:r>
            <a:r>
              <a:rPr lang="zh-CN" altLang="en-US" dirty="0"/>
              <a:t>年生存率就剩下 </a:t>
            </a:r>
            <a:r>
              <a:rPr lang="en-US" altLang="zh-CN" dirty="0"/>
              <a:t>26.2%</a:t>
            </a:r>
            <a:r>
              <a:rPr lang="zh-CN" altLang="en-US" dirty="0"/>
              <a:t>。</a:t>
            </a:r>
            <a:endParaRPr lang="en-US" altLang="zh-CN" dirty="0"/>
          </a:p>
          <a:p>
            <a:pPr>
              <a:lnSpc>
                <a:spcPct val="150000"/>
              </a:lnSpc>
              <a:spcBef>
                <a:spcPts val="600"/>
              </a:spcBef>
            </a:pPr>
            <a:r>
              <a:rPr lang="zh-CN" altLang="en-US" dirty="0"/>
              <a:t>       从作家收入来看， 高收入作者只是极少部分。 对于多数的轻小说作者来说， 单纯靠写作轻小说难以维持基本的生活需要。 轻小说作家群体中， 只有不到 </a:t>
            </a:r>
            <a:r>
              <a:rPr lang="en-US" altLang="zh-CN" dirty="0"/>
              <a:t>5%</a:t>
            </a:r>
            <a:r>
              <a:rPr lang="zh-CN" altLang="en-US" dirty="0"/>
              <a:t>的作家年收入能突破 </a:t>
            </a:r>
            <a:r>
              <a:rPr lang="en-US" altLang="zh-CN" dirty="0"/>
              <a:t>1000 </a:t>
            </a:r>
            <a:r>
              <a:rPr lang="zh-CN" altLang="en-US" dirty="0"/>
              <a:t>万日元。 轻小说本身的题材与要求， 随着潮流不断变化， 对于作者来说充满着更大的不确定性。</a:t>
            </a:r>
          </a:p>
        </p:txBody>
      </p:sp>
      <p:pic>
        <p:nvPicPr>
          <p:cNvPr id="7" name="图片 6" descr="图示&#10;&#10;描述已自动生成">
            <a:extLst>
              <a:ext uri="{FF2B5EF4-FFF2-40B4-BE49-F238E27FC236}">
                <a16:creationId xmlns:a16="http://schemas.microsoft.com/office/drawing/2014/main" id="{FBDEDCEE-1E79-4EA7-8E77-8EA1AA59FF0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54" b="2021"/>
          <a:stretch/>
        </p:blipFill>
        <p:spPr>
          <a:xfrm>
            <a:off x="8110933" y="1344981"/>
            <a:ext cx="1490476" cy="4082969"/>
          </a:xfrm>
          <a:prstGeom prst="rect">
            <a:avLst/>
          </a:prstGeom>
        </p:spPr>
      </p:pic>
      <p:pic>
        <p:nvPicPr>
          <p:cNvPr id="9" name="图片 8" descr="卡通人物&#10;&#10;中度可信度描述已自动生成">
            <a:extLst>
              <a:ext uri="{FF2B5EF4-FFF2-40B4-BE49-F238E27FC236}">
                <a16:creationId xmlns:a16="http://schemas.microsoft.com/office/drawing/2014/main" id="{A8D4F2B5-56D5-4185-A4B2-F25908C242E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975" b="1958"/>
          <a:stretch/>
        </p:blipFill>
        <p:spPr>
          <a:xfrm>
            <a:off x="9515684" y="1344981"/>
            <a:ext cx="1525699" cy="4082968"/>
          </a:xfrm>
          <a:prstGeom prst="rect">
            <a:avLst/>
          </a:prstGeom>
        </p:spPr>
      </p:pic>
    </p:spTree>
    <p:extLst>
      <p:ext uri="{BB962C8B-B14F-4D97-AF65-F5344CB8AC3E}">
        <p14:creationId xmlns:p14="http://schemas.microsoft.com/office/powerpoint/2010/main" val="42052420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2728594" y="2564921"/>
            <a:ext cx="5419185" cy="1015623"/>
          </a:xfrm>
        </p:spPr>
        <p:txBody>
          <a:bodyPr>
            <a:normAutofit/>
          </a:bodyPr>
          <a:lstStyle/>
          <a:p>
            <a:pPr lvl="0" algn="r"/>
            <a:r>
              <a:rPr lang="zh-CN" altLang="en-US" sz="1800" dirty="0">
                <a:solidFill>
                  <a:schemeClr val="tx1">
                    <a:lumMod val="85000"/>
                    <a:lumOff val="15000"/>
                  </a:schemeClr>
                </a:solidFill>
              </a:rPr>
              <a:t>结语</a:t>
            </a:r>
            <a:endParaRPr lang="en-US" altLang="zh-CN" sz="1800" dirty="0">
              <a:solidFill>
                <a:schemeClr val="tx1">
                  <a:lumMod val="85000"/>
                  <a:lumOff val="15000"/>
                </a:schemeClr>
              </a:solidFill>
            </a:endParaRPr>
          </a:p>
          <a:p>
            <a:pPr lvl="0" algn="r"/>
            <a:r>
              <a:rPr lang="zh-CN" altLang="en-US" dirty="0">
                <a:solidFill>
                  <a:schemeClr val="tx1">
                    <a:lumMod val="85000"/>
                    <a:lumOff val="15000"/>
                  </a:schemeClr>
                </a:solidFill>
              </a:rPr>
              <a:t>轻小说以其独特的创作特点和阅读体验受到了以青少年为主的读者群体的广泛欢迎</a:t>
            </a:r>
          </a:p>
        </p:txBody>
      </p:sp>
      <p:sp>
        <p:nvSpPr>
          <p:cNvPr id="9" name="文本框 8">
            <a:extLst>
              <a:ext uri="{FF2B5EF4-FFF2-40B4-BE49-F238E27FC236}">
                <a16:creationId xmlns:a16="http://schemas.microsoft.com/office/drawing/2014/main" id="{04F69230-F3A6-4586-9371-A858F4763E9F}"/>
              </a:ext>
            </a:extLst>
          </p:cNvPr>
          <p:cNvSpPr txBox="1"/>
          <p:nvPr/>
        </p:nvSpPr>
        <p:spPr>
          <a:xfrm>
            <a:off x="8439890" y="232092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100" dirty="0">
                <a:solidFill>
                  <a:schemeClr val="tx1">
                    <a:lumMod val="85000"/>
                    <a:lumOff val="15000"/>
                  </a:schemeClr>
                </a:solidFill>
                <a:latin typeface="Impact" panose="020B0806030902050204" pitchFamily="34" charset="0"/>
                <a:cs typeface="Arial" panose="020B0604020202020204" pitchFamily="34" charset="0"/>
              </a:rPr>
              <a:t> </a:t>
            </a:r>
            <a:r>
              <a:rPr lang="en-US" altLang="zh-CN" spc="100" dirty="0">
                <a:solidFill>
                  <a:schemeClr val="tx1">
                    <a:lumMod val="85000"/>
                    <a:lumOff val="15000"/>
                  </a:schemeClr>
                </a:solidFill>
                <a:latin typeface="Impact" panose="020B0806030902050204" pitchFamily="34" charset="0"/>
                <a:cs typeface="Arial" panose="020B0604020202020204" pitchFamily="34" charset="0"/>
              </a:rPr>
              <a:t>04</a:t>
            </a:r>
            <a:endParaRPr lang="zh-CN" altLang="en-US" spc="100" dirty="0">
              <a:solidFill>
                <a:schemeClr val="tx1">
                  <a:lumMod val="85000"/>
                  <a:lumOff val="15000"/>
                </a:schemeClr>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37697591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rPr>
              <a:t>洛莉莉</a:t>
            </a:r>
            <a:r>
              <a:rPr lang="ja-JP" altLang="en-US" dirty="0">
                <a:solidFill>
                  <a:schemeClr val="tx1">
                    <a:lumMod val="85000"/>
                    <a:lumOff val="15000"/>
                  </a:schemeClr>
                </a:solidFill>
              </a:rPr>
              <a:t>の</a:t>
            </a:r>
            <a:r>
              <a:rPr lang="zh-CN" altLang="en-US" dirty="0">
                <a:solidFill>
                  <a:schemeClr val="tx1">
                    <a:lumMod val="85000"/>
                    <a:lumOff val="15000"/>
                  </a:schemeClr>
                </a:solidFill>
              </a:rPr>
              <a:t>总结</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总结</a:t>
            </a:r>
          </a:p>
        </p:txBody>
      </p:sp>
      <p:sp>
        <p:nvSpPr>
          <p:cNvPr id="11" name="矩形 10">
            <a:extLst>
              <a:ext uri="{FF2B5EF4-FFF2-40B4-BE49-F238E27FC236}">
                <a16:creationId xmlns:a16="http://schemas.microsoft.com/office/drawing/2014/main" id="{58BB185E-8DFE-41D9-ADCF-49BD8FD4E98F}"/>
              </a:ext>
            </a:extLst>
          </p:cNvPr>
          <p:cNvSpPr/>
          <p:nvPr/>
        </p:nvSpPr>
        <p:spPr>
          <a:xfrm>
            <a:off x="1007477" y="1476654"/>
            <a:ext cx="6717298" cy="3859390"/>
          </a:xfrm>
          <a:prstGeom prst="rect">
            <a:avLst/>
          </a:prstGeom>
          <a:noFill/>
        </p:spPr>
        <p:txBody>
          <a:bodyPr wrap="square" rtlCol="0">
            <a:spAutoFit/>
          </a:bodyPr>
          <a:lstStyle/>
          <a:p>
            <a:pPr>
              <a:lnSpc>
                <a:spcPct val="150000"/>
              </a:lnSpc>
              <a:spcBef>
                <a:spcPts val="600"/>
              </a:spcBef>
            </a:pPr>
            <a:r>
              <a:rPr lang="zh-CN" altLang="en-US" dirty="0"/>
              <a:t>        轻小说在不断的变化与调整中形成了具有自我创新能力的产业。 近年来， 在整个行业仍在蓬勃发展的同时， 很多问题也显现出来， 比如， 在每年出版的海量作品中， 真正高品质的作品太少。 一部作品成功后， 马上会出现跟风的作品， 从设定、 标题都有同质化， 让读者产生厌烦。 为制造话题， 提高销量，轻小说 “官能化” 越来越明显。</a:t>
            </a:r>
            <a:endParaRPr lang="en-US" altLang="zh-CN" dirty="0"/>
          </a:p>
          <a:p>
            <a:pPr>
              <a:lnSpc>
                <a:spcPct val="150000"/>
              </a:lnSpc>
              <a:spcBef>
                <a:spcPts val="600"/>
              </a:spcBef>
            </a:pPr>
            <a:r>
              <a:rPr lang="en-US" altLang="zh-CN" dirty="0"/>
              <a:t>        </a:t>
            </a:r>
            <a:r>
              <a:rPr lang="zh-CN" altLang="en-US" dirty="0"/>
              <a:t>为追求市场效应， 出版机构甚至忽略情节和文学性， 极端追求角色的中心化。 只要塑造出有卖点的角色， 其他的都可以忽略， 将轻小说的创作演变为流水线的模式。</a:t>
            </a:r>
          </a:p>
        </p:txBody>
      </p:sp>
      <p:pic>
        <p:nvPicPr>
          <p:cNvPr id="5" name="图片 4">
            <a:extLst>
              <a:ext uri="{FF2B5EF4-FFF2-40B4-BE49-F238E27FC236}">
                <a16:creationId xmlns:a16="http://schemas.microsoft.com/office/drawing/2014/main" id="{3441C17E-E329-42B3-ACBC-2ED46920BB0A}"/>
              </a:ext>
            </a:extLst>
          </p:cNvPr>
          <p:cNvPicPr>
            <a:picLocks noChangeAspect="1"/>
          </p:cNvPicPr>
          <p:nvPr/>
        </p:nvPicPr>
        <p:blipFill>
          <a:blip r:embed="rId3"/>
          <a:stretch>
            <a:fillRect/>
          </a:stretch>
        </p:blipFill>
        <p:spPr>
          <a:xfrm>
            <a:off x="8029843" y="1595437"/>
            <a:ext cx="3076258" cy="3667125"/>
          </a:xfrm>
          <a:prstGeom prst="rect">
            <a:avLst/>
          </a:prstGeom>
        </p:spPr>
      </p:pic>
    </p:spTree>
    <p:extLst>
      <p:ext uri="{BB962C8B-B14F-4D97-AF65-F5344CB8AC3E}">
        <p14:creationId xmlns:p14="http://schemas.microsoft.com/office/powerpoint/2010/main" val="40151083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rPr>
              <a:t>洛莉莉</a:t>
            </a:r>
            <a:r>
              <a:rPr lang="ja-JP" altLang="en-US" dirty="0">
                <a:solidFill>
                  <a:schemeClr val="tx1">
                    <a:lumMod val="85000"/>
                    <a:lumOff val="15000"/>
                  </a:schemeClr>
                </a:solidFill>
              </a:rPr>
              <a:t>の</a:t>
            </a:r>
            <a:r>
              <a:rPr lang="zh-CN" altLang="en-US" dirty="0">
                <a:solidFill>
                  <a:schemeClr val="tx1">
                    <a:lumMod val="85000"/>
                    <a:lumOff val="15000"/>
                  </a:schemeClr>
                </a:solidFill>
              </a:rPr>
              <a:t>总结</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总结</a:t>
            </a:r>
          </a:p>
        </p:txBody>
      </p:sp>
      <p:sp>
        <p:nvSpPr>
          <p:cNvPr id="11" name="矩形 10">
            <a:extLst>
              <a:ext uri="{FF2B5EF4-FFF2-40B4-BE49-F238E27FC236}">
                <a16:creationId xmlns:a16="http://schemas.microsoft.com/office/drawing/2014/main" id="{58BB185E-8DFE-41D9-ADCF-49BD8FD4E98F}"/>
              </a:ext>
            </a:extLst>
          </p:cNvPr>
          <p:cNvSpPr/>
          <p:nvPr/>
        </p:nvSpPr>
        <p:spPr>
          <a:xfrm>
            <a:off x="1007477" y="1476654"/>
            <a:ext cx="6717298" cy="4274888"/>
          </a:xfrm>
          <a:prstGeom prst="rect">
            <a:avLst/>
          </a:prstGeom>
          <a:noFill/>
        </p:spPr>
        <p:txBody>
          <a:bodyPr wrap="square" rtlCol="0">
            <a:spAutoFit/>
          </a:bodyPr>
          <a:lstStyle/>
          <a:p>
            <a:pPr>
              <a:lnSpc>
                <a:spcPct val="150000"/>
              </a:lnSpc>
              <a:spcBef>
                <a:spcPts val="600"/>
              </a:spcBef>
            </a:pPr>
            <a:r>
              <a:rPr lang="zh-CN" altLang="en-US" dirty="0"/>
              <a:t>       另外， 轻小说的读者群开始发生变化。 经过几十年的发展， 跟随着轻小说成长起来的青少年已经步入中青年代， 这批 </a:t>
            </a:r>
            <a:r>
              <a:rPr lang="en-US" altLang="zh-CN" dirty="0"/>
              <a:t>30</a:t>
            </a:r>
            <a:r>
              <a:rPr lang="zh-CN" altLang="en-US" dirty="0"/>
              <a:t>～</a:t>
            </a:r>
            <a:r>
              <a:rPr lang="en-US" altLang="zh-CN" dirty="0"/>
              <a:t>40 </a:t>
            </a:r>
            <a:r>
              <a:rPr lang="zh-CN" altLang="en-US" dirty="0"/>
              <a:t>岁的忠实读者是轻小说的重要阅读群体， 与十几岁的读者共同构成了目前轻小说的阅读群。轻小说的成人化如何发展是未来需要摸索的问题。面临着如此多的变化与环境， 也许， 日本轻小说又到了需要变革与转型的时期。</a:t>
            </a:r>
            <a:endParaRPr lang="en-US" altLang="zh-CN" dirty="0"/>
          </a:p>
          <a:p>
            <a:pPr>
              <a:lnSpc>
                <a:spcPct val="150000"/>
              </a:lnSpc>
              <a:spcBef>
                <a:spcPts val="600"/>
              </a:spcBef>
            </a:pPr>
            <a:r>
              <a:rPr lang="zh-CN" altLang="en-US" dirty="0"/>
              <a:t>       但是，轻小说作为一种较新的文学体裁，以其独特的创作特点和阅读体验受到了以青少年为主的读者群体的广泛欢迎。随着商业蓬勃发展，以及轻小说行业与漫画、动画等领域进一步紧密结合，轻小说的发展前景值得期待 </a:t>
            </a:r>
          </a:p>
        </p:txBody>
      </p:sp>
      <p:pic>
        <p:nvPicPr>
          <p:cNvPr id="6146" name="Picture 2">
            <a:extLst>
              <a:ext uri="{FF2B5EF4-FFF2-40B4-BE49-F238E27FC236}">
                <a16:creationId xmlns:a16="http://schemas.microsoft.com/office/drawing/2014/main" id="{8AD36D35-4810-4A8D-8659-F5174FC239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2924" y="1476654"/>
            <a:ext cx="2809875" cy="4141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849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1949451" y="920977"/>
            <a:ext cx="9175749" cy="1983066"/>
          </a:xfrm>
        </p:spPr>
        <p:txBody>
          <a:bodyPr>
            <a:noAutofit/>
          </a:bodyPr>
          <a:lstStyle/>
          <a:p>
            <a:r>
              <a:rPr lang="en-US" altLang="zh-CN" sz="8000" dirty="0"/>
              <a:t>THANKS</a:t>
            </a:r>
            <a:endParaRPr lang="zh-CN" altLang="en-US" sz="1600" dirty="0">
              <a:solidFill>
                <a:schemeClr val="bg1"/>
              </a:solidFill>
            </a:endParaRPr>
          </a:p>
        </p:txBody>
      </p:sp>
      <p:sp>
        <p:nvSpPr>
          <p:cNvPr id="7" name="文本占位符 6"/>
          <p:cNvSpPr>
            <a:spLocks noGrp="1"/>
          </p:cNvSpPr>
          <p:nvPr>
            <p:ph type="body" sz="quarter" idx="18"/>
          </p:nvPr>
        </p:nvSpPr>
        <p:spPr>
          <a:xfrm>
            <a:off x="1949451" y="3536424"/>
            <a:ext cx="9175749" cy="310871"/>
          </a:xfrm>
        </p:spPr>
        <p:txBody>
          <a:bodyPr/>
          <a:lstStyle/>
          <a:p>
            <a:r>
              <a:rPr lang="zh-CN" altLang="en-US" dirty="0">
                <a:solidFill>
                  <a:schemeClr val="bg1">
                    <a:lumMod val="50000"/>
                  </a:schemeClr>
                </a:solidFill>
              </a:rPr>
              <a:t>机械工程 </a:t>
            </a:r>
            <a:r>
              <a:rPr lang="en-US" altLang="zh-CN" dirty="0">
                <a:solidFill>
                  <a:schemeClr val="bg1">
                    <a:lumMod val="50000"/>
                  </a:schemeClr>
                </a:solidFill>
              </a:rPr>
              <a:t>20-1 </a:t>
            </a:r>
            <a:r>
              <a:rPr lang="zh-CN" altLang="en-US" dirty="0">
                <a:solidFill>
                  <a:schemeClr val="bg1">
                    <a:lumMod val="50000"/>
                  </a:schemeClr>
                </a:solidFill>
              </a:rPr>
              <a:t>班</a:t>
            </a:r>
            <a:endParaRPr lang="en-US" altLang="en-US" dirty="0">
              <a:solidFill>
                <a:schemeClr val="bg1">
                  <a:lumMod val="50000"/>
                </a:schemeClr>
              </a:solidFill>
            </a:endParaRPr>
          </a:p>
        </p:txBody>
      </p:sp>
      <p:sp>
        <p:nvSpPr>
          <p:cNvPr id="6" name="文本占位符 5"/>
          <p:cNvSpPr>
            <a:spLocks noGrp="1"/>
          </p:cNvSpPr>
          <p:nvPr>
            <p:ph type="body" sz="quarter" idx="10"/>
          </p:nvPr>
        </p:nvSpPr>
        <p:spPr>
          <a:xfrm>
            <a:off x="1949453" y="3240153"/>
            <a:ext cx="9175749" cy="296271"/>
          </a:xfrm>
        </p:spPr>
        <p:txBody>
          <a:bodyPr/>
          <a:lstStyle/>
          <a:p>
            <a:r>
              <a:rPr lang="zh-CN" altLang="en-US" dirty="0">
                <a:solidFill>
                  <a:schemeClr val="bg1">
                    <a:lumMod val="50000"/>
                  </a:schemeClr>
                </a:solidFill>
              </a:rPr>
              <a:t>唐晨超 </a:t>
            </a:r>
            <a:r>
              <a:rPr lang="en-US" altLang="zh-CN" dirty="0">
                <a:solidFill>
                  <a:schemeClr val="bg1">
                    <a:lumMod val="50000"/>
                  </a:schemeClr>
                </a:solidFill>
              </a:rPr>
              <a:t>2020216649</a:t>
            </a:r>
          </a:p>
        </p:txBody>
      </p:sp>
    </p:spTree>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文本框 17"/>
          <p:cNvSpPr txBox="1"/>
          <p:nvPr/>
        </p:nvSpPr>
        <p:spPr>
          <a:xfrm>
            <a:off x="704850" y="1482072"/>
            <a:ext cx="5852173" cy="338554"/>
          </a:xfrm>
          <a:prstGeom prst="rect">
            <a:avLst/>
          </a:prstGeom>
          <a:noFill/>
        </p:spPr>
        <p:txBody>
          <a:bodyPr wrap="square" rtlCol="0">
            <a:spAutoFit/>
          </a:bodyPr>
          <a:lstStyle/>
          <a:p>
            <a:r>
              <a:rPr lang="zh-CN" altLang="en-US" sz="1600" dirty="0"/>
              <a:t>作者简介 </a:t>
            </a:r>
            <a:r>
              <a:rPr lang="en-US" altLang="zh-CN" sz="1600" dirty="0"/>
              <a:t>About the Author </a:t>
            </a:r>
            <a:endParaRPr lang="zh-CN" altLang="en-US" sz="16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2459476" y="2091236"/>
            <a:ext cx="2161443" cy="754053"/>
          </a:xfrm>
          <a:prstGeom prst="rect">
            <a:avLst/>
          </a:prstGeom>
          <a:noFill/>
        </p:spPr>
        <p:txBody>
          <a:bodyPr wrap="square" rtlCol="0">
            <a:spAutoFit/>
          </a:bodyPr>
          <a:lstStyle>
            <a:defPPr>
              <a:defRPr lang="zh-CN"/>
            </a:defPPr>
            <a:lvl1pPr algn="ctr">
              <a:defRPr sz="800"/>
            </a:lvl1pPr>
          </a:lstStyle>
          <a:p>
            <a:pPr algn="l">
              <a:spcBef>
                <a:spcPts val="600"/>
              </a:spcBef>
            </a:pPr>
            <a:r>
              <a:rPr lang="zh-CN" altLang="en-US" sz="1100" dirty="0"/>
              <a:t>唐晨超</a:t>
            </a:r>
            <a:endParaRPr lang="en-US" altLang="zh-CN" sz="1100" dirty="0"/>
          </a:p>
          <a:p>
            <a:pPr algn="l">
              <a:spcBef>
                <a:spcPts val="600"/>
              </a:spcBef>
            </a:pPr>
            <a:r>
              <a:rPr lang="zh-CN" altLang="en-US" sz="1100" dirty="0"/>
              <a:t>机械工程</a:t>
            </a:r>
            <a:r>
              <a:rPr lang="en-US" altLang="zh-CN" sz="1100" dirty="0"/>
              <a:t>20-1</a:t>
            </a:r>
            <a:r>
              <a:rPr lang="zh-CN" altLang="en-US" sz="1100" dirty="0"/>
              <a:t>班</a:t>
            </a:r>
            <a:endParaRPr lang="en-US" altLang="zh-CN" sz="1100" dirty="0"/>
          </a:p>
          <a:p>
            <a:pPr algn="l">
              <a:spcBef>
                <a:spcPts val="600"/>
              </a:spcBef>
            </a:pPr>
            <a:r>
              <a:rPr lang="en-US" altLang="zh-CN" sz="1100" dirty="0"/>
              <a:t>2020216649</a:t>
            </a:r>
            <a:endParaRPr lang="zh-CN" altLang="en-US" sz="1100" dirty="0"/>
          </a:p>
        </p:txBody>
      </p:sp>
      <p:sp>
        <p:nvSpPr>
          <p:cNvPr id="22" name="文本框 21"/>
          <p:cNvSpPr txBox="1"/>
          <p:nvPr/>
        </p:nvSpPr>
        <p:spPr>
          <a:xfrm>
            <a:off x="2450511" y="2965875"/>
            <a:ext cx="2876627" cy="307777"/>
          </a:xfrm>
          <a:prstGeom prst="rect">
            <a:avLst/>
          </a:prstGeom>
          <a:noFill/>
        </p:spPr>
        <p:txBody>
          <a:bodyPr wrap="square" rtlCol="0">
            <a:spAutoFit/>
          </a:bodyPr>
          <a:lstStyle/>
          <a:p>
            <a:r>
              <a:rPr lang="zh-CN" altLang="en-US" sz="1400" dirty="0">
                <a:latin typeface="华文行楷" panose="02010800040101010101" pitchFamily="2" charset="-122"/>
                <a:ea typeface="华文行楷" panose="02010800040101010101" pitchFamily="2" charset="-122"/>
              </a:rPr>
              <a:t>洛书成姝对、莉香自相随</a:t>
            </a:r>
          </a:p>
        </p:txBody>
      </p:sp>
      <p:sp>
        <p:nvSpPr>
          <p:cNvPr id="25" name="文本框 24"/>
          <p:cNvSpPr txBox="1"/>
          <p:nvPr/>
        </p:nvSpPr>
        <p:spPr>
          <a:xfrm>
            <a:off x="704849" y="3480871"/>
            <a:ext cx="5852173" cy="338554"/>
          </a:xfrm>
          <a:prstGeom prst="rect">
            <a:avLst/>
          </a:prstGeom>
          <a:noFill/>
        </p:spPr>
        <p:txBody>
          <a:bodyPr wrap="square" rtlCol="0">
            <a:spAutoFit/>
          </a:bodyPr>
          <a:lstStyle/>
          <a:p>
            <a:r>
              <a:rPr lang="zh-CN" altLang="en-US" sz="1600" dirty="0"/>
              <a:t>作品简介 </a:t>
            </a:r>
            <a:r>
              <a:rPr lang="en-US" altLang="zh-CN" sz="1600" dirty="0"/>
              <a:t>About the </a:t>
            </a:r>
            <a:r>
              <a:rPr lang="en-US" altLang="zh-CN" sz="1600" dirty="0">
                <a:solidFill>
                  <a:srgbClr val="000000"/>
                </a:solidFill>
                <a:latin typeface="Roboto" panose="02000000000000000000" pitchFamily="2" charset="0"/>
              </a:rPr>
              <a:t>W</a:t>
            </a:r>
            <a:r>
              <a:rPr lang="en-US" altLang="zh-CN" sz="1600" b="0" i="0" dirty="0">
                <a:solidFill>
                  <a:srgbClr val="000000"/>
                </a:solidFill>
                <a:effectLst/>
                <a:latin typeface="Roboto" panose="02000000000000000000" pitchFamily="2" charset="0"/>
              </a:rPr>
              <a:t>orks </a:t>
            </a:r>
            <a:endParaRPr lang="zh-CN" altLang="en-US" sz="1600" dirty="0"/>
          </a:p>
        </p:txBody>
      </p:sp>
      <p:cxnSp>
        <p:nvCxnSpPr>
          <p:cNvPr id="26" name="直接连接符 25"/>
          <p:cNvCxnSpPr/>
          <p:nvPr/>
        </p:nvCxnSpPr>
        <p:spPr>
          <a:xfrm>
            <a:off x="669931" y="3825688"/>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855076" y="4019914"/>
            <a:ext cx="4971983" cy="1916487"/>
          </a:xfrm>
          <a:prstGeom prst="rect">
            <a:avLst/>
          </a:prstGeom>
          <a:noFill/>
        </p:spPr>
        <p:txBody>
          <a:bodyPr wrap="square" rtlCol="0">
            <a:spAutoFit/>
          </a:bodyPr>
          <a:lstStyle/>
          <a:p>
            <a:pPr>
              <a:lnSpc>
                <a:spcPct val="150000"/>
              </a:lnSpc>
              <a:spcBef>
                <a:spcPts val="600"/>
              </a:spcBef>
            </a:pPr>
            <a:r>
              <a:rPr lang="en-US" altLang="zh-CN" sz="1100" dirty="0"/>
              <a:t>       </a:t>
            </a:r>
            <a:r>
              <a:rPr lang="zh-CN" altLang="en-US" sz="1100" dirty="0"/>
              <a:t>在 </a:t>
            </a:r>
            <a:r>
              <a:rPr lang="en-US" altLang="zh-CN" sz="1100" dirty="0"/>
              <a:t>20 </a:t>
            </a:r>
            <a:r>
              <a:rPr lang="zh-CN" altLang="en-US" sz="1100" dirty="0"/>
              <a:t>世纪 </a:t>
            </a:r>
            <a:r>
              <a:rPr lang="en-US" altLang="zh-CN" sz="1100" dirty="0"/>
              <a:t>70 </a:t>
            </a:r>
            <a:r>
              <a:rPr lang="zh-CN" altLang="en-US" sz="1100" dirty="0"/>
              <a:t>年代的日本，一种名为“轻小说”的文学体裁开始出现在人们的视野里，因其能带给读者轻松独特的阅读体验而迅速受到人们的欢迎。轻小说具有极强的商业化和娱乐性特色，为市场所青睐，但轻小说曾经长期无法得到文学界的认可，直至 </a:t>
            </a:r>
            <a:r>
              <a:rPr lang="en-US" altLang="zh-CN" sz="1100" dirty="0"/>
              <a:t>21 </a:t>
            </a:r>
            <a:r>
              <a:rPr lang="zh-CN" altLang="en-US" sz="1100" dirty="0"/>
              <a:t>世纪才得到改善。“轻小说”一词中，“轻”字巧妙地概括出了这种文学体裁最为重要的特点。</a:t>
            </a:r>
            <a:endParaRPr lang="en-US" altLang="zh-CN" sz="1100" dirty="0"/>
          </a:p>
          <a:p>
            <a:pPr>
              <a:lnSpc>
                <a:spcPct val="150000"/>
              </a:lnSpc>
              <a:spcBef>
                <a:spcPts val="600"/>
              </a:spcBef>
            </a:pPr>
            <a:r>
              <a:rPr lang="en-US" altLang="zh-CN" sz="1100" dirty="0"/>
              <a:t>       </a:t>
            </a:r>
            <a:r>
              <a:rPr lang="zh-CN" altLang="en-US" sz="1100" dirty="0"/>
              <a:t>本文从介绍轻小说的起源与发展开始引入话题，试对轻小说创作的特征进行简要分析。</a:t>
            </a:r>
          </a:p>
        </p:txBody>
      </p:sp>
      <p:sp>
        <p:nvSpPr>
          <p:cNvPr id="32" name="文本框 31"/>
          <p:cNvSpPr txBox="1"/>
          <p:nvPr/>
        </p:nvSpPr>
        <p:spPr>
          <a:xfrm>
            <a:off x="6959600" y="1512850"/>
            <a:ext cx="4559300" cy="338554"/>
          </a:xfrm>
          <a:prstGeom prst="rect">
            <a:avLst/>
          </a:prstGeom>
          <a:noFill/>
        </p:spPr>
        <p:txBody>
          <a:bodyPr wrap="square" rtlCol="0">
            <a:spAutoFit/>
          </a:bodyPr>
          <a:lstStyle/>
          <a:p>
            <a:r>
              <a:rPr lang="zh-CN" altLang="en-US" sz="1600" dirty="0"/>
              <a:t>参考 </a:t>
            </a:r>
            <a:r>
              <a:rPr lang="en-US" altLang="zh-CN" sz="1600" dirty="0"/>
              <a:t>References </a:t>
            </a:r>
            <a:endParaRPr lang="zh-CN" altLang="en-US" sz="16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作品简介 </a:t>
            </a:r>
            <a:r>
              <a:rPr lang="en-US" altLang="zh-CN" sz="2800" b="1" dirty="0"/>
              <a:t>PPT introduction </a:t>
            </a:r>
            <a:endParaRPr lang="zh-CN" altLang="en-US" sz="2800" b="1" dirty="0"/>
          </a:p>
        </p:txBody>
      </p:sp>
      <p:sp>
        <p:nvSpPr>
          <p:cNvPr id="51" name="矩形 50">
            <a:extLst>
              <a:ext uri="{FF2B5EF4-FFF2-40B4-BE49-F238E27FC236}">
                <a16:creationId xmlns:a16="http://schemas.microsoft.com/office/drawing/2014/main"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播放时不显示。</a:t>
            </a:r>
            <a:endParaRPr lang="en-US" altLang="zh-CN" sz="800" dirty="0">
              <a:solidFill>
                <a:schemeClr val="bg1"/>
              </a:solidFill>
            </a:endParaRPr>
          </a:p>
          <a:p>
            <a:pPr>
              <a:lnSpc>
                <a:spcPct val="120000"/>
              </a:lnSpc>
            </a:pPr>
            <a:r>
              <a:rPr lang="en-US" altLang="zh-CN" sz="800" dirty="0">
                <a:solidFill>
                  <a:schemeClr val="bg1"/>
                </a:solidFill>
              </a:rPr>
              <a:t>This slide is an instruction. It doesn’t be showed when play the PPT.</a:t>
            </a:r>
          </a:p>
        </p:txBody>
      </p:sp>
      <p:pic>
        <p:nvPicPr>
          <p:cNvPr id="5" name="图片 4" descr="卡通画&#10;&#10;描述已自动生成">
            <a:extLst>
              <a:ext uri="{FF2B5EF4-FFF2-40B4-BE49-F238E27FC236}">
                <a16:creationId xmlns:a16="http://schemas.microsoft.com/office/drawing/2014/main" id="{1B3A55F3-A497-499B-8B6B-A8B9346306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882" y="2059337"/>
            <a:ext cx="1182823" cy="1182823"/>
          </a:xfrm>
          <a:prstGeom prst="rect">
            <a:avLst/>
          </a:prstGeom>
        </p:spPr>
      </p:pic>
      <p:pic>
        <p:nvPicPr>
          <p:cNvPr id="23" name="图片 22">
            <a:extLst>
              <a:ext uri="{FF2B5EF4-FFF2-40B4-BE49-F238E27FC236}">
                <a16:creationId xmlns:a16="http://schemas.microsoft.com/office/drawing/2014/main" id="{FDA294D9-4719-4E6F-8C79-C6D1A90C76CF}"/>
              </a:ext>
            </a:extLst>
          </p:cNvPr>
          <p:cNvPicPr>
            <a:picLocks noChangeAspect="1"/>
          </p:cNvPicPr>
          <p:nvPr/>
        </p:nvPicPr>
        <p:blipFill>
          <a:blip r:embed="rId3"/>
          <a:stretch>
            <a:fillRect/>
          </a:stretch>
        </p:blipFill>
        <p:spPr>
          <a:xfrm>
            <a:off x="7026727" y="2335555"/>
            <a:ext cx="3865391" cy="1484179"/>
          </a:xfrm>
          <a:prstGeom prst="rect">
            <a:avLst/>
          </a:prstGeom>
        </p:spPr>
      </p:pic>
      <p:sp>
        <p:nvSpPr>
          <p:cNvPr id="24" name="文本框 23">
            <a:extLst>
              <a:ext uri="{FF2B5EF4-FFF2-40B4-BE49-F238E27FC236}">
                <a16:creationId xmlns:a16="http://schemas.microsoft.com/office/drawing/2014/main" id="{DB70B886-4966-44C4-9367-06A103CE07D9}"/>
              </a:ext>
            </a:extLst>
          </p:cNvPr>
          <p:cNvSpPr txBox="1"/>
          <p:nvPr/>
        </p:nvSpPr>
        <p:spPr>
          <a:xfrm>
            <a:off x="7003195" y="2016184"/>
            <a:ext cx="3494476" cy="261610"/>
          </a:xfrm>
          <a:prstGeom prst="rect">
            <a:avLst/>
          </a:prstGeom>
          <a:noFill/>
        </p:spPr>
        <p:txBody>
          <a:bodyPr wrap="square" rtlCol="0">
            <a:spAutoFit/>
          </a:bodyPr>
          <a:lstStyle/>
          <a:p>
            <a:r>
              <a:rPr lang="zh-CN" altLang="en-US" sz="1100" dirty="0"/>
              <a:t>萌娘百科：</a:t>
            </a:r>
            <a:r>
              <a:rPr lang="en-US" altLang="zh-CN" sz="1100" dirty="0"/>
              <a:t> https://zh.moegirl.org.cn/Mainpage</a:t>
            </a:r>
            <a:endParaRPr lang="zh-CN" altLang="en-US" sz="1100" dirty="0"/>
          </a:p>
        </p:txBody>
      </p:sp>
      <p:pic>
        <p:nvPicPr>
          <p:cNvPr id="29" name="图片 28">
            <a:extLst>
              <a:ext uri="{FF2B5EF4-FFF2-40B4-BE49-F238E27FC236}">
                <a16:creationId xmlns:a16="http://schemas.microsoft.com/office/drawing/2014/main" id="{3A5B27D9-5703-4D03-B9D9-A67DF3DDD42D}"/>
              </a:ext>
            </a:extLst>
          </p:cNvPr>
          <p:cNvPicPr>
            <a:picLocks noChangeAspect="1"/>
          </p:cNvPicPr>
          <p:nvPr/>
        </p:nvPicPr>
        <p:blipFill>
          <a:blip r:embed="rId4"/>
          <a:stretch>
            <a:fillRect/>
          </a:stretch>
        </p:blipFill>
        <p:spPr>
          <a:xfrm>
            <a:off x="6990866" y="4153324"/>
            <a:ext cx="3865391" cy="1891244"/>
          </a:xfrm>
          <a:prstGeom prst="rect">
            <a:avLst/>
          </a:prstGeom>
        </p:spPr>
      </p:pic>
      <p:sp>
        <p:nvSpPr>
          <p:cNvPr id="45" name="文本框 44">
            <a:extLst>
              <a:ext uri="{FF2B5EF4-FFF2-40B4-BE49-F238E27FC236}">
                <a16:creationId xmlns:a16="http://schemas.microsoft.com/office/drawing/2014/main" id="{342B25C7-697F-44C8-BC45-0B0A6DA64A41}"/>
              </a:ext>
            </a:extLst>
          </p:cNvPr>
          <p:cNvSpPr txBox="1"/>
          <p:nvPr/>
        </p:nvSpPr>
        <p:spPr>
          <a:xfrm>
            <a:off x="7074912" y="3841528"/>
            <a:ext cx="3494476" cy="261610"/>
          </a:xfrm>
          <a:prstGeom prst="rect">
            <a:avLst/>
          </a:prstGeom>
          <a:noFill/>
        </p:spPr>
        <p:txBody>
          <a:bodyPr wrap="square" rtlCol="0">
            <a:spAutoFit/>
          </a:bodyPr>
          <a:lstStyle/>
          <a:p>
            <a:r>
              <a:rPr lang="zh-CN" altLang="en-US" sz="1100" dirty="0"/>
              <a:t>轻之文库：</a:t>
            </a:r>
            <a:r>
              <a:rPr lang="en-US" altLang="zh-CN" sz="1100" dirty="0"/>
              <a:t> https://www.linovel.net/</a:t>
            </a:r>
            <a:endParaRPr lang="zh-CN" altLang="en-US" sz="1100" dirty="0"/>
          </a:p>
        </p:txBody>
      </p:sp>
    </p:spTree>
    <p:extLst>
      <p:ext uri="{BB962C8B-B14F-4D97-AF65-F5344CB8AC3E}">
        <p14:creationId xmlns:p14="http://schemas.microsoft.com/office/powerpoint/2010/main" val="545778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39352" y="147668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CN" altLang="en-US" b="0" dirty="0"/>
                  <a:t>轻小说发展的关键历程</a:t>
                </a:r>
                <a:r>
                  <a:rPr lang="en-US" altLang="zh-CN" b="0" dirty="0">
                    <a:latin typeface="+mn-lt"/>
                    <a:ea typeface="+mn-ea"/>
                    <a:sym typeface="+mn-lt"/>
                  </a:rPr>
                  <a:t>…</a:t>
                </a:r>
              </a:p>
              <a:p>
                <a:pPr lvl="1" indent="0">
                  <a:lnSpc>
                    <a:spcPct val="150000"/>
                  </a:lnSpc>
                </a:pPr>
                <a:r>
                  <a:rPr lang="en-US" altLang="zh-CN" sz="1200" b="0" dirty="0">
                    <a:latin typeface="+mn-lt"/>
                    <a:ea typeface="+mn-ea"/>
                    <a:sym typeface="+mn-lt"/>
                  </a:rPr>
                  <a:t>1.1 </a:t>
                </a:r>
                <a:r>
                  <a:rPr lang="zh-CN" altLang="en-US" sz="1200" b="0" dirty="0"/>
                  <a:t>科技与浪漫时代 （</a:t>
                </a:r>
                <a:r>
                  <a:rPr lang="en-US" altLang="zh-CN" sz="1200" b="0" dirty="0"/>
                  <a:t>20 </a:t>
                </a:r>
                <a:r>
                  <a:rPr lang="zh-CN" altLang="en-US" sz="1200" b="0" dirty="0"/>
                  <a:t>世纪 </a:t>
                </a:r>
                <a:r>
                  <a:rPr lang="en-US" altLang="zh-CN" sz="1200" b="0" dirty="0"/>
                  <a:t>70 </a:t>
                </a:r>
                <a:r>
                  <a:rPr lang="zh-CN" altLang="en-US" sz="1200" b="0" dirty="0"/>
                  <a:t>年代）</a:t>
                </a:r>
                <a:endParaRPr lang="en-US" altLang="zh-CN" sz="1200" b="0" dirty="0"/>
              </a:p>
              <a:p>
                <a:pPr lvl="1" indent="0">
                  <a:lnSpc>
                    <a:spcPct val="150000"/>
                  </a:lnSpc>
                </a:pPr>
                <a:r>
                  <a:rPr lang="en-US" altLang="zh-CN" sz="1200" b="0" dirty="0">
                    <a:latin typeface="+mn-lt"/>
                    <a:ea typeface="+mn-ea"/>
                    <a:sym typeface="+mn-lt"/>
                  </a:rPr>
                  <a:t>1.2 </a:t>
                </a:r>
                <a:r>
                  <a:rPr lang="zh-CN" altLang="en-US" sz="1200" b="0" dirty="0">
                    <a:latin typeface="+mn-lt"/>
                    <a:ea typeface="+mn-ea"/>
                    <a:sym typeface="+mn-lt"/>
                  </a:rPr>
                  <a:t>轻小说的黄金时代 （</a:t>
                </a:r>
                <a:r>
                  <a:rPr lang="en-US" altLang="zh-CN" sz="1200" b="0" dirty="0">
                    <a:latin typeface="+mn-lt"/>
                    <a:ea typeface="+mn-ea"/>
                    <a:sym typeface="+mn-lt"/>
                  </a:rPr>
                  <a:t>20 </a:t>
                </a:r>
                <a:r>
                  <a:rPr lang="zh-CN" altLang="en-US" sz="1200" b="0" dirty="0">
                    <a:latin typeface="+mn-lt"/>
                    <a:ea typeface="+mn-ea"/>
                    <a:sym typeface="+mn-lt"/>
                  </a:rPr>
                  <a:t>世纪 </a:t>
                </a:r>
                <a:r>
                  <a:rPr lang="en-US" altLang="zh-CN" sz="1200" b="0" dirty="0">
                    <a:latin typeface="+mn-lt"/>
                    <a:ea typeface="+mn-ea"/>
                    <a:sym typeface="+mn-lt"/>
                  </a:rPr>
                  <a:t>80 </a:t>
                </a:r>
                <a:r>
                  <a:rPr lang="zh-CN" altLang="en-US" sz="1200" b="0" dirty="0">
                    <a:latin typeface="+mn-lt"/>
                    <a:ea typeface="+mn-ea"/>
                    <a:sym typeface="+mn-lt"/>
                  </a:rPr>
                  <a:t>年代）</a:t>
                </a:r>
                <a:endParaRPr lang="en-US" altLang="zh-CN" sz="1200" b="0" dirty="0">
                  <a:latin typeface="+mn-lt"/>
                  <a:ea typeface="+mn-ea"/>
                  <a:sym typeface="+mn-lt"/>
                </a:endParaRPr>
              </a:p>
              <a:p>
                <a:pPr lvl="1" indent="0">
                  <a:lnSpc>
                    <a:spcPct val="150000"/>
                  </a:lnSpc>
                </a:pPr>
                <a:r>
                  <a:rPr lang="en-US" altLang="zh-CN" sz="1200" b="0" dirty="0">
                    <a:latin typeface="+mn-lt"/>
                    <a:ea typeface="+mn-ea"/>
                    <a:sym typeface="+mn-lt"/>
                  </a:rPr>
                  <a:t>1.3 </a:t>
                </a:r>
                <a:r>
                  <a:rPr lang="zh-CN" altLang="en-US" sz="1200" b="0" dirty="0">
                    <a:latin typeface="+mn-lt"/>
                    <a:ea typeface="+mn-ea"/>
                    <a:sym typeface="+mn-lt"/>
                  </a:rPr>
                  <a:t>转型时期 （</a:t>
                </a:r>
                <a:r>
                  <a:rPr lang="en-US" altLang="zh-CN" sz="1200" b="0" dirty="0">
                    <a:latin typeface="+mn-lt"/>
                    <a:ea typeface="+mn-ea"/>
                    <a:sym typeface="+mn-lt"/>
                  </a:rPr>
                  <a:t>20 </a:t>
                </a:r>
                <a:r>
                  <a:rPr lang="zh-CN" altLang="en-US" sz="1200" b="0" dirty="0">
                    <a:latin typeface="+mn-lt"/>
                    <a:ea typeface="+mn-ea"/>
                    <a:sym typeface="+mn-lt"/>
                  </a:rPr>
                  <a:t>世纪 </a:t>
                </a:r>
                <a:r>
                  <a:rPr lang="en-US" altLang="zh-CN" sz="1200" b="0" dirty="0">
                    <a:latin typeface="+mn-lt"/>
                    <a:ea typeface="+mn-ea"/>
                    <a:sym typeface="+mn-lt"/>
                  </a:rPr>
                  <a:t>90 </a:t>
                </a:r>
                <a:r>
                  <a:rPr lang="zh-CN" altLang="en-US" sz="1200" b="0" dirty="0">
                    <a:latin typeface="+mn-lt"/>
                    <a:ea typeface="+mn-ea"/>
                    <a:sym typeface="+mn-lt"/>
                  </a:rPr>
                  <a:t>年代）</a:t>
                </a:r>
                <a:endParaRPr lang="en-US" altLang="zh-CN" sz="1200" b="0" dirty="0">
                  <a:latin typeface="+mn-lt"/>
                  <a:ea typeface="+mn-ea"/>
                  <a:sym typeface="+mn-lt"/>
                </a:endParaRPr>
              </a:p>
              <a:p>
                <a:pPr lvl="1" indent="0">
                  <a:lnSpc>
                    <a:spcPct val="150000"/>
                  </a:lnSpc>
                </a:pPr>
                <a:r>
                  <a:rPr lang="en-US" altLang="zh-CN" sz="1200" b="0" dirty="0">
                    <a:latin typeface="+mn-lt"/>
                    <a:ea typeface="+mn-ea"/>
                    <a:sym typeface="+mn-lt"/>
                  </a:rPr>
                  <a:t>1.4 </a:t>
                </a:r>
                <a:r>
                  <a:rPr lang="zh-CN" altLang="en-US" sz="1200" b="0" dirty="0">
                    <a:latin typeface="+mn-lt"/>
                    <a:ea typeface="+mn-ea"/>
                    <a:sym typeface="+mn-lt"/>
                  </a:rPr>
                  <a:t>轻小说的跨媒体联动时代 （</a:t>
                </a:r>
                <a:r>
                  <a:rPr lang="en-US" altLang="zh-CN" sz="1200" b="0" dirty="0">
                    <a:latin typeface="+mn-lt"/>
                    <a:ea typeface="+mn-ea"/>
                    <a:sym typeface="+mn-lt"/>
                  </a:rPr>
                  <a:t>21 </a:t>
                </a:r>
                <a:r>
                  <a:rPr lang="zh-CN" altLang="en-US" sz="1200" b="0" dirty="0">
                    <a:latin typeface="+mn-lt"/>
                    <a:ea typeface="+mn-ea"/>
                    <a:sym typeface="+mn-lt"/>
                  </a:rPr>
                  <a:t>世纪初）</a:t>
                </a:r>
                <a:endParaRPr lang="en-US" altLang="zh-CN" sz="1200" b="0" dirty="0">
                  <a:latin typeface="+mn-lt"/>
                  <a:ea typeface="+mn-ea"/>
                  <a:sym typeface="+mn-lt"/>
                </a:endParaRPr>
              </a:p>
              <a:p>
                <a:pPr marL="342900" indent="-342900">
                  <a:lnSpc>
                    <a:spcPct val="150000"/>
                  </a:lnSpc>
                  <a:buFont typeface="+mj-lt"/>
                  <a:buAutoNum type="arabicPeriod"/>
                </a:pPr>
                <a:r>
                  <a:rPr lang="zh-CN" altLang="en-US" b="0" dirty="0"/>
                  <a:t>轻小说的创作特征</a:t>
                </a:r>
                <a:r>
                  <a:rPr lang="en-US" altLang="zh-CN" b="0" dirty="0">
                    <a:sym typeface="+mn-lt"/>
                  </a:rPr>
                  <a:t>…</a:t>
                </a:r>
              </a:p>
              <a:p>
                <a:pPr lvl="1" indent="0">
                  <a:lnSpc>
                    <a:spcPct val="150000"/>
                  </a:lnSpc>
                </a:pPr>
                <a:r>
                  <a:rPr lang="en-US" altLang="zh-CN" sz="1200" b="0" dirty="0">
                    <a:latin typeface="+mn-lt"/>
                    <a:ea typeface="+mn-ea"/>
                    <a:sym typeface="+mn-lt"/>
                  </a:rPr>
                  <a:t>2.1 </a:t>
                </a:r>
                <a:r>
                  <a:rPr lang="zh-CN" altLang="en-US" sz="1200" b="0" dirty="0">
                    <a:latin typeface="+mn-lt"/>
                    <a:ea typeface="+mn-ea"/>
                  </a:rPr>
                  <a:t>强调故事性与情节</a:t>
                </a:r>
                <a:endParaRPr lang="en-US" altLang="zh-CN" sz="1200" b="0" dirty="0">
                  <a:latin typeface="+mn-lt"/>
                  <a:ea typeface="+mn-ea"/>
                </a:endParaRPr>
              </a:p>
              <a:p>
                <a:pPr lvl="1" indent="0">
                  <a:lnSpc>
                    <a:spcPct val="150000"/>
                  </a:lnSpc>
                </a:pPr>
                <a:r>
                  <a:rPr lang="en-US" altLang="zh-CN" sz="1200" b="0" dirty="0">
                    <a:latin typeface="+mn-lt"/>
                    <a:ea typeface="+mn-ea"/>
                  </a:rPr>
                  <a:t>2.2 </a:t>
                </a:r>
                <a:r>
                  <a:rPr lang="zh-CN" altLang="en-US" sz="1200" b="0" dirty="0">
                    <a:latin typeface="+mn-lt"/>
                    <a:ea typeface="+mn-ea"/>
                  </a:rPr>
                  <a:t>角色形象中心制</a:t>
                </a:r>
                <a:endParaRPr lang="en-US" altLang="zh-CN" sz="1200" b="0" dirty="0">
                  <a:latin typeface="+mn-lt"/>
                  <a:ea typeface="+mn-ea"/>
                </a:endParaRPr>
              </a:p>
              <a:p>
                <a:pPr lvl="1" indent="0">
                  <a:lnSpc>
                    <a:spcPct val="150000"/>
                  </a:lnSpc>
                </a:pPr>
                <a:r>
                  <a:rPr lang="en-US" altLang="zh-CN" sz="1200" b="0" dirty="0">
                    <a:latin typeface="+mn-lt"/>
                    <a:ea typeface="+mn-ea"/>
                  </a:rPr>
                  <a:t>2.3 </a:t>
                </a:r>
                <a:r>
                  <a:rPr lang="zh-CN" altLang="en-US" sz="1200" b="0" dirty="0">
                    <a:latin typeface="+mn-lt"/>
                    <a:ea typeface="+mn-ea"/>
                  </a:rPr>
                  <a:t>全面视觉化</a:t>
                </a:r>
                <a:endParaRPr lang="en-US" altLang="zh-CN" sz="1200" b="0" dirty="0">
                  <a:latin typeface="+mn-lt"/>
                  <a:ea typeface="+mn-ea"/>
                </a:endParaRPr>
              </a:p>
              <a:p>
                <a:pPr marL="342900" indent="-342900">
                  <a:lnSpc>
                    <a:spcPct val="150000"/>
                  </a:lnSpc>
                  <a:buFont typeface="+mj-lt"/>
                  <a:buAutoNum type="arabicPeriod"/>
                </a:pPr>
                <a:r>
                  <a:rPr lang="zh-CN" altLang="en-US" b="0"/>
                  <a:t>轻</a:t>
                </a:r>
                <a:r>
                  <a:rPr lang="zh-CN" altLang="en-US" b="0" dirty="0"/>
                  <a:t>小说的产业模式</a:t>
                </a:r>
                <a:r>
                  <a:rPr lang="en-US" altLang="zh-CN" b="0" dirty="0">
                    <a:sym typeface="+mn-lt"/>
                  </a:rPr>
                  <a:t>…</a:t>
                </a:r>
              </a:p>
              <a:p>
                <a:pPr lvl="1" indent="0">
                  <a:lnSpc>
                    <a:spcPct val="150000"/>
                  </a:lnSpc>
                </a:pPr>
                <a:r>
                  <a:rPr lang="en-US" altLang="zh-CN" sz="1200" b="0" dirty="0">
                    <a:latin typeface="+mn-lt"/>
                    <a:ea typeface="+mn-ea"/>
                    <a:sym typeface="+mn-lt"/>
                  </a:rPr>
                  <a:t>3.1 </a:t>
                </a:r>
                <a:r>
                  <a:rPr lang="zh-CN" altLang="en-US" sz="1200" b="0" dirty="0">
                    <a:latin typeface="+mn-lt"/>
                    <a:ea typeface="+mn-ea"/>
                    <a:sym typeface="+mn-lt"/>
                  </a:rPr>
                  <a:t>新人奖的海选机制</a:t>
                </a:r>
                <a:endParaRPr lang="en-US" altLang="zh-CN" sz="1200" b="0" dirty="0">
                  <a:latin typeface="+mn-lt"/>
                  <a:ea typeface="+mn-ea"/>
                </a:endParaRPr>
              </a:p>
              <a:p>
                <a:pPr lvl="1" indent="0">
                  <a:lnSpc>
                    <a:spcPct val="150000"/>
                  </a:lnSpc>
                </a:pPr>
                <a:r>
                  <a:rPr lang="en-US" altLang="zh-CN" sz="1200" b="0" dirty="0">
                    <a:latin typeface="+mn-lt"/>
                    <a:ea typeface="+mn-ea"/>
                  </a:rPr>
                  <a:t>3.2 </a:t>
                </a:r>
                <a:r>
                  <a:rPr lang="zh-CN" altLang="en-US" sz="1200" b="0" dirty="0">
                    <a:latin typeface="+mn-lt"/>
                    <a:ea typeface="+mn-ea"/>
                  </a:rPr>
                  <a:t>残酷的作家生存曲线</a:t>
                </a:r>
                <a:endParaRPr lang="en-US" altLang="zh-CN" b="0" dirty="0">
                  <a:sym typeface="+mn-lt"/>
                </a:endParaRPr>
              </a:p>
              <a:p>
                <a:pPr marL="342900" indent="-342900">
                  <a:lnSpc>
                    <a:spcPct val="150000"/>
                  </a:lnSpc>
                  <a:buFont typeface="+mj-lt"/>
                  <a:buAutoNum type="arabicPeriod"/>
                </a:pPr>
                <a:r>
                  <a:rPr lang="zh-CN" altLang="en-US" b="0" dirty="0">
                    <a:sym typeface="+mn-lt"/>
                  </a:rPr>
                  <a:t>结语</a:t>
                </a:r>
                <a:r>
                  <a:rPr lang="en-US" altLang="zh-CN" b="0" dirty="0">
                    <a:sym typeface="+mn-lt"/>
                  </a:rPr>
                  <a:t>…</a:t>
                </a: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4"/>
                    </a:solidFill>
                    <a:cs typeface="+mn-ea"/>
                    <a:sym typeface="+mn-lt"/>
                  </a:rPr>
                  <a:t>CO</a:t>
                </a:r>
                <a:r>
                  <a:rPr lang="tr-TR" sz="100" b="1" dirty="0">
                    <a:solidFill>
                      <a:schemeClr val="accent4"/>
                    </a:solidFill>
                    <a:cs typeface="+mn-ea"/>
                    <a:sym typeface="+mn-lt"/>
                  </a:rPr>
                  <a:t> </a:t>
                </a:r>
                <a:r>
                  <a:rPr lang="tr-TR" sz="2800" b="1" dirty="0">
                    <a:solidFill>
                      <a:schemeClr val="accent4"/>
                    </a:solidFill>
                    <a:cs typeface="+mn-ea"/>
                    <a:sym typeface="+mn-lt"/>
                  </a:rPr>
                  <a:t>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2728594" y="2564921"/>
            <a:ext cx="5419185" cy="1015623"/>
          </a:xfrm>
        </p:spPr>
        <p:txBody>
          <a:bodyPr>
            <a:normAutofit/>
          </a:bodyPr>
          <a:lstStyle/>
          <a:p>
            <a:pPr lvl="0" algn="r"/>
            <a:r>
              <a:rPr lang="zh-CN" altLang="en-US" sz="1800" dirty="0">
                <a:solidFill>
                  <a:schemeClr val="tx1">
                    <a:lumMod val="85000"/>
                    <a:lumOff val="15000"/>
                  </a:schemeClr>
                </a:solidFill>
              </a:rPr>
              <a:t>轻小说发展的关键历程</a:t>
            </a:r>
            <a:endParaRPr lang="en-US" altLang="zh-CN" sz="1800" dirty="0">
              <a:solidFill>
                <a:schemeClr val="tx1">
                  <a:lumMod val="85000"/>
                  <a:lumOff val="15000"/>
                </a:schemeClr>
              </a:solidFill>
            </a:endParaRPr>
          </a:p>
          <a:p>
            <a:pPr lvl="0" algn="r"/>
            <a:r>
              <a:rPr lang="zh-CN" altLang="en-US" dirty="0">
                <a:solidFill>
                  <a:schemeClr val="tx1">
                    <a:lumMod val="85000"/>
                    <a:lumOff val="15000"/>
                  </a:schemeClr>
                </a:solidFill>
              </a:rPr>
              <a:t>轻小说定义随着历史变化，几乎每十年都会有大的调整， 直至今天的形态</a:t>
            </a:r>
          </a:p>
        </p:txBody>
      </p:sp>
      <p:sp>
        <p:nvSpPr>
          <p:cNvPr id="9" name="文本框 8">
            <a:extLst>
              <a:ext uri="{FF2B5EF4-FFF2-40B4-BE49-F238E27FC236}">
                <a16:creationId xmlns:a16="http://schemas.microsoft.com/office/drawing/2014/main" id="{04F69230-F3A6-4586-9371-A858F4763E9F}"/>
              </a:ext>
            </a:extLst>
          </p:cNvPr>
          <p:cNvSpPr txBox="1"/>
          <p:nvPr/>
        </p:nvSpPr>
        <p:spPr>
          <a:xfrm>
            <a:off x="8439890" y="232092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100" dirty="0">
                <a:solidFill>
                  <a:schemeClr val="tx1">
                    <a:lumMod val="85000"/>
                    <a:lumOff val="15000"/>
                  </a:schemeClr>
                </a:solidFill>
                <a:latin typeface="Impact" panose="020B0806030902050204" pitchFamily="34" charset="0"/>
                <a:cs typeface="Arial" panose="020B0604020202020204" pitchFamily="34" charset="0"/>
              </a:rPr>
              <a:t> </a:t>
            </a:r>
            <a:r>
              <a:rPr lang="en-US" altLang="zh-CN" spc="100" dirty="0">
                <a:solidFill>
                  <a:schemeClr val="tx1">
                    <a:lumMod val="85000"/>
                    <a:lumOff val="15000"/>
                  </a:schemeClr>
                </a:solidFill>
                <a:latin typeface="Impact" panose="020B0806030902050204" pitchFamily="34" charset="0"/>
                <a:cs typeface="Arial" panose="020B0604020202020204" pitchFamily="34" charset="0"/>
              </a:rPr>
              <a:t>01</a:t>
            </a:r>
            <a:endParaRPr lang="zh-CN" altLang="en-US" spc="100" dirty="0">
              <a:solidFill>
                <a:schemeClr val="tx1">
                  <a:lumMod val="85000"/>
                  <a:lumOff val="15000"/>
                </a:schemeClr>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rPr>
              <a:t>科技与浪漫</a:t>
            </a:r>
            <a:r>
              <a:rPr lang="ja-JP" altLang="en-US" dirty="0">
                <a:solidFill>
                  <a:schemeClr val="tx1">
                    <a:lumMod val="85000"/>
                    <a:lumOff val="15000"/>
                  </a:schemeClr>
                </a:solidFill>
              </a:rPr>
              <a:t>の</a:t>
            </a:r>
            <a:r>
              <a:rPr lang="zh-CN" altLang="en-US" dirty="0">
                <a:solidFill>
                  <a:schemeClr val="tx1">
                    <a:lumMod val="85000"/>
                    <a:lumOff val="15000"/>
                  </a:schemeClr>
                </a:solidFill>
              </a:rPr>
              <a:t>时代</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轻小说发展的关键历程</a:t>
            </a:r>
          </a:p>
        </p:txBody>
      </p:sp>
      <p:sp>
        <p:nvSpPr>
          <p:cNvPr id="11" name="矩形 10">
            <a:extLst>
              <a:ext uri="{FF2B5EF4-FFF2-40B4-BE49-F238E27FC236}">
                <a16:creationId xmlns:a16="http://schemas.microsoft.com/office/drawing/2014/main" id="{58BB185E-8DFE-41D9-ADCF-49BD8FD4E98F}"/>
              </a:ext>
            </a:extLst>
          </p:cNvPr>
          <p:cNvSpPr/>
          <p:nvPr/>
        </p:nvSpPr>
        <p:spPr>
          <a:xfrm>
            <a:off x="1007477" y="1476654"/>
            <a:ext cx="6717298" cy="4426853"/>
          </a:xfrm>
          <a:prstGeom prst="rect">
            <a:avLst/>
          </a:prstGeom>
          <a:noFill/>
        </p:spPr>
        <p:txBody>
          <a:bodyPr wrap="square" rtlCol="0">
            <a:spAutoFit/>
          </a:bodyPr>
          <a:lstStyle/>
          <a:p>
            <a:pPr>
              <a:lnSpc>
                <a:spcPct val="150000"/>
              </a:lnSpc>
              <a:spcBef>
                <a:spcPts val="600"/>
              </a:spcBef>
            </a:pPr>
            <a:r>
              <a:rPr lang="en-US" altLang="ja-JP" dirty="0"/>
              <a:t>       </a:t>
            </a:r>
            <a:r>
              <a:rPr lang="ja-JP" altLang="en-US" dirty="0"/>
              <a:t>轻小说在最初发源， 与日本动画产业完全是平行的关系。 </a:t>
            </a:r>
            <a:endParaRPr lang="en-US" altLang="ja-JP" dirty="0"/>
          </a:p>
          <a:p>
            <a:pPr>
              <a:lnSpc>
                <a:spcPct val="150000"/>
              </a:lnSpc>
              <a:spcBef>
                <a:spcPts val="600"/>
              </a:spcBef>
            </a:pPr>
            <a:r>
              <a:rPr lang="en-US" altLang="ja-JP" dirty="0"/>
              <a:t>       </a:t>
            </a:r>
            <a:r>
              <a:rPr lang="ja-JP" altLang="en-US" dirty="0"/>
              <a:t>一般认为， </a:t>
            </a:r>
            <a:r>
              <a:rPr lang="en-US" altLang="ja-JP" dirty="0"/>
              <a:t>1975 </a:t>
            </a:r>
            <a:r>
              <a:rPr lang="ja-JP" altLang="en-US" dirty="0"/>
              <a:t>年 </a:t>
            </a:r>
            <a:r>
              <a:rPr lang="en-US" altLang="ja-JP" dirty="0"/>
              <a:t>11 </a:t>
            </a:r>
            <a:r>
              <a:rPr lang="ja-JP" altLang="en-US" dirty="0"/>
              <a:t>月 </a:t>
            </a:r>
            <a:r>
              <a:rPr lang="en-US" altLang="ja-JP" dirty="0"/>
              <a:t>10 </a:t>
            </a:r>
            <a:r>
              <a:rPr lang="ja-JP" altLang="en-US" dirty="0"/>
              <a:t>日ソノラマ文库发行的合并版 </a:t>
            </a:r>
            <a:r>
              <a:rPr lang="en-US" altLang="ja-JP" dirty="0"/>
              <a:t>《</a:t>
            </a:r>
            <a:r>
              <a:rPr lang="ja-JP" altLang="en-US" dirty="0"/>
              <a:t>宇宙战舰大和号 地球灭亡篇</a:t>
            </a:r>
            <a:r>
              <a:rPr lang="en-US" altLang="ja-JP" dirty="0"/>
              <a:t>》 </a:t>
            </a:r>
            <a:r>
              <a:rPr lang="ja-JP" altLang="en-US" dirty="0"/>
              <a:t>与 </a:t>
            </a:r>
            <a:r>
              <a:rPr lang="en-US" altLang="ja-JP" dirty="0"/>
              <a:t>《</a:t>
            </a:r>
            <a:r>
              <a:rPr lang="ja-JP" altLang="en-US" dirty="0"/>
              <a:t>宇宙战舰大和号 地球复活篇</a:t>
            </a:r>
            <a:r>
              <a:rPr lang="en-US" altLang="ja-JP" dirty="0"/>
              <a:t>》 </a:t>
            </a:r>
            <a:r>
              <a:rPr lang="ja-JP" altLang="en-US" dirty="0"/>
              <a:t>是日本第一部轻小说， 标志着日本轻小说的诞生。 但如果按照出版日期计算， </a:t>
            </a:r>
            <a:r>
              <a:rPr lang="en-US" altLang="ja-JP" dirty="0"/>
              <a:t>《</a:t>
            </a:r>
            <a:r>
              <a:rPr lang="ja-JP" altLang="en-US" dirty="0"/>
              <a:t>宇宙战舰大和号 地球灭亡篇</a:t>
            </a:r>
            <a:r>
              <a:rPr lang="en-US" altLang="ja-JP" dirty="0"/>
              <a:t>》 </a:t>
            </a:r>
            <a:r>
              <a:rPr lang="ja-JP" altLang="en-US" dirty="0"/>
              <a:t>出版于 </a:t>
            </a:r>
            <a:r>
              <a:rPr lang="en-US" altLang="ja-JP" dirty="0"/>
              <a:t>1974 </a:t>
            </a:r>
            <a:r>
              <a:rPr lang="ja-JP" altLang="en-US" dirty="0"/>
              <a:t>年 </a:t>
            </a:r>
            <a:r>
              <a:rPr lang="en-US" altLang="ja-JP" dirty="0"/>
              <a:t>10 </a:t>
            </a:r>
            <a:r>
              <a:rPr lang="ja-JP" altLang="en-US" dirty="0"/>
              <a:t>月 </a:t>
            </a:r>
            <a:r>
              <a:rPr lang="en-US" altLang="ja-JP" dirty="0"/>
              <a:t>20 </a:t>
            </a:r>
            <a:r>
              <a:rPr lang="ja-JP" altLang="en-US" dirty="0"/>
              <a:t>日，这个时间要早于合并版的出版。</a:t>
            </a:r>
            <a:endParaRPr lang="en-US" altLang="ja-JP" dirty="0"/>
          </a:p>
          <a:p>
            <a:pPr>
              <a:lnSpc>
                <a:spcPct val="150000"/>
              </a:lnSpc>
              <a:spcBef>
                <a:spcPts val="600"/>
              </a:spcBef>
            </a:pPr>
            <a:r>
              <a:rPr lang="en-US" altLang="zh-CN" dirty="0"/>
              <a:t>      《</a:t>
            </a:r>
            <a:r>
              <a:rPr lang="zh-CN" altLang="en-US" dirty="0"/>
              <a:t>宇宙战舰大和号</a:t>
            </a:r>
            <a:r>
              <a:rPr lang="en-US" altLang="zh-CN" dirty="0"/>
              <a:t>》</a:t>
            </a:r>
            <a:r>
              <a:rPr lang="zh-CN" altLang="en-US" dirty="0"/>
              <a:t>堪称是日本动画的元祖级作品。在</a:t>
            </a:r>
            <a:r>
              <a:rPr lang="en-US" altLang="zh-CN" dirty="0"/>
              <a:t>11</a:t>
            </a:r>
            <a:r>
              <a:rPr lang="zh-CN" altLang="en-US" dirty="0"/>
              <a:t>区，与</a:t>
            </a:r>
            <a:r>
              <a:rPr lang="en-US" altLang="zh-CN" dirty="0"/>
              <a:t>《</a:t>
            </a:r>
            <a:r>
              <a:rPr lang="zh-CN" altLang="en-US" dirty="0"/>
              <a:t>高达</a:t>
            </a:r>
            <a:r>
              <a:rPr lang="en-US" altLang="zh-CN" dirty="0"/>
              <a:t>0079》《EVA》</a:t>
            </a:r>
            <a:r>
              <a:rPr lang="zh-CN" altLang="en-US" dirty="0"/>
              <a:t>并称为“日本社会现象级的三部作品”。在中国</a:t>
            </a:r>
            <a:r>
              <a:rPr lang="en-US" altLang="zh-CN" dirty="0"/>
              <a:t>ACG</a:t>
            </a:r>
            <a:r>
              <a:rPr lang="zh-CN" altLang="en-US" dirty="0"/>
              <a:t>圈中，又被称为 “三大作”。</a:t>
            </a:r>
          </a:p>
          <a:p>
            <a:pPr>
              <a:lnSpc>
                <a:spcPct val="150000"/>
              </a:lnSpc>
              <a:spcBef>
                <a:spcPts val="600"/>
              </a:spcBef>
            </a:pPr>
            <a:endParaRPr lang="zh-CN" altLang="en-US" dirty="0"/>
          </a:p>
        </p:txBody>
      </p:sp>
      <p:pic>
        <p:nvPicPr>
          <p:cNvPr id="2050" name="Picture 2">
            <a:extLst>
              <a:ext uri="{FF2B5EF4-FFF2-40B4-BE49-F238E27FC236}">
                <a16:creationId xmlns:a16="http://schemas.microsoft.com/office/drawing/2014/main" id="{8F79C674-BDFA-44E8-A718-BFF04FF9B4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200" y="1340892"/>
            <a:ext cx="2933700" cy="4244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649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sym typeface="+mn-lt"/>
              </a:rPr>
              <a:t>轻小说黄金</a:t>
            </a:r>
            <a:r>
              <a:rPr lang="ja-JP" altLang="en-US" dirty="0">
                <a:solidFill>
                  <a:schemeClr val="tx1">
                    <a:lumMod val="85000"/>
                    <a:lumOff val="15000"/>
                  </a:schemeClr>
                </a:solidFill>
              </a:rPr>
              <a:t>の</a:t>
            </a:r>
            <a:r>
              <a:rPr lang="zh-CN" altLang="en-US" dirty="0">
                <a:solidFill>
                  <a:schemeClr val="tx1">
                    <a:lumMod val="85000"/>
                    <a:lumOff val="15000"/>
                  </a:schemeClr>
                </a:solidFill>
              </a:rPr>
              <a:t>时代</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轻小说发展的关键历程</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矩形 4">
            <a:extLst>
              <a:ext uri="{FF2B5EF4-FFF2-40B4-BE49-F238E27FC236}">
                <a16:creationId xmlns:a16="http://schemas.microsoft.com/office/drawing/2014/main" id="{675EF23B-4C26-44A4-B5DB-31DDCB50285F}"/>
              </a:ext>
            </a:extLst>
          </p:cNvPr>
          <p:cNvSpPr/>
          <p:nvPr/>
        </p:nvSpPr>
        <p:spPr>
          <a:xfrm>
            <a:off x="1007476" y="1407736"/>
            <a:ext cx="6800783" cy="4274888"/>
          </a:xfrm>
          <a:prstGeom prst="rect">
            <a:avLst/>
          </a:prstGeom>
          <a:noFill/>
        </p:spPr>
        <p:txBody>
          <a:bodyPr wrap="square" rtlCol="0">
            <a:spAutoFit/>
          </a:bodyPr>
          <a:lstStyle/>
          <a:p>
            <a:pPr>
              <a:lnSpc>
                <a:spcPct val="150000"/>
              </a:lnSpc>
              <a:spcBef>
                <a:spcPts val="600"/>
              </a:spcBef>
            </a:pPr>
            <a:r>
              <a:rPr lang="en-US" altLang="ja-JP" dirty="0"/>
              <a:t>       </a:t>
            </a:r>
            <a:r>
              <a:rPr lang="en-US" altLang="zh-CN" dirty="0"/>
              <a:t>80 </a:t>
            </a:r>
            <a:r>
              <a:rPr lang="zh-CN" altLang="en-US" dirty="0"/>
              <a:t>年代的科幻轻小说出现了很多史诗级作品 ，</a:t>
            </a:r>
            <a:r>
              <a:rPr lang="en-US" altLang="zh-CN" dirty="0"/>
              <a:t>《</a:t>
            </a:r>
            <a:r>
              <a:rPr lang="zh-CN" altLang="en-US" dirty="0"/>
              <a:t>银河铁道 </a:t>
            </a:r>
            <a:r>
              <a:rPr lang="en-US" altLang="zh-CN" dirty="0"/>
              <a:t>999》 </a:t>
            </a:r>
            <a:r>
              <a:rPr lang="zh-CN" altLang="en-US" dirty="0"/>
              <a:t>、</a:t>
            </a:r>
            <a:r>
              <a:rPr lang="en-US" altLang="zh-CN" dirty="0"/>
              <a:t>《</a:t>
            </a:r>
            <a:r>
              <a:rPr lang="zh-CN" altLang="en-US" dirty="0"/>
              <a:t>银河英雄传说</a:t>
            </a:r>
            <a:r>
              <a:rPr lang="en-US" altLang="zh-CN" dirty="0"/>
              <a:t>》 </a:t>
            </a:r>
            <a:r>
              <a:rPr lang="zh-CN" altLang="en-US" dirty="0"/>
              <a:t>、</a:t>
            </a:r>
            <a:r>
              <a:rPr lang="en-US" altLang="zh-CN" dirty="0"/>
              <a:t>《</a:t>
            </a:r>
            <a:r>
              <a:rPr lang="zh-CN" altLang="en-US" dirty="0"/>
              <a:t>王立宇宙军</a:t>
            </a:r>
            <a:r>
              <a:rPr lang="en-US" altLang="zh-CN" dirty="0"/>
              <a:t>》 </a:t>
            </a:r>
            <a:r>
              <a:rPr lang="zh-CN" altLang="en-US" dirty="0"/>
              <a:t>、 </a:t>
            </a:r>
            <a:r>
              <a:rPr lang="en-US" altLang="zh-CN" dirty="0"/>
              <a:t>《</a:t>
            </a:r>
            <a:r>
              <a:rPr lang="zh-CN" altLang="en-US" dirty="0"/>
              <a:t>罗德斯岛战记</a:t>
            </a:r>
            <a:r>
              <a:rPr lang="en-US" altLang="zh-CN" dirty="0"/>
              <a:t>》 </a:t>
            </a:r>
            <a:r>
              <a:rPr lang="zh-CN" altLang="en-US" dirty="0"/>
              <a:t>等先后出版， 其中田中芳树的 </a:t>
            </a:r>
            <a:r>
              <a:rPr lang="en-US" altLang="zh-CN" dirty="0"/>
              <a:t>《</a:t>
            </a:r>
            <a:r>
              <a:rPr lang="zh-CN" altLang="en-US" dirty="0"/>
              <a:t>银河英雄传说</a:t>
            </a:r>
            <a:r>
              <a:rPr lang="en-US" altLang="zh-CN" dirty="0"/>
              <a:t>》 </a:t>
            </a:r>
            <a:r>
              <a:rPr lang="zh-CN" altLang="en-US" dirty="0"/>
              <a:t>被誉为 “科幻界的三国演义”。 </a:t>
            </a:r>
            <a:r>
              <a:rPr lang="en-US" altLang="zh-CN" dirty="0"/>
              <a:t>《</a:t>
            </a:r>
            <a:r>
              <a:rPr lang="zh-CN" altLang="en-US" dirty="0"/>
              <a:t>罗德斯岛战记</a:t>
            </a:r>
            <a:r>
              <a:rPr lang="en-US" altLang="zh-CN" dirty="0"/>
              <a:t>》 </a:t>
            </a:r>
            <a:r>
              <a:rPr lang="zh-CN" altLang="en-US" dirty="0"/>
              <a:t>被日本网友称为 “日本的魔戒三部曲”， </a:t>
            </a:r>
            <a:r>
              <a:rPr lang="en-US" altLang="zh-CN" dirty="0"/>
              <a:t>《</a:t>
            </a:r>
            <a:r>
              <a:rPr lang="zh-CN" altLang="en-US" dirty="0"/>
              <a:t>罗德斯岛战记</a:t>
            </a:r>
            <a:r>
              <a:rPr lang="en-US" altLang="zh-CN" dirty="0"/>
              <a:t>》 </a:t>
            </a:r>
            <a:r>
              <a:rPr lang="zh-CN" altLang="en-US" dirty="0"/>
              <a:t>带有欧美的奇幻风格，又有一定的日式 </a:t>
            </a:r>
            <a:r>
              <a:rPr lang="en-US" altLang="zh-CN" dirty="0"/>
              <a:t>RPG </a:t>
            </a:r>
            <a:r>
              <a:rPr lang="zh-CN" altLang="en-US" dirty="0"/>
              <a:t>冒险游戏桥段， 可以说代表了日本国产奇幻轻小说的最高水平。 从此， 轻小说的内容逐渐从少女小说转型为少年向的奇幻小说。</a:t>
            </a:r>
          </a:p>
          <a:p>
            <a:pPr>
              <a:lnSpc>
                <a:spcPct val="150000"/>
              </a:lnSpc>
              <a:spcBef>
                <a:spcPts val="600"/>
              </a:spcBef>
            </a:pPr>
            <a:r>
              <a:rPr lang="en-US" altLang="zh-CN" dirty="0"/>
              <a:t>       80 </a:t>
            </a:r>
            <a:r>
              <a:rPr lang="zh-CN" altLang="en-US" dirty="0"/>
              <a:t>年代末， 富士见 </a:t>
            </a:r>
            <a:r>
              <a:rPr lang="en-US" altLang="zh-CN" dirty="0"/>
              <a:t>Fantasia </a:t>
            </a:r>
            <a:r>
              <a:rPr lang="zh-CN" altLang="en-US" dirty="0"/>
              <a:t>书房与角川 </a:t>
            </a:r>
            <a:r>
              <a:rPr lang="en-US" altLang="zh-CN" dirty="0"/>
              <a:t>Sneaker </a:t>
            </a:r>
            <a:r>
              <a:rPr lang="zh-CN" altLang="en-US" dirty="0"/>
              <a:t>文库成立， 标志着轻小说业界逐步成熟， 已经开始向完整的商业业态过渡。</a:t>
            </a:r>
          </a:p>
        </p:txBody>
      </p:sp>
      <p:pic>
        <p:nvPicPr>
          <p:cNvPr id="5122" name="Picture 2">
            <a:extLst>
              <a:ext uri="{FF2B5EF4-FFF2-40B4-BE49-F238E27FC236}">
                <a16:creationId xmlns:a16="http://schemas.microsoft.com/office/drawing/2014/main" id="{DE51B05A-DA38-49BA-B458-2541DCE38F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9271" y="1407736"/>
            <a:ext cx="3251946" cy="1625973"/>
          </a:xfrm>
          <a:prstGeom prst="rect">
            <a:avLst/>
          </a:prstGeom>
          <a:noFill/>
          <a:extLst>
            <a:ext uri="{909E8E84-426E-40DD-AFC4-6F175D3DCCD1}">
              <a14:hiddenFill xmlns:a14="http://schemas.microsoft.com/office/drawing/2010/main">
                <a:solidFill>
                  <a:srgbClr val="FFFFFF"/>
                </a:solidFill>
              </a14:hiddenFill>
            </a:ext>
          </a:extLst>
        </p:spPr>
      </p:pic>
      <p:pic>
        <p:nvPicPr>
          <p:cNvPr id="8" name="图片 7">
            <a:extLst>
              <a:ext uri="{FF2B5EF4-FFF2-40B4-BE49-F238E27FC236}">
                <a16:creationId xmlns:a16="http://schemas.microsoft.com/office/drawing/2014/main" id="{63EC282E-391C-42B3-B588-73583092C55D}"/>
              </a:ext>
            </a:extLst>
          </p:cNvPr>
          <p:cNvPicPr>
            <a:picLocks noChangeAspect="1"/>
          </p:cNvPicPr>
          <p:nvPr/>
        </p:nvPicPr>
        <p:blipFill>
          <a:blip r:embed="rId4"/>
          <a:stretch>
            <a:fillRect/>
          </a:stretch>
        </p:blipFill>
        <p:spPr>
          <a:xfrm>
            <a:off x="8138759" y="3148799"/>
            <a:ext cx="3108520" cy="2428806"/>
          </a:xfrm>
          <a:prstGeom prst="rect">
            <a:avLst/>
          </a:prstGeom>
        </p:spPr>
      </p:pic>
    </p:spTree>
    <p:extLst>
      <p:ext uri="{BB962C8B-B14F-4D97-AF65-F5344CB8AC3E}">
        <p14:creationId xmlns:p14="http://schemas.microsoft.com/office/powerpoint/2010/main" val="116792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rPr>
              <a:t>轻小说</a:t>
            </a:r>
            <a:r>
              <a:rPr lang="ja-JP" altLang="en-US" dirty="0">
                <a:solidFill>
                  <a:schemeClr val="tx1">
                    <a:lumMod val="85000"/>
                    <a:lumOff val="15000"/>
                  </a:schemeClr>
                </a:solidFill>
              </a:rPr>
              <a:t>の</a:t>
            </a:r>
            <a:r>
              <a:rPr lang="zh-CN" altLang="en-US" dirty="0">
                <a:solidFill>
                  <a:schemeClr val="tx1">
                    <a:lumMod val="85000"/>
                    <a:lumOff val="15000"/>
                  </a:schemeClr>
                </a:solidFill>
                <a:sym typeface="+mn-lt"/>
              </a:rPr>
              <a:t>转型时期</a:t>
            </a:r>
            <a:endParaRPr lang="zh-CN" altLang="en-US" dirty="0">
              <a:solidFill>
                <a:schemeClr val="tx1">
                  <a:lumMod val="85000"/>
                  <a:lumOff val="15000"/>
                </a:schemeClr>
              </a:solidFill>
            </a:endParaRP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轻小说发展的关键历程</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5" name="矩形 4">
            <a:extLst>
              <a:ext uri="{FF2B5EF4-FFF2-40B4-BE49-F238E27FC236}">
                <a16:creationId xmlns:a16="http://schemas.microsoft.com/office/drawing/2014/main" id="{33957F17-A77A-43D9-B441-F5195390405D}"/>
              </a:ext>
            </a:extLst>
          </p:cNvPr>
          <p:cNvSpPr/>
          <p:nvPr/>
        </p:nvSpPr>
        <p:spPr>
          <a:xfrm>
            <a:off x="1007476" y="1389806"/>
            <a:ext cx="6800783" cy="4274888"/>
          </a:xfrm>
          <a:prstGeom prst="rect">
            <a:avLst/>
          </a:prstGeom>
          <a:noFill/>
        </p:spPr>
        <p:txBody>
          <a:bodyPr wrap="square" rtlCol="0">
            <a:spAutoFit/>
          </a:bodyPr>
          <a:lstStyle/>
          <a:p>
            <a:pPr>
              <a:lnSpc>
                <a:spcPct val="150000"/>
              </a:lnSpc>
              <a:spcBef>
                <a:spcPts val="600"/>
              </a:spcBef>
            </a:pPr>
            <a:r>
              <a:rPr lang="zh-CN" altLang="en-US" dirty="0"/>
              <a:t>        从 </a:t>
            </a:r>
            <a:r>
              <a:rPr lang="en-US" altLang="zh-CN" dirty="0"/>
              <a:t>90 </a:t>
            </a:r>
            <a:r>
              <a:rPr lang="zh-CN" altLang="en-US" dirty="0"/>
              <a:t>年代 开始，日本轻小说开始以轻松娱乐为主， 形成特独的风格， 为轻小说真正实现娱乐化奠定了基础。 </a:t>
            </a:r>
            <a:r>
              <a:rPr lang="en-US" altLang="zh-CN" dirty="0"/>
              <a:t>《</a:t>
            </a:r>
            <a:r>
              <a:rPr lang="zh-CN" altLang="en-US" dirty="0"/>
              <a:t>失落的宇宙</a:t>
            </a:r>
            <a:r>
              <a:rPr lang="en-US" altLang="zh-CN" dirty="0"/>
              <a:t>》 </a:t>
            </a:r>
            <a:r>
              <a:rPr lang="zh-CN" altLang="en-US" dirty="0"/>
              <a:t>在一些艰涩的情节里加入了很多的娱乐要素。 </a:t>
            </a:r>
            <a:r>
              <a:rPr lang="en-US" altLang="zh-CN" dirty="0"/>
              <a:t>《</a:t>
            </a:r>
            <a:r>
              <a:rPr lang="zh-CN" altLang="en-US" dirty="0"/>
              <a:t>十二国记</a:t>
            </a:r>
            <a:r>
              <a:rPr lang="en-US" altLang="zh-CN" dirty="0"/>
              <a:t>》 </a:t>
            </a:r>
            <a:r>
              <a:rPr lang="zh-CN" altLang="en-US" dirty="0"/>
              <a:t>在故事设定和服装设定上有很多东方文化元素在里面， 是具有小清新风格的奇幻故事， </a:t>
            </a:r>
            <a:r>
              <a:rPr lang="en-US" altLang="zh-CN" dirty="0"/>
              <a:t>《</a:t>
            </a:r>
            <a:r>
              <a:rPr lang="zh-CN" altLang="en-US" dirty="0"/>
              <a:t>秀逗魔导师</a:t>
            </a:r>
            <a:r>
              <a:rPr lang="en-US" altLang="zh-CN" dirty="0"/>
              <a:t>》 </a:t>
            </a:r>
            <a:r>
              <a:rPr lang="zh-CN" altLang="en-US" dirty="0"/>
              <a:t>在宏大的奇幻设定下， 却是打打闹闹、 轻松娱乐的行文风格。</a:t>
            </a:r>
            <a:endParaRPr lang="en-US" altLang="zh-CN" dirty="0"/>
          </a:p>
          <a:p>
            <a:pPr>
              <a:lnSpc>
                <a:spcPct val="150000"/>
              </a:lnSpc>
              <a:spcBef>
                <a:spcPts val="600"/>
              </a:spcBef>
            </a:pPr>
            <a:r>
              <a:rPr lang="en-US" altLang="zh-CN" dirty="0"/>
              <a:t>       </a:t>
            </a:r>
            <a:r>
              <a:rPr lang="zh-CN" altLang="en-US" dirty="0"/>
              <a:t>在这一时期， 动画厂商也开始关注轻小说。 在制作委员会制度被广泛采用后， 轻小说家、 出版商、 动画厂商和周边厂商多方联动成为成熟的商业模式。 改编动漫作品时人物和故事等设定可以直接借鉴轻小说相关内容。</a:t>
            </a:r>
          </a:p>
        </p:txBody>
      </p:sp>
      <p:pic>
        <p:nvPicPr>
          <p:cNvPr id="3074" name="Picture 2">
            <a:extLst>
              <a:ext uri="{FF2B5EF4-FFF2-40B4-BE49-F238E27FC236}">
                <a16:creationId xmlns:a16="http://schemas.microsoft.com/office/drawing/2014/main" id="{D61DB580-6940-4A7F-BAF2-91B20E2A32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6060" y="1388379"/>
            <a:ext cx="2909889" cy="4209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158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p:txBody>
          <a:bodyPr/>
          <a:lstStyle/>
          <a:p>
            <a:r>
              <a:rPr lang="zh-CN" altLang="en-US" dirty="0">
                <a:solidFill>
                  <a:schemeClr val="tx1">
                    <a:lumMod val="85000"/>
                    <a:lumOff val="15000"/>
                  </a:schemeClr>
                </a:solidFill>
              </a:rPr>
              <a:t>轻小说</a:t>
            </a:r>
            <a:r>
              <a:rPr lang="ja-JP" altLang="en-US" dirty="0">
                <a:solidFill>
                  <a:schemeClr val="tx1">
                    <a:lumMod val="85000"/>
                    <a:lumOff val="15000"/>
                  </a:schemeClr>
                </a:solidFill>
              </a:rPr>
              <a:t>の</a:t>
            </a:r>
            <a:r>
              <a:rPr lang="zh-CN" altLang="en-US" dirty="0">
                <a:solidFill>
                  <a:schemeClr val="tx1">
                    <a:lumMod val="85000"/>
                    <a:lumOff val="15000"/>
                  </a:schemeClr>
                </a:solidFill>
              </a:rPr>
              <a:t>跨媒体联动时代 </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轻小说发展的关键历程</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矩形 4">
            <a:extLst>
              <a:ext uri="{FF2B5EF4-FFF2-40B4-BE49-F238E27FC236}">
                <a16:creationId xmlns:a16="http://schemas.microsoft.com/office/drawing/2014/main" id="{D472FB7A-8C7B-49FE-AC3C-D14A2F6BF7EC}"/>
              </a:ext>
            </a:extLst>
          </p:cNvPr>
          <p:cNvSpPr/>
          <p:nvPr/>
        </p:nvSpPr>
        <p:spPr>
          <a:xfrm>
            <a:off x="971616" y="1219472"/>
            <a:ext cx="6800783" cy="4575483"/>
          </a:xfrm>
          <a:prstGeom prst="rect">
            <a:avLst/>
          </a:prstGeom>
          <a:noFill/>
        </p:spPr>
        <p:txBody>
          <a:bodyPr wrap="square" rtlCol="0">
            <a:spAutoFit/>
          </a:bodyPr>
          <a:lstStyle/>
          <a:p>
            <a:pPr>
              <a:lnSpc>
                <a:spcPct val="150000"/>
              </a:lnSpc>
              <a:spcBef>
                <a:spcPts val="600"/>
              </a:spcBef>
            </a:pPr>
            <a:r>
              <a:rPr lang="en-US" altLang="zh-CN" dirty="0"/>
              <a:t>        21 </a:t>
            </a:r>
            <a:r>
              <a:rPr lang="zh-CN" altLang="en-US" dirty="0"/>
              <a:t>世纪后， 轻小说的娱乐元素增加，日轻小说进入黄金时期。 主要表现在三个方面：</a:t>
            </a:r>
            <a:endParaRPr lang="en-US" altLang="zh-CN" dirty="0"/>
          </a:p>
          <a:p>
            <a:pPr>
              <a:lnSpc>
                <a:spcPct val="150000"/>
              </a:lnSpc>
              <a:spcBef>
                <a:spcPts val="600"/>
              </a:spcBef>
            </a:pPr>
            <a:r>
              <a:rPr lang="zh-CN" altLang="en-US" sz="1500" dirty="0"/>
              <a:t>一、大量优秀作品的涌现， 如 </a:t>
            </a:r>
            <a:r>
              <a:rPr lang="en-US" altLang="zh-CN" sz="1500" dirty="0"/>
              <a:t>《</a:t>
            </a:r>
            <a:r>
              <a:rPr lang="zh-CN" altLang="en-US" sz="1500" dirty="0"/>
              <a:t>凉宫春日</a:t>
            </a:r>
            <a:r>
              <a:rPr lang="en-US" altLang="zh-CN" sz="1500" dirty="0"/>
              <a:t>》 </a:t>
            </a:r>
            <a:r>
              <a:rPr lang="zh-CN" altLang="en-US" sz="1500" dirty="0"/>
              <a:t>系列，</a:t>
            </a:r>
            <a:r>
              <a:rPr lang="en-US" altLang="zh-CN" sz="1500" dirty="0"/>
              <a:t>《</a:t>
            </a:r>
            <a:r>
              <a:rPr lang="zh-CN" altLang="en-US" sz="1500" dirty="0"/>
              <a:t>魔法禁书目录</a:t>
            </a:r>
            <a:r>
              <a:rPr lang="en-US" altLang="zh-CN" sz="1500" dirty="0"/>
              <a:t>》 《</a:t>
            </a:r>
            <a:r>
              <a:rPr lang="zh-CN" altLang="en-US" sz="1500" dirty="0"/>
              <a:t>奇诺之旅</a:t>
            </a:r>
            <a:r>
              <a:rPr lang="en-US" altLang="zh-CN" sz="1500" dirty="0"/>
              <a:t>》 《</a:t>
            </a:r>
            <a:r>
              <a:rPr lang="zh-CN" altLang="en-US" sz="1500" dirty="0"/>
              <a:t>无头骑士异闻录</a:t>
            </a:r>
            <a:r>
              <a:rPr lang="en-US" altLang="zh-CN" sz="1500" dirty="0"/>
              <a:t>》 《</a:t>
            </a:r>
            <a:r>
              <a:rPr lang="zh-CN" altLang="en-US" sz="1500" dirty="0"/>
              <a:t>狼与香辛料</a:t>
            </a:r>
            <a:r>
              <a:rPr lang="en-US" altLang="zh-CN" sz="1500" dirty="0"/>
              <a:t>》 《</a:t>
            </a:r>
            <a:r>
              <a:rPr lang="zh-CN" altLang="en-US" sz="1500" dirty="0"/>
              <a:t>神曲奏界</a:t>
            </a:r>
            <a:r>
              <a:rPr lang="en-US" altLang="zh-CN" sz="1500" dirty="0"/>
              <a:t>》 《</a:t>
            </a:r>
            <a:r>
              <a:rPr lang="zh-CN" altLang="en-US" sz="1500" dirty="0"/>
              <a:t>人类衰退之后</a:t>
            </a:r>
            <a:r>
              <a:rPr lang="en-US" altLang="zh-CN" sz="1500" dirty="0"/>
              <a:t>》 《</a:t>
            </a:r>
            <a:r>
              <a:rPr lang="zh-CN" altLang="en-US" sz="1500" dirty="0"/>
              <a:t>文学少女</a:t>
            </a:r>
            <a:r>
              <a:rPr lang="en-US" altLang="zh-CN" sz="1500" dirty="0"/>
              <a:t>》</a:t>
            </a:r>
            <a:r>
              <a:rPr lang="zh-CN" altLang="en-US" sz="1500" dirty="0"/>
              <a:t>。</a:t>
            </a:r>
            <a:r>
              <a:rPr lang="en-US" altLang="zh-CN" sz="1500" dirty="0"/>
              <a:t> </a:t>
            </a:r>
          </a:p>
          <a:p>
            <a:pPr>
              <a:lnSpc>
                <a:spcPct val="150000"/>
              </a:lnSpc>
              <a:spcBef>
                <a:spcPts val="600"/>
              </a:spcBef>
            </a:pPr>
            <a:r>
              <a:rPr lang="zh-CN" altLang="en-US" sz="1500" dirty="0"/>
              <a:t>二、标杆作品的出现。 从 </a:t>
            </a:r>
            <a:r>
              <a:rPr lang="en-US" altLang="zh-CN" sz="1500" dirty="0"/>
              <a:t>2008 </a:t>
            </a:r>
            <a:r>
              <a:rPr lang="zh-CN" altLang="en-US" sz="1500" dirty="0"/>
              <a:t>年开始连载的 </a:t>
            </a:r>
            <a:r>
              <a:rPr lang="en-US" altLang="zh-CN" sz="1500" dirty="0"/>
              <a:t>《</a:t>
            </a:r>
            <a:r>
              <a:rPr lang="zh-CN" altLang="en-US" sz="1500" dirty="0"/>
              <a:t>我的妹妹不可能这么可爱</a:t>
            </a:r>
            <a:r>
              <a:rPr lang="en-US" altLang="zh-CN" sz="1500" dirty="0"/>
              <a:t>》 </a:t>
            </a:r>
            <a:r>
              <a:rPr lang="zh-CN" altLang="en-US" sz="1500" dirty="0"/>
              <a:t>（简称俺妹） 单行本累计销量超过 </a:t>
            </a:r>
            <a:r>
              <a:rPr lang="en-US" altLang="zh-CN" sz="1500" dirty="0"/>
              <a:t>500 </a:t>
            </a:r>
            <a:r>
              <a:rPr lang="zh-CN" altLang="en-US" sz="1500" dirty="0"/>
              <a:t>万册。 </a:t>
            </a:r>
            <a:r>
              <a:rPr lang="en-US" altLang="zh-CN" sz="1500" dirty="0"/>
              <a:t>《</a:t>
            </a:r>
            <a:r>
              <a:rPr lang="zh-CN" altLang="en-US" sz="1500" dirty="0"/>
              <a:t>魔法禁书目录</a:t>
            </a:r>
            <a:r>
              <a:rPr lang="en-US" altLang="zh-CN" sz="1500" dirty="0"/>
              <a:t>》 </a:t>
            </a:r>
            <a:r>
              <a:rPr lang="zh-CN" altLang="en-US" sz="1500" dirty="0"/>
              <a:t>累计销量超过 </a:t>
            </a:r>
            <a:r>
              <a:rPr lang="en-US" altLang="zh-CN" sz="1500" dirty="0"/>
              <a:t>1000 </a:t>
            </a:r>
            <a:r>
              <a:rPr lang="zh-CN" altLang="en-US" sz="1500" dirty="0"/>
              <a:t>万册 ， </a:t>
            </a:r>
            <a:r>
              <a:rPr lang="en-US" altLang="zh-CN" sz="1500" dirty="0"/>
              <a:t>《</a:t>
            </a:r>
            <a:r>
              <a:rPr lang="zh-CN" altLang="en-US" sz="1500" dirty="0"/>
              <a:t>刀剑神域</a:t>
            </a:r>
            <a:r>
              <a:rPr lang="en-US" altLang="zh-CN" sz="1500" dirty="0"/>
              <a:t>》 </a:t>
            </a:r>
            <a:r>
              <a:rPr lang="zh-CN" altLang="en-US" sz="1500" dirty="0"/>
              <a:t>累计发行量超过 </a:t>
            </a:r>
            <a:r>
              <a:rPr lang="en-US" altLang="zh-CN" sz="1500" dirty="0"/>
              <a:t>1400 </a:t>
            </a:r>
            <a:r>
              <a:rPr lang="zh-CN" altLang="en-US" sz="1500" dirty="0"/>
              <a:t>万册 ， 成为日本轻小说销量的高峰。</a:t>
            </a:r>
          </a:p>
          <a:p>
            <a:pPr>
              <a:lnSpc>
                <a:spcPct val="150000"/>
              </a:lnSpc>
              <a:spcBef>
                <a:spcPts val="600"/>
              </a:spcBef>
            </a:pPr>
            <a:r>
              <a:rPr lang="zh-CN" altLang="en-US" sz="1500" dirty="0"/>
              <a:t>三、 在 出 版 领 域， 大量的轻小说出版商 </a:t>
            </a:r>
            <a:r>
              <a:rPr lang="en-US" altLang="zh-CN" sz="1500" dirty="0"/>
              <a:t>GA </a:t>
            </a:r>
            <a:r>
              <a:rPr lang="zh-CN" altLang="en-US" sz="1500" dirty="0"/>
              <a:t>文库， </a:t>
            </a:r>
            <a:r>
              <a:rPr lang="en-US" altLang="zh-CN" sz="1500" dirty="0"/>
              <a:t>HJ </a:t>
            </a:r>
            <a:r>
              <a:rPr lang="zh-CN" altLang="en-US" sz="1500" dirty="0"/>
              <a:t>文库相继成立， 日本传统漫画的三大出版社讲谈社、 集英社、 小学馆全部涉足轻小说领域， 轻小说出版商的竞争加剧。</a:t>
            </a:r>
          </a:p>
        </p:txBody>
      </p:sp>
      <p:pic>
        <p:nvPicPr>
          <p:cNvPr id="9218" name="Picture 2">
            <a:extLst>
              <a:ext uri="{FF2B5EF4-FFF2-40B4-BE49-F238E27FC236}">
                <a16:creationId xmlns:a16="http://schemas.microsoft.com/office/drawing/2014/main" id="{0272539F-8186-4472-8007-3F1E087951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1523" y="1210793"/>
            <a:ext cx="1624853" cy="2193552"/>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a:extLst>
              <a:ext uri="{FF2B5EF4-FFF2-40B4-BE49-F238E27FC236}">
                <a16:creationId xmlns:a16="http://schemas.microsoft.com/office/drawing/2014/main" id="{7EF61304-1573-4494-9A03-A9EA16D77E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79641" y="1203926"/>
            <a:ext cx="1540294" cy="2200419"/>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a:extLst>
              <a:ext uri="{FF2B5EF4-FFF2-40B4-BE49-F238E27FC236}">
                <a16:creationId xmlns:a16="http://schemas.microsoft.com/office/drawing/2014/main" id="{99C35362-245C-446E-839F-B5BCBCFD3F0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0000"/>
          <a:stretch/>
        </p:blipFill>
        <p:spPr bwMode="auto">
          <a:xfrm>
            <a:off x="7931522" y="3478304"/>
            <a:ext cx="1624853" cy="2193552"/>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a:extLst>
              <a:ext uri="{FF2B5EF4-FFF2-40B4-BE49-F238E27FC236}">
                <a16:creationId xmlns:a16="http://schemas.microsoft.com/office/drawing/2014/main" id="{A99514C2-06A3-43BA-AC35-7CB8324517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79639" y="3487267"/>
            <a:ext cx="1532630" cy="2200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496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2728594" y="2564921"/>
            <a:ext cx="5419185" cy="1015623"/>
          </a:xfrm>
        </p:spPr>
        <p:txBody>
          <a:bodyPr>
            <a:normAutofit/>
          </a:bodyPr>
          <a:lstStyle/>
          <a:p>
            <a:pPr lvl="0" algn="r"/>
            <a:r>
              <a:rPr lang="zh-CN" altLang="en-US" sz="1800" dirty="0">
                <a:solidFill>
                  <a:schemeClr val="tx1">
                    <a:lumMod val="85000"/>
                    <a:lumOff val="15000"/>
                  </a:schemeClr>
                </a:solidFill>
              </a:rPr>
              <a:t>轻小说的创作特征</a:t>
            </a:r>
            <a:endParaRPr lang="en-US" altLang="zh-CN" sz="1800" dirty="0">
              <a:solidFill>
                <a:schemeClr val="tx1">
                  <a:lumMod val="85000"/>
                  <a:lumOff val="15000"/>
                </a:schemeClr>
              </a:solidFill>
            </a:endParaRPr>
          </a:p>
          <a:p>
            <a:pPr lvl="0" algn="r"/>
            <a:r>
              <a:rPr lang="zh-CN" altLang="en-US" dirty="0">
                <a:solidFill>
                  <a:schemeClr val="tx1">
                    <a:lumMod val="85000"/>
                    <a:lumOff val="15000"/>
                  </a:schemeClr>
                </a:solidFill>
              </a:rPr>
              <a:t>基于用户需求的 “轻设计”、“轻主题”、“轻文化”</a:t>
            </a:r>
          </a:p>
        </p:txBody>
      </p:sp>
      <p:sp>
        <p:nvSpPr>
          <p:cNvPr id="9" name="文本框 8">
            <a:extLst>
              <a:ext uri="{FF2B5EF4-FFF2-40B4-BE49-F238E27FC236}">
                <a16:creationId xmlns:a16="http://schemas.microsoft.com/office/drawing/2014/main" id="{04F69230-F3A6-4586-9371-A858F4763E9F}"/>
              </a:ext>
            </a:extLst>
          </p:cNvPr>
          <p:cNvSpPr txBox="1"/>
          <p:nvPr/>
        </p:nvSpPr>
        <p:spPr>
          <a:xfrm>
            <a:off x="8439890" y="232092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100" dirty="0">
                <a:solidFill>
                  <a:schemeClr val="tx1">
                    <a:lumMod val="85000"/>
                    <a:lumOff val="15000"/>
                  </a:schemeClr>
                </a:solidFill>
                <a:latin typeface="Impact" panose="020B0806030902050204" pitchFamily="34" charset="0"/>
                <a:cs typeface="Arial" panose="020B0604020202020204" pitchFamily="34" charset="0"/>
              </a:rPr>
              <a:t> </a:t>
            </a:r>
            <a:r>
              <a:rPr lang="en-US" altLang="zh-CN" spc="100" dirty="0">
                <a:solidFill>
                  <a:schemeClr val="tx1">
                    <a:lumMod val="85000"/>
                    <a:lumOff val="15000"/>
                  </a:schemeClr>
                </a:solidFill>
                <a:latin typeface="Impact" panose="020B0806030902050204" pitchFamily="34" charset="0"/>
                <a:cs typeface="Arial" panose="020B0604020202020204" pitchFamily="34" charset="0"/>
              </a:rPr>
              <a:t>02</a:t>
            </a:r>
            <a:endParaRPr lang="zh-CN" altLang="en-US" spc="100" dirty="0">
              <a:solidFill>
                <a:schemeClr val="tx1">
                  <a:lumMod val="85000"/>
                  <a:lumOff val="15000"/>
                </a:schemeClr>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3430654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f693c471-ed3b-4d1a-b4f4-c281f660be6d"/>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0.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1.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2.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3.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4.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5.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6.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7.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18.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9.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2</Template>
  <TotalTime>1342</TotalTime>
  <Words>2370</Words>
  <Application>Microsoft Office PowerPoint</Application>
  <PresentationFormat>宽屏</PresentationFormat>
  <Paragraphs>103</Paragraphs>
  <Slides>19</Slides>
  <Notes>0</Notes>
  <HiddenSlides>1</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9</vt:i4>
      </vt:variant>
    </vt:vector>
  </HeadingPairs>
  <TitlesOfParts>
    <vt:vector size="27" baseType="lpstr">
      <vt:lpstr>等线</vt:lpstr>
      <vt:lpstr>华文行楷</vt:lpstr>
      <vt:lpstr>Arial</vt:lpstr>
      <vt:lpstr>Calibri</vt:lpstr>
      <vt:lpstr>Impact</vt:lpstr>
      <vt:lpstr>Roboto</vt:lpstr>
      <vt:lpstr>主题5</vt:lpstr>
      <vt:lpstr>think-cell Slide</vt:lpstr>
      <vt:lpstr>PowerPoint 演示文稿</vt:lpstr>
      <vt:lpstr>PowerPoint 演示文稿</vt:lpstr>
      <vt:lpstr>PowerPoint 演示文稿</vt:lpstr>
      <vt:lpstr>PowerPoint 演示文稿</vt:lpstr>
      <vt:lpstr>科技与浪漫の时代</vt:lpstr>
      <vt:lpstr>轻小说黄金の时代</vt:lpstr>
      <vt:lpstr>轻小说の转型时期</vt:lpstr>
      <vt:lpstr>轻小说の跨媒体联动时代 </vt:lpstr>
      <vt:lpstr>PowerPoint 演示文稿</vt:lpstr>
      <vt:lpstr>强调故事性与情节</vt:lpstr>
      <vt:lpstr>角色形象中心制</vt:lpstr>
      <vt:lpstr>全面视觉化</vt:lpstr>
      <vt:lpstr>PowerPoint 演示文稿</vt:lpstr>
      <vt:lpstr>新人奖的海选机制</vt:lpstr>
      <vt:lpstr>残酷的作家生存曲线</vt:lpstr>
      <vt:lpstr>PowerPoint 演示文稿</vt:lpstr>
      <vt:lpstr>洛莉莉の总结</vt:lpstr>
      <vt:lpstr>洛莉莉の总结</vt:lpstr>
      <vt:lpstr>TH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Yi Liu</dc:creator>
  <cp:lastModifiedBy>宸风雨后</cp:lastModifiedBy>
  <cp:revision>183</cp:revision>
  <cp:lastPrinted>2017-11-14T16:00:00Z</cp:lastPrinted>
  <dcterms:created xsi:type="dcterms:W3CDTF">2020-03-23T09:35:49Z</dcterms:created>
  <dcterms:modified xsi:type="dcterms:W3CDTF">2021-04-06T07:0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